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application/vnd.openxmlformats-officedocument.vmlDrawing" Extension="vml"/>
  <Default ContentType="application/xml" Extension="xml"/>
  <Override ContentType="application/vnd.openxmlformats-officedocument.extended-properties+xml" PartName="/docProps/app.xml"/>
  <Override ContentType="application/vnd.openxmlformats-package.core-properties+xml" PartName="/docProps/core.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notesSlide+xml" PartName="/ppt/notesSlides/notesSlide20.xml"/>
  <Override ContentType="application/vnd.openxmlformats-officedocument.presentationml.notesSlide+xml" PartName="/ppt/notesSlides/notesSlide21.xml"/>
  <Override ContentType="application/vnd.openxmlformats-officedocument.presentationml.notesSlide+xml" PartName="/ppt/notesSlides/notesSlide22.xml"/>
  <Override ContentType="application/vnd.openxmlformats-officedocument.presentationml.notesSlide+xml" PartName="/ppt/notesSlides/notesSlide23.xml"/>
  <Override ContentType="application/vnd.openxmlformats-officedocument.presentationml.notesSlide+xml" PartName="/ppt/notesSlides/notesSlide24.xml"/>
  <Override ContentType="application/vnd.openxmlformats-officedocument.presentationml.notesSlide+xml" PartName="/ppt/notesSlides/notesSlide25.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presentationml.slideLayout+xml" PartName="/ppt/slideLayouts/slideLayout23.xml"/>
  <Override ContentType="application/vnd.openxmlformats-officedocument.presentationml.slideLayout+xml" PartName="/ppt/slideLayouts/slideLayout24.xml"/>
  <Override ContentType="application/vnd.openxmlformats-officedocument.presentationml.slideLayout+xml" PartName="/ppt/slideLayouts/slideLayout25.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theme+xml" PartName="/ppt/theme/theme4.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core.xml" Type="http://schemas.openxmlformats.org/package/2006/relationships/metadata/core-properties"/><Relationship Id="rId3" Target="docProps/app.xml" Type="http://schemas.openxmlformats.org/officeDocument/2006/relationships/extended-properties"/><Relationship Id="rId4" Target="docProps/thumbnail.jpeg" Type="http://schemas.openxmlformats.org/package/2006/relationships/metadata/thumbnail"/></Relationships>
</file>

<file path=ppt/presentation.xml><?xml version="1.0" encoding="utf-8"?>
<p:presentation xmlns:r="http://schemas.openxmlformats.org/officeDocument/2006/relationships" xmlns:a="http://schemas.openxmlformats.org/drawingml/2006/main" xmlns:p="http://schemas.openxmlformats.org/presentationml/2006/main" saveSubsetFonts="1">
  <p:sldMasterIdLst>
    <p:sldMasterId id="2147483696" r:id="rId1"/>
    <p:sldMasterId id="2147483725" r:id="rId2"/>
  </p:sldMasterIdLst>
  <p:notesMasterIdLst>
    <p:notesMasterId r:id="rId3"/>
  </p:notesMasterIdLst>
  <p:handoutMasterIdLst>
    <p:handoutMasterId r:id="rId4"/>
  </p:handoutMasterIdLst>
  <p:sldIdLst>
    <p:sldId id="276" r:id="rId5"/>
    <p:sldId id="274" r:id="rId6"/>
    <p:sldId id="275" r:id="rId7"/>
    <p:sldId id="258" r:id="rId8"/>
    <p:sldId id="260" r:id="rId9"/>
    <p:sldId id="268" r:id="rId10"/>
    <p:sldId id="309" r:id="rId11"/>
    <p:sldId id="308" r:id="rId12"/>
    <p:sldId id="289" r:id="rId13"/>
    <p:sldId id="311" r:id="rId14"/>
    <p:sldId id="263" r:id="rId15"/>
    <p:sldId id="290" r:id="rId16"/>
    <p:sldId id="264" r:id="rId17"/>
    <p:sldId id="293" r:id="rId18"/>
    <p:sldId id="312" r:id="rId19"/>
    <p:sldId id="294" r:id="rId20"/>
    <p:sldId id="267" r:id="rId21"/>
    <p:sldId id="265" r:id="rId22"/>
    <p:sldId id="295" r:id="rId23"/>
    <p:sldId id="297" r:id="rId24"/>
    <p:sldId id="298" r:id="rId25"/>
    <p:sldId id="307" r:id="rId26"/>
    <p:sldId id="299" r:id="rId27"/>
    <p:sldId id="261" r:id="rId28"/>
  </p:sldIdLst>
  <p:sldSz cx="12192000" cy="6858000"/>
  <p:notesSz cx="6858000" cy="9144000"/>
  <p:custDataLst>
    <p:tags r:id="rId3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63" userDrawn="1">
          <p15:clr>
            <a:srgbClr val="A4A3A4"/>
          </p15:clr>
        </p15:guide>
        <p15:guide id="3" orient="horz" pos="216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r="http://schemas.openxmlformats.org/officeDocument/2006/relationships" xmlns:a="http://schemas.openxmlformats.org/drawingml/2006/main"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0"/>
    </p:ext>
  </p:extLst>
</p:presentationPr>
</file>

<file path=ppt/tableStyles.xml><?xml version="1.0" encoding="utf-8"?>
<a:tblStyleLst xmlns:r="http://schemas.openxmlformats.org/officeDocument/2006/relationships"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741" autoAdjust="0"/>
    <p:restoredTop sz="96318" autoAdjust="0"/>
  </p:normalViewPr>
  <p:slideViewPr>
    <p:cSldViewPr snapToGrid="0">
      <p:cViewPr varScale="1">
        <p:scale>
          <a:sx n="109" d="100"/>
          <a:sy n="109" d="100"/>
        </p:scale>
        <p:origin x="744" y="78"/>
      </p:cViewPr>
      <p:guideLst>
        <p:guide pos="3863"/>
        <p:guide orient="horz" pos="2160"/>
      </p:guideLst>
    </p:cSldViewPr>
  </p:slid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55" d="100"/>
          <a:sy n="55" d="100"/>
        </p:scale>
        <p:origin x="2022" y="84"/>
      </p:cViewPr>
      <p:guideLst/>
    </p:cSldViewPr>
  </p:notesViewPr>
  <p:gridSpacing cx="72008" cy="72008"/>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10" Target="slides/slide6.xml" Type="http://schemas.openxmlformats.org/officeDocument/2006/relationships/slide"/><Relationship Id="rId11" Target="slides/slide7.xml" Type="http://schemas.openxmlformats.org/officeDocument/2006/relationships/slide"/><Relationship Id="rId12" Target="slides/slide8.xml" Type="http://schemas.openxmlformats.org/officeDocument/2006/relationships/slide"/><Relationship Id="rId13" Target="slides/slide9.xml" Type="http://schemas.openxmlformats.org/officeDocument/2006/relationships/slide"/><Relationship Id="rId14" Target="slides/slide10.xml" Type="http://schemas.openxmlformats.org/officeDocument/2006/relationships/slide"/><Relationship Id="rId15" Target="slides/slide11.xml" Type="http://schemas.openxmlformats.org/officeDocument/2006/relationships/slide"/><Relationship Id="rId16" Target="slides/slide12.xml" Type="http://schemas.openxmlformats.org/officeDocument/2006/relationships/slide"/><Relationship Id="rId17" Target="slides/slide13.xml" Type="http://schemas.openxmlformats.org/officeDocument/2006/relationships/slide"/><Relationship Id="rId18" Target="slides/slide14.xml" Type="http://schemas.openxmlformats.org/officeDocument/2006/relationships/slide"/><Relationship Id="rId19" Target="slides/slide15.xml" Type="http://schemas.openxmlformats.org/officeDocument/2006/relationships/slide"/><Relationship Id="rId2" Target="slideMasters/slideMaster2.xml" Type="http://schemas.openxmlformats.org/officeDocument/2006/relationships/slideMaster"/><Relationship Id="rId20" Target="slides/slide16.xml" Type="http://schemas.openxmlformats.org/officeDocument/2006/relationships/slide"/><Relationship Id="rId21" Target="slides/slide17.xml" Type="http://schemas.openxmlformats.org/officeDocument/2006/relationships/slide"/><Relationship Id="rId22" Target="slides/slide18.xml" Type="http://schemas.openxmlformats.org/officeDocument/2006/relationships/slide"/><Relationship Id="rId23" Target="slides/slide19.xml" Type="http://schemas.openxmlformats.org/officeDocument/2006/relationships/slide"/><Relationship Id="rId24" Target="slides/slide20.xml" Type="http://schemas.openxmlformats.org/officeDocument/2006/relationships/slide"/><Relationship Id="rId25" Target="slides/slide21.xml" Type="http://schemas.openxmlformats.org/officeDocument/2006/relationships/slide"/><Relationship Id="rId26" Target="slides/slide22.xml" Type="http://schemas.openxmlformats.org/officeDocument/2006/relationships/slide"/><Relationship Id="rId27" Target="slides/slide23.xml" Type="http://schemas.openxmlformats.org/officeDocument/2006/relationships/slide"/><Relationship Id="rId28" Target="slides/slide24.xml" Type="http://schemas.openxmlformats.org/officeDocument/2006/relationships/slide"/><Relationship Id="rId3" Target="notesMasters/notesMaster1.xml" Type="http://schemas.openxmlformats.org/officeDocument/2006/relationships/notesMaster"/><Relationship Id="rId30" Target="tags/tag3.xml" Type="http://schemas.openxmlformats.org/officeDocument/2006/relationships/tags"/><Relationship Id="rId31" Target="presProps.xml" Type="http://schemas.openxmlformats.org/officeDocument/2006/relationships/presProps"/><Relationship Id="rId32" Target="viewProps.xml" Type="http://schemas.openxmlformats.org/officeDocument/2006/relationships/viewProps"/><Relationship Id="rId33" Target="theme/theme1.xml" Type="http://schemas.openxmlformats.org/officeDocument/2006/relationships/theme"/><Relationship Id="rId34" Target="tableStyles.xml" Type="http://schemas.openxmlformats.org/officeDocument/2006/relationships/tableStyles"/><Relationship Id="rId4" Target="handoutMasters/handoutMaster1.xml" Type="http://schemas.openxmlformats.org/officeDocument/2006/relationships/handoutMaster"/><Relationship Id="rId5" Target="slides/slide1.xml" Type="http://schemas.openxmlformats.org/officeDocument/2006/relationships/slide"/><Relationship Id="rId6" Target="slides/slide2.xml" Type="http://schemas.openxmlformats.org/officeDocument/2006/relationships/slide"/><Relationship Id="rId7" Target="slides/slide3.xml" Type="http://schemas.openxmlformats.org/officeDocument/2006/relationships/slide"/><Relationship Id="rId8" Target="slides/slide4.xml" Type="http://schemas.openxmlformats.org/officeDocument/2006/relationships/slide"/><Relationship Id="rId9" Target="slides/slide5.xml" Type="http://schemas.openxmlformats.org/officeDocument/2006/relationships/slide"/></Relationships>
</file>

<file path=ppt/drawings/_rels/vmlDrawing1.vml.rels><?xml version="1.0" encoding="UTF-8" standalone="yes"?><Relationships xmlns="http://schemas.openxmlformats.org/package/2006/relationships"><Relationship Id="rId1" Target="../media/image1.emf" Type="http://schemas.openxmlformats.org/officeDocument/2006/relationships/image"/></Relationships>
</file>

<file path=ppt/handoutMasters/_rels/handoutMaster1.xml.rels><?xml version="1.0" encoding="UTF-8" standalone="yes"?><Relationships xmlns="http://schemas.openxmlformats.org/package/2006/relationships"><Relationship Id="rId1" Target="../theme/theme4.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bg>
      <p:bgRef idx="1001">
        <a:schemeClr val="bg1"/>
      </p:bgRef>
    </p:bg>
    <p:spTree>
      <p:nvGrpSpPr>
        <p:cNvPr id="1" name=""/>
        <p:cNvGrpSpPr/>
        <p:nvPr/>
      </p:nvGrpSpPr>
      <p:grpSpPr>
        <a:xfrm>
          <a:off x="0" y="0"/>
          <a:ext cx="0" cy="0"/>
        </a:xfrm>
      </p:grpSpPr>
      <p:sp>
        <p:nvSpPr>
          <p:cNvPr id="2" name="页眉占位符 1">
            <a:extLst>
              <a:ext uri="{FF2B5EF4-FFF2-40B4-BE49-F238E27FC236}">
                <a16:creationId xmlns:a16="http://schemas.microsoft.com/office/drawing/2014/main" xmlns="" id="{BAA7E256-37A5-4AA5-A2E2-66CE49BABAD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xmlns="" id="{B4B8F8F4-F87C-484B-A018-9678FDE6F9A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BE0948D-3ABA-4C14-8A3F-A44A4BD785D2}" type="datetimeFigureOut">
              <a:rPr lang="zh-CN" altLang="en-US" smtClean="0"/>
              <a:t>2020/1/14</a:t>
            </a:fld>
            <a:endParaRPr lang="zh-CN" altLang="en-US"/>
          </a:p>
        </p:txBody>
      </p:sp>
      <p:sp>
        <p:nvSpPr>
          <p:cNvPr id="4" name="页脚占位符 3">
            <a:extLst>
              <a:ext uri="{FF2B5EF4-FFF2-40B4-BE49-F238E27FC236}">
                <a16:creationId xmlns:a16="http://schemas.microsoft.com/office/drawing/2014/main" xmlns="" id="{C97A12E4-EBE9-4E94-95A7-7B14E884CA5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xmlns="" id="{98D71FF9-881F-4EC7-B731-57DE6A1687F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5F30AC6-05B8-418C-829E-3B8A9EA2CFB5}" type="slidenum">
              <a:rPr lang="zh-CN" altLang="en-US" smtClean="0"/>
              <a:t>‹#›</a:t>
            </a:fld>
            <a:endParaRPr lang="zh-CN" altLang="en-US"/>
          </a:p>
        </p:txBody>
      </p:sp>
    </p:spTree>
    <p:extLst>
      <p:ext uri="{BB962C8B-B14F-4D97-AF65-F5344CB8AC3E}">
        <p14:creationId xmlns:p14="http://schemas.microsoft.com/office/powerpoint/2010/main" val="41690705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Relationships xmlns="http://schemas.openxmlformats.org/package/2006/relationships"><Relationship Id="rId1" Target="../theme/theme3.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bg>
      <p:bgRef idx="1001">
        <a:schemeClr val="bg1"/>
      </p:bgRef>
    </p:bg>
    <p:spTree>
      <p:nvGrpSpPr>
        <p:cNvPr id="1" name=""/>
        <p:cNvGrpSpPr/>
        <p:nvPr/>
      </p:nvGrpSpPr>
      <p:grpSpPr>
        <a:xfrm>
          <a:off x="0" y="0"/>
          <a: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8AF9FAD-7CAC-4022-B2D4-7FD28C9AB7F7}" type="datetimeFigureOut">
              <a:rPr lang="zh-CN" altLang="en-US" smtClean="0"/>
              <a:t>2020/1/14</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3BB09A-AF4C-4E42-800E-E0CCBD8AA2D6}" type="slidenum">
              <a:rPr lang="zh-CN" altLang="en-US" smtClean="0"/>
              <a:t>‹#›</a:t>
            </a:fld>
            <a:endParaRPr lang="zh-CN" altLang="en-US"/>
          </a:p>
        </p:txBody>
      </p:sp>
    </p:spTree>
    <p:extLst>
      <p:ext uri="{BB962C8B-B14F-4D97-AF65-F5344CB8AC3E}">
        <p14:creationId val="21356786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slides/slide1.xml" Type="http://schemas.openxmlformats.org/officeDocument/2006/relationships/slide"/><Relationship Id="rId2" Target="../notesMasters/notesMaster1.xml" Type="http://schemas.openxmlformats.org/officeDocument/2006/relationships/notesMaster"/></Relationships>
</file>

<file path=ppt/notesSlides/_rels/notesSlide10.xml.rels><?xml version="1.0" encoding="UTF-8" standalone="yes"?><Relationships xmlns="http://schemas.openxmlformats.org/package/2006/relationships"><Relationship Id="rId1" Target="../slides/slide10.xml" Type="http://schemas.openxmlformats.org/officeDocument/2006/relationships/slide"/><Relationship Id="rId2" Target="../notesMasters/notesMaster1.xml" Type="http://schemas.openxmlformats.org/officeDocument/2006/relationships/notesMaster"/></Relationships>
</file>

<file path=ppt/notesSlides/_rels/notesSlide11.xml.rels><?xml version="1.0" encoding="UTF-8" standalone="yes"?><Relationships xmlns="http://schemas.openxmlformats.org/package/2006/relationships"><Relationship Id="rId1" Target="../slides/slide11.xml" Type="http://schemas.openxmlformats.org/officeDocument/2006/relationships/slide"/><Relationship Id="rId2" Target="../notesMasters/notesMaster1.xml" Type="http://schemas.openxmlformats.org/officeDocument/2006/relationships/notesMaster"/></Relationships>
</file>

<file path=ppt/notesSlides/_rels/notesSlide12.xml.rels><?xml version="1.0" encoding="UTF-8" standalone="yes"?><Relationships xmlns="http://schemas.openxmlformats.org/package/2006/relationships"><Relationship Id="rId1" Target="../slides/slide12.xml" Type="http://schemas.openxmlformats.org/officeDocument/2006/relationships/slide"/><Relationship Id="rId2" Target="../notesMasters/notesMaster1.xml" Type="http://schemas.openxmlformats.org/officeDocument/2006/relationships/notesMaster"/></Relationships>
</file>

<file path=ppt/notesSlides/_rels/notesSlide13.xml.rels><?xml version="1.0" encoding="UTF-8" standalone="yes"?><Relationships xmlns="http://schemas.openxmlformats.org/package/2006/relationships"><Relationship Id="rId1" Target="../slides/slide13.xml" Type="http://schemas.openxmlformats.org/officeDocument/2006/relationships/slide"/><Relationship Id="rId2" Target="../notesMasters/notesMaster1.xml" Type="http://schemas.openxmlformats.org/officeDocument/2006/relationships/notesMaster"/></Relationships>
</file>

<file path=ppt/notesSlides/_rels/notesSlide14.xml.rels><?xml version="1.0" encoding="UTF-8" standalone="yes"?><Relationships xmlns="http://schemas.openxmlformats.org/package/2006/relationships"><Relationship Id="rId1" Target="../slides/slide14.xml" Type="http://schemas.openxmlformats.org/officeDocument/2006/relationships/slide"/><Relationship Id="rId2" Target="../notesMasters/notesMaster1.xml" Type="http://schemas.openxmlformats.org/officeDocument/2006/relationships/notesMaster"/></Relationships>
</file>

<file path=ppt/notesSlides/_rels/notesSlide15.xml.rels><?xml version="1.0" encoding="UTF-8" standalone="yes"?><Relationships xmlns="http://schemas.openxmlformats.org/package/2006/relationships"><Relationship Id="rId1" Target="../slides/slide15.xml" Type="http://schemas.openxmlformats.org/officeDocument/2006/relationships/slide"/><Relationship Id="rId2" Target="../notesMasters/notesMaster1.xml" Type="http://schemas.openxmlformats.org/officeDocument/2006/relationships/notesMaster"/></Relationships>
</file>

<file path=ppt/notesSlides/_rels/notesSlide16.xml.rels><?xml version="1.0" encoding="UTF-8" standalone="yes"?><Relationships xmlns="http://schemas.openxmlformats.org/package/2006/relationships"><Relationship Id="rId1" Target="../slides/slide16.xml" Type="http://schemas.openxmlformats.org/officeDocument/2006/relationships/slide"/><Relationship Id="rId2" Target="../notesMasters/notesMaster1.xml" Type="http://schemas.openxmlformats.org/officeDocument/2006/relationships/notesMaster"/></Relationships>
</file>

<file path=ppt/notesSlides/_rels/notesSlide17.xml.rels><?xml version="1.0" encoding="UTF-8" standalone="yes"?><Relationships xmlns="http://schemas.openxmlformats.org/package/2006/relationships"><Relationship Id="rId1" Target="../slides/slide17.xml" Type="http://schemas.openxmlformats.org/officeDocument/2006/relationships/slide"/><Relationship Id="rId2" Target="../notesMasters/notesMaster1.xml" Type="http://schemas.openxmlformats.org/officeDocument/2006/relationships/notesMaster"/></Relationships>
</file>

<file path=ppt/notesSlides/_rels/notesSlide18.xml.rels><?xml version="1.0" encoding="UTF-8" standalone="yes"?><Relationships xmlns="http://schemas.openxmlformats.org/package/2006/relationships"><Relationship Id="rId1" Target="../slides/slide18.xml" Type="http://schemas.openxmlformats.org/officeDocument/2006/relationships/slide"/><Relationship Id="rId2" Target="../notesMasters/notesMaster1.xml" Type="http://schemas.openxmlformats.org/officeDocument/2006/relationships/notesMaster"/></Relationships>
</file>

<file path=ppt/notesSlides/_rels/notesSlide19.xml.rels><?xml version="1.0" encoding="UTF-8" standalone="yes"?><Relationships xmlns="http://schemas.openxmlformats.org/package/2006/relationships"><Relationship Id="rId1" Target="../slides/slide19.xml" Type="http://schemas.openxmlformats.org/officeDocument/2006/relationships/slide"/><Relationship Id="rId2" Target="../notesMasters/notesMaster1.xml" Type="http://schemas.openxmlformats.org/officeDocument/2006/relationships/notesMaster"/></Relationships>
</file>

<file path=ppt/notesSlides/_rels/notesSlide2.xml.rels><?xml version="1.0" encoding="UTF-8" standalone="yes"?><Relationships xmlns="http://schemas.openxmlformats.org/package/2006/relationships"><Relationship Id="rId1" Target="../slides/slide2.xml" Type="http://schemas.openxmlformats.org/officeDocument/2006/relationships/slide"/><Relationship Id="rId2" Target="../notesMasters/notesMaster1.xml" Type="http://schemas.openxmlformats.org/officeDocument/2006/relationships/notesMaster"/></Relationships>
</file>

<file path=ppt/notesSlides/_rels/notesSlide20.xml.rels><?xml version="1.0" encoding="UTF-8" standalone="yes"?><Relationships xmlns="http://schemas.openxmlformats.org/package/2006/relationships"><Relationship Id="rId1" Target="../slides/slide20.xml" Type="http://schemas.openxmlformats.org/officeDocument/2006/relationships/slide"/><Relationship Id="rId2" Target="../notesMasters/notesMaster1.xml" Type="http://schemas.openxmlformats.org/officeDocument/2006/relationships/notesMaster"/></Relationships>
</file>

<file path=ppt/notesSlides/_rels/notesSlide21.xml.rels><?xml version="1.0" encoding="UTF-8" standalone="yes"?><Relationships xmlns="http://schemas.openxmlformats.org/package/2006/relationships"><Relationship Id="rId1" Target="../slides/slide21.xml" Type="http://schemas.openxmlformats.org/officeDocument/2006/relationships/slide"/><Relationship Id="rId2" Target="../notesMasters/notesMaster1.xml" Type="http://schemas.openxmlformats.org/officeDocument/2006/relationships/notesMaster"/></Relationships>
</file>

<file path=ppt/notesSlides/_rels/notesSlide22.xml.rels><?xml version="1.0" encoding="UTF-8" standalone="yes"?><Relationships xmlns="http://schemas.openxmlformats.org/package/2006/relationships"><Relationship Id="rId1" Target="../slides/slide22.xml" Type="http://schemas.openxmlformats.org/officeDocument/2006/relationships/slide"/><Relationship Id="rId2" Target="../notesMasters/notesMaster1.xml" Type="http://schemas.openxmlformats.org/officeDocument/2006/relationships/notesMaster"/></Relationships>
</file>

<file path=ppt/notesSlides/_rels/notesSlide23.xml.rels><?xml version="1.0" encoding="UTF-8" standalone="yes"?><Relationships xmlns="http://schemas.openxmlformats.org/package/2006/relationships"><Relationship Id="rId1" Target="../slides/slide23.xml" Type="http://schemas.openxmlformats.org/officeDocument/2006/relationships/slide"/><Relationship Id="rId2" Target="../notesMasters/notesMaster1.xml" Type="http://schemas.openxmlformats.org/officeDocument/2006/relationships/notesMaster"/></Relationships>
</file>

<file path=ppt/notesSlides/_rels/notesSlide24.xml.rels><?xml version="1.0" encoding="UTF-8" standalone="yes"?><Relationships xmlns="http://schemas.openxmlformats.org/package/2006/relationships"><Relationship Id="rId1" Target="../slides/slide24.xml" Type="http://schemas.openxmlformats.org/officeDocument/2006/relationships/slide"/><Relationship Id="rId2" Target="../notesMasters/notesMaster1.xml" Type="http://schemas.openxmlformats.org/officeDocument/2006/relationships/notesMaster"/></Relationships>
</file>

<file path=ppt/notesSlides/_rels/notesSlide25.xml.rels><?xml version="1.0" encoding="UTF-8" standalone="yes"?><Relationships xmlns="http://schemas.openxmlformats.org/package/2006/relationships"><Relationship Id="rId1" Target="../slides/slide25.xml" Type="http://schemas.openxmlformats.org/officeDocument/2006/relationships/slide"/><Relationship Id="rId2" Target="../notesMasters/notesMaster1.xml" Type="http://schemas.openxmlformats.org/officeDocument/2006/relationships/notesMaster"/></Relationships>
</file>

<file path=ppt/notesSlides/_rels/notesSlide3.xml.rels><?xml version="1.0" encoding="UTF-8" standalone="yes"?><Relationships xmlns="http://schemas.openxmlformats.org/package/2006/relationships"><Relationship Id="rId1" Target="../slides/slide3.xml" Type="http://schemas.openxmlformats.org/officeDocument/2006/relationships/slide"/><Relationship Id="rId2" Target="../notesMasters/notesMaster1.xml" Type="http://schemas.openxmlformats.org/officeDocument/2006/relationships/notesMaster"/></Relationships>
</file>

<file path=ppt/notesSlides/_rels/notesSlide4.xml.rels><?xml version="1.0" encoding="UTF-8" standalone="yes"?><Relationships xmlns="http://schemas.openxmlformats.org/package/2006/relationships"><Relationship Id="rId1" Target="../slides/slide4.xml" Type="http://schemas.openxmlformats.org/officeDocument/2006/relationships/slide"/><Relationship Id="rId2" Target="../notesMasters/notesMaster1.xml" Type="http://schemas.openxmlformats.org/officeDocument/2006/relationships/notesMaster"/></Relationships>
</file>

<file path=ppt/notesSlides/_rels/notesSlide5.xml.rels><?xml version="1.0" encoding="UTF-8" standalone="yes"?><Relationships xmlns="http://schemas.openxmlformats.org/package/2006/relationships"><Relationship Id="rId1" Target="../slides/slide5.xml" Type="http://schemas.openxmlformats.org/officeDocument/2006/relationships/slide"/><Relationship Id="rId2" Target="../notesMasters/notesMaster1.xml" Type="http://schemas.openxmlformats.org/officeDocument/2006/relationships/notesMaster"/></Relationships>
</file>

<file path=ppt/notesSlides/_rels/notesSlide6.xml.rels><?xml version="1.0" encoding="UTF-8" standalone="yes"?><Relationships xmlns="http://schemas.openxmlformats.org/package/2006/relationships"><Relationship Id="rId1" Target="../slides/slide6.xml" Type="http://schemas.openxmlformats.org/officeDocument/2006/relationships/slide"/><Relationship Id="rId2" Target="../notesMasters/notesMaster1.xml" Type="http://schemas.openxmlformats.org/officeDocument/2006/relationships/notesMaster"/></Relationships>
</file>

<file path=ppt/notesSlides/_rels/notesSlide7.xml.rels><?xml version="1.0" encoding="UTF-8" standalone="yes"?><Relationships xmlns="http://schemas.openxmlformats.org/package/2006/relationships"><Relationship Id="rId1" Target="../slides/slide7.xml" Type="http://schemas.openxmlformats.org/officeDocument/2006/relationships/slide"/><Relationship Id="rId2" Target="../notesMasters/notesMaster1.xml" Type="http://schemas.openxmlformats.org/officeDocument/2006/relationships/notesMaster"/></Relationships>
</file>

<file path=ppt/notesSlides/_rels/notesSlide8.xml.rels><?xml version="1.0" encoding="UTF-8" standalone="yes"?><Relationships xmlns="http://schemas.openxmlformats.org/package/2006/relationships"><Relationship Id="rId1" Target="../slides/slide8.xml" Type="http://schemas.openxmlformats.org/officeDocument/2006/relationships/slide"/><Relationship Id="rId2" Target="../notesMasters/notesMaster1.xml" Type="http://schemas.openxmlformats.org/officeDocument/2006/relationships/notesMaster"/></Relationships>
</file>

<file path=ppt/notesSlides/_rels/notesSlide9.xml.rels><?xml version="1.0" encoding="UTF-8" standalone="yes"?><Relationships xmlns="http://schemas.openxmlformats.org/package/2006/relationships"><Relationship Id="rId1" Target="../slides/slide9.xml" Type="http://schemas.openxmlformats.org/officeDocument/2006/relationships/slide"/><Relationship Id="rId2" Target="../notesMasters/notesMaster1.xml" Type="http://schemas.openxmlformats.org/officeDocument/2006/relationships/notesMaster"/></Relationships>
</file>

<file path=ppt/notesSlides/notesSlide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459730956"/>
      </p:ext>
    </p:extLst>
  </p:cSld>
  <p:clrMapOvr>
    <a:masterClrMapping/>
  </p:clrMapOvr>
</p:notes>
</file>

<file path=ppt/notesSlides/notesSlide10.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3599702853"/>
      </p:ext>
    </p:extLst>
  </p:cSld>
  <p:clrMapOvr>
    <a:masterClrMapping/>
  </p:clrMapOvr>
</p:notes>
</file>

<file path=ppt/notesSlides/notesSlide1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3114575395"/>
      </p:ext>
    </p:extLst>
  </p:cSld>
  <p:clrMapOvr>
    <a:masterClrMapping/>
  </p:clrMapOvr>
</p:notes>
</file>

<file path=ppt/notesSlides/notesSlide1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676028987"/>
      </p:ext>
    </p:extLst>
  </p:cSld>
  <p:clrMapOvr>
    <a:masterClrMapping/>
  </p:clrMapOvr>
</p:notes>
</file>

<file path=ppt/notesSlides/notesSlide1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1924957753"/>
      </p:ext>
    </p:extLst>
  </p:cSld>
  <p:clrMapOvr>
    <a:masterClrMapping/>
  </p:clrMapOvr>
</p:notes>
</file>

<file path=ppt/notesSlides/notesSlide1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614664114"/>
      </p:ext>
    </p:extLst>
  </p:cSld>
  <p:clrMapOvr>
    <a:masterClrMapping/>
  </p:clrMapOvr>
</p:notes>
</file>

<file path=ppt/notesSlides/notesSlide1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3091710402"/>
      </p:ext>
    </p:extLst>
  </p:cSld>
  <p:clrMapOvr>
    <a:masterClrMapping/>
  </p:clrMapOvr>
</p:notes>
</file>

<file path=ppt/notesSlides/notesSlide16.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1320033806"/>
      </p:ext>
    </p:extLst>
  </p:cSld>
  <p:clrMapOvr>
    <a:masterClrMapping/>
  </p:clrMapOvr>
</p:notes>
</file>

<file path=ppt/notesSlides/notesSlide17.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158961961"/>
      </p:ext>
    </p:extLst>
  </p:cSld>
  <p:clrMapOvr>
    <a:masterClrMapping/>
  </p:clrMapOvr>
</p:notes>
</file>

<file path=ppt/notesSlides/notesSlide18.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1729759300"/>
      </p:ext>
    </p:extLst>
  </p:cSld>
  <p:clrMapOvr>
    <a:masterClrMapping/>
  </p:clrMapOvr>
</p:notes>
</file>

<file path=ppt/notesSlides/notesSlide19.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4010546093"/>
      </p:ext>
    </p:extLst>
  </p:cSld>
  <p:clrMapOvr>
    <a:masterClrMapping/>
  </p:clrMapOvr>
</p:notes>
</file>

<file path=ppt/notesSlides/notesSlide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4235078682"/>
      </p:ext>
    </p:extLst>
  </p:cSld>
  <p:clrMapOvr>
    <a:masterClrMapping/>
  </p:clrMapOvr>
</p:notes>
</file>

<file path=ppt/notesSlides/notesSlide20.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3025787957"/>
      </p:ext>
    </p:extLst>
  </p:cSld>
  <p:clrMapOvr>
    <a:masterClrMapping/>
  </p:clrMapOvr>
</p:notes>
</file>

<file path=ppt/notesSlides/notesSlide2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1607128662"/>
      </p:ext>
    </p:extLst>
  </p:cSld>
  <p:clrMapOvr>
    <a:masterClrMapping/>
  </p:clrMapOvr>
</p:notes>
</file>

<file path=ppt/notesSlides/notesSlide2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4112019429"/>
      </p:ext>
    </p:extLst>
  </p:cSld>
  <p:clrMapOvr>
    <a:masterClrMapping/>
  </p:clrMapOvr>
</p:notes>
</file>

<file path=ppt/notesSlides/notesSlide2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963153994"/>
      </p:ext>
    </p:extLst>
  </p:cSld>
  <p:clrMapOvr>
    <a:masterClrMapping/>
  </p:clrMapOvr>
</p:notes>
</file>

<file path=ppt/notesSlides/notesSlide2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3876717741"/>
      </p:ext>
    </p:extLst>
  </p:cSld>
  <p:clrMapOvr>
    <a:masterClrMapping/>
  </p:clrMapOvr>
</p:notes>
</file>

<file path=ppt/notesSlides/notesSlide25.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
        <p:nvSpPr>
          <p:cNvPr id="6146"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6147"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zh-CN" altLang="en-US" smtClean="0"/>
              <a:t>模板来自于 </a:t>
            </a:r>
            <a:r>
              <a:rPr lang="en-US" altLang="zh-CN" smtClean="0"/>
              <a:t>http://www.ypppt.com</a:t>
            </a:r>
            <a:endParaRPr lang="zh-CN" altLang="en-US" smtClean="0"/>
          </a:p>
        </p:txBody>
      </p:sp>
      <p:sp>
        <p:nvSpPr>
          <p:cNvPr id="6148"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Narrow" panose="020b0606020202030204" pitchFamily="34" charset="0"/>
                <a:ea typeface="微软雅黑" panose="020b0503020204020204" pitchFamily="34" charset="-122"/>
              </a:defRPr>
            </a:lvl1pPr>
            <a:lvl2pPr marL="742950" indent="-285750">
              <a:defRPr>
                <a:solidFill>
                  <a:schemeClr val="tx1"/>
                </a:solidFill>
                <a:latin typeface="Arial Narrow" panose="020b0606020202030204" pitchFamily="34" charset="0"/>
                <a:ea typeface="微软雅黑" panose="020b0503020204020204" pitchFamily="34" charset="-122"/>
              </a:defRPr>
            </a:lvl2pPr>
            <a:lvl3pPr marL="1143000" indent="-228600">
              <a:defRPr>
                <a:solidFill>
                  <a:schemeClr val="tx1"/>
                </a:solidFill>
                <a:latin typeface="Arial Narrow" panose="020b0606020202030204" pitchFamily="34" charset="0"/>
                <a:ea typeface="微软雅黑" panose="020b0503020204020204" pitchFamily="34" charset="-122"/>
              </a:defRPr>
            </a:lvl3pPr>
            <a:lvl4pPr marL="1600200" indent="-228600">
              <a:defRPr>
                <a:solidFill>
                  <a:schemeClr val="tx1"/>
                </a:solidFill>
                <a:latin typeface="Arial Narrow" panose="020b0606020202030204" pitchFamily="34" charset="0"/>
                <a:ea typeface="微软雅黑" panose="020b0503020204020204" pitchFamily="34" charset="-122"/>
              </a:defRPr>
            </a:lvl4pPr>
            <a:lvl5pPr marL="2057400" indent="-228600">
              <a:defRPr>
                <a:solidFill>
                  <a:schemeClr val="tx1"/>
                </a:solidFill>
                <a:latin typeface="Arial Narrow" panose="020b0606020202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9pPr>
          </a:lstStyle>
          <a:p>
            <a:pPr fontAlgn="base">
              <a:spcBef>
                <a:spcPct val="0"/>
              </a:spcBef>
              <a:spcAft>
                <a:spcPct val="0"/>
              </a:spcAft>
            </a:pPr>
            <a:fld id="{E5ED1824-6DB2-4029-B0DF-1D3CDCF11CDA}" type="slidenum">
              <a:rPr lang="zh-CN" altLang="en-US" smtClean="0">
                <a:solidFill>
                  <a:prstClr val="black"/>
                </a:solidFill>
                <a:latin typeface="Calibri" panose="020f0502020204030204" pitchFamily="34" charset="0"/>
                <a:ea typeface="宋体" panose="02010600030101010101" pitchFamily="2" charset="-122"/>
              </a:rPr>
              <a:pPr fontAlgn="base">
                <a:spcBef>
                  <a:spcPct val="0"/>
                </a:spcBef>
                <a:spcAft>
                  <a:spcPct val="0"/>
                </a:spcAft>
              </a:pPr>
              <a:t>25</a:t>
            </a:fld>
            <a:endParaRPr lang="zh-CN" altLang="en-US" smtClean="0">
              <a:solidFill>
                <a:prstClr val="black"/>
              </a:solidFill>
              <a:latin typeface="Calibri" pitchFamily="34" charset="0"/>
              <a:ea typeface="宋体" pitchFamily="2" charset="-122"/>
            </a:endParaRPr>
          </a:p>
        </p:txBody>
      </p:sp>
    </p:spTree>
    <p:extLst>
      <p:ext uri="{BB962C8B-B14F-4D97-AF65-F5344CB8AC3E}">
        <p14:creationId xmlns:p14="http://schemas.microsoft.com/office/powerpoint/2010/main" val="3972054092"/>
      </p:ext>
    </p:extLst>
  </p:cSld>
  <p:clrMapOvr>
    <a:masterClrMapping/>
  </p:clrMapOvr>
</p:notes>
</file>

<file path=ppt/notesSlides/notesSlide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1984758635"/>
      </p:ext>
    </p:extLst>
  </p:cSld>
  <p:clrMapOvr>
    <a:masterClrMapping/>
  </p:clrMapOvr>
</p:notes>
</file>

<file path=ppt/notesSlides/notesSlide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477839496"/>
      </p:ext>
    </p:extLst>
  </p:cSld>
  <p:clrMapOvr>
    <a:masterClrMapping/>
  </p:clrMapOvr>
</p:notes>
</file>

<file path=ppt/notesSlides/notesSlide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1541749042"/>
      </p:ext>
    </p:extLst>
  </p:cSld>
  <p:clrMapOvr>
    <a:masterClrMapping/>
  </p:clrMapOvr>
</p:notes>
</file>

<file path=ppt/notesSlides/notesSlide6.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873514643"/>
      </p:ext>
    </p:extLst>
  </p:cSld>
  <p:clrMapOvr>
    <a:masterClrMapping/>
  </p:clrMapOvr>
</p:notes>
</file>

<file path=ppt/notesSlides/notesSlide7.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1482532850"/>
      </p:ext>
    </p:extLst>
  </p:cSld>
  <p:clrMapOvr>
    <a:masterClrMapping/>
  </p:clrMapOvr>
</p:notes>
</file>

<file path=ppt/notesSlides/notesSlide8.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1296306848"/>
      </p:ext>
    </p:extLst>
  </p:cSld>
  <p:clrMapOvr>
    <a:masterClrMapping/>
  </p:clrMapOvr>
</p:notes>
</file>

<file path=ppt/notesSlides/notesSlide9.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00349149"/>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5.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6.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7.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8.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9.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0.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1.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3.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4.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5.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blank" preserve="1">
  <p:cSld name="空白">
    <p:spTree>
      <p:nvGrpSpPr>
        <p:cNvPr id="1" name=""/>
        <p:cNvGrpSpPr/>
        <p:nvPr/>
      </p:nvGrpSpPr>
      <p:grpSpPr>
        <a:xfrm>
          <a:off x="0" y="0"/>
          <a:ext cx="0" cy="0"/>
        </a:xfrm>
      </p:grpSpPr>
    </p:spTree>
    <p:extLst>
      <p:ext uri="{BB962C8B-B14F-4D97-AF65-F5344CB8AC3E}">
        <p14:creationId val="1011827971"/>
      </p:ext>
    </p:extLst>
  </p:cSld>
  <p:clrMapOvr>
    <a:masterClrMapping/>
  </p:clrMapOvr>
  <p:transition/>
  <p:timing/>
</p:sldLayout>
</file>

<file path=ppt/slideLayouts/slideLayout10.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userDrawn="1">
  <p:cSld name="28_Custom Layout">
    <p:spTree>
      <p:nvGrpSpPr>
        <p:cNvPr id="1" name=""/>
        <p:cNvGrpSpPr/>
        <p:nvPr/>
      </p:nvGrpSpPr>
      <p:grpSpPr>
        <a:xfrm>
          <a:off x="0" y="0"/>
          <a:ext cx="0" cy="0"/>
        </a:xfrm>
      </p:grpSpPr>
      <p:sp>
        <p:nvSpPr>
          <p:cNvPr id="9" name="Picture Placeholder 8"/>
          <p:cNvSpPr>
            <a:spLocks noGrp="1"/>
          </p:cNvSpPr>
          <p:nvPr>
            <p:ph type="pic" sz="quarter" idx="10"/>
          </p:nvPr>
        </p:nvSpPr>
        <p:spPr>
          <a:xfrm>
            <a:off x="6462903" y="1990205"/>
            <a:ext cx="4230401" cy="2698763"/>
          </a:xfrm>
          <a:custGeom>
            <a:gdLst>
              <a:gd name="connsiteX0" fmla="*/ 0 w 4230401"/>
              <a:gd name="connsiteY0" fmla="*/ 0 h 2698763"/>
              <a:gd name="connsiteX1" fmla="*/ 4230401 w 4230401"/>
              <a:gd name="connsiteY1" fmla="*/ 0 h 2698763"/>
              <a:gd name="connsiteX2" fmla="*/ 4230401 w 4230401"/>
              <a:gd name="connsiteY2" fmla="*/ 2698763 h 2698763"/>
              <a:gd name="connsiteX3" fmla="*/ 0 w 4230401"/>
              <a:gd name="connsiteY3" fmla="*/ 2698763 h 2698763"/>
            </a:gdLst>
            <a:cxnLst>
              <a:cxn ang="0">
                <a:pos x="connsiteX0" y="connsiteY0"/>
              </a:cxn>
              <a:cxn ang="0">
                <a:pos x="connsiteX1" y="connsiteY1"/>
              </a:cxn>
              <a:cxn ang="0">
                <a:pos x="connsiteX2" y="connsiteY2"/>
              </a:cxn>
              <a:cxn ang="0">
                <a:pos x="connsiteX3" y="connsiteY3"/>
              </a:cxn>
            </a:cxnLst>
            <a:rect l="l" t="t" r="r" b="b"/>
            <a:pathLst>
              <a:path w="4230401" h="2698763">
                <a:moveTo>
                  <a:pt x="0" y="0"/>
                </a:moveTo>
                <a:lnTo>
                  <a:pt x="4230401" y="0"/>
                </a:lnTo>
                <a:lnTo>
                  <a:pt x="4230401" y="2698763"/>
                </a:lnTo>
                <a:lnTo>
                  <a:pt x="0" y="2698763"/>
                </a:lnTo>
                <a:close/>
              </a:path>
            </a:pathLst>
          </a:custGeom>
        </p:spPr>
        <p:txBody>
          <a:bodyPr wrap="square">
            <a:noAutofit/>
          </a:bodyPr>
          <a:lstStyle/>
          <a:p>
            <a:endParaRPr lang="id-ID"/>
          </a:p>
        </p:txBody>
      </p:sp>
    </p:spTree>
    <p:extLst>
      <p:ext uri="{BB962C8B-B14F-4D97-AF65-F5344CB8AC3E}">
        <p14:creationId val="3602839247"/>
      </p:ext>
    </p:extLst>
  </p:cSld>
  <p:clrMapOvr>
    <a:masterClrMapping/>
  </p:clrMapOvr>
  <p:transition/>
  <p:timing/>
</p:sldLayout>
</file>

<file path=ppt/slideLayouts/slideLayout1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userDrawn="1">
  <p:cSld name="29_Custom Layout">
    <p:spTree>
      <p:nvGrpSpPr>
        <p:cNvPr id="1" name=""/>
        <p:cNvGrpSpPr/>
        <p:nvPr/>
      </p:nvGrpSpPr>
      <p:grpSpPr>
        <a:xfrm>
          <a:off x="0" y="0"/>
          <a:ext cx="0" cy="0"/>
        </a:xfrm>
      </p:grpSpPr>
      <p:sp>
        <p:nvSpPr>
          <p:cNvPr id="6" name="Picture Placeholder 6"/>
          <p:cNvSpPr>
            <a:spLocks noGrp="1"/>
          </p:cNvSpPr>
          <p:nvPr>
            <p:ph type="pic" sz="quarter" idx="10"/>
          </p:nvPr>
        </p:nvSpPr>
        <p:spPr>
          <a:xfrm>
            <a:off x="0" y="0"/>
            <a:ext cx="5630863" cy="6858000"/>
          </a:xfrm>
        </p:spPr>
        <p:txBody>
          <a:bodyPr/>
          <a:lstStyle/>
          <a:p>
            <a:endParaRPr lang="en-US"/>
          </a:p>
        </p:txBody>
      </p:sp>
    </p:spTree>
    <p:extLst>
      <p:ext uri="{BB962C8B-B14F-4D97-AF65-F5344CB8AC3E}">
        <p14:creationId val="836530210"/>
      </p:ext>
    </p:extLst>
  </p:cSld>
  <p:clrMapOvr>
    <a:masterClrMapping/>
  </p:clrMapOvr>
  <p:transition/>
  <p:timing/>
</p:sldLayout>
</file>

<file path=ppt/slideLayouts/slideLayout1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userDrawn="1">
  <p:cSld name="31_Custom Layout">
    <p:spTree>
      <p:nvGrpSpPr>
        <p:cNvPr id="1" name=""/>
        <p:cNvGrpSpPr/>
        <p:nvPr/>
      </p:nvGrpSpPr>
      <p:grpSpPr>
        <a:xfrm>
          <a:off x="0" y="0"/>
          <a:ext cx="0" cy="0"/>
        </a:xfrm>
      </p:grpSpPr>
      <p:sp>
        <p:nvSpPr>
          <p:cNvPr id="6" name="Picture Placeholder 15"/>
          <p:cNvSpPr>
            <a:spLocks noGrp="1"/>
          </p:cNvSpPr>
          <p:nvPr>
            <p:ph type="pic" sz="quarter" idx="16"/>
          </p:nvPr>
        </p:nvSpPr>
        <p:spPr>
          <a:xfrm>
            <a:off x="5873174" y="330199"/>
            <a:ext cx="5690753" cy="6235700"/>
          </a:xfrm>
          <a:custGeom>
            <a:gdLst>
              <a:gd name="connsiteX0" fmla="*/ 1927513 w 5690753"/>
              <a:gd name="connsiteY0" fmla="*/ 5216070 h 6235700"/>
              <a:gd name="connsiteX1" fmla="*/ 3763240 w 5690753"/>
              <a:gd name="connsiteY1" fmla="*/ 5216070 h 6235700"/>
              <a:gd name="connsiteX2" fmla="*/ 3763240 w 5690753"/>
              <a:gd name="connsiteY2" fmla="*/ 6235699 h 6235700"/>
              <a:gd name="connsiteX3" fmla="*/ 1927513 w 5690753"/>
              <a:gd name="connsiteY3" fmla="*/ 6235699 h 6235700"/>
              <a:gd name="connsiteX4" fmla="*/ 0 w 5690753"/>
              <a:gd name="connsiteY4" fmla="*/ 5216070 h 6235700"/>
              <a:gd name="connsiteX5" fmla="*/ 1835727 w 5690753"/>
              <a:gd name="connsiteY5" fmla="*/ 5216070 h 6235700"/>
              <a:gd name="connsiteX6" fmla="*/ 1835727 w 5690753"/>
              <a:gd name="connsiteY6" fmla="*/ 6235699 h 6235700"/>
              <a:gd name="connsiteX7" fmla="*/ 0 w 5690753"/>
              <a:gd name="connsiteY7" fmla="*/ 6235699 h 6235700"/>
              <a:gd name="connsiteX8" fmla="*/ 3855026 w 5690753"/>
              <a:gd name="connsiteY8" fmla="*/ 4216400 h 6235700"/>
              <a:gd name="connsiteX9" fmla="*/ 5690753 w 5690753"/>
              <a:gd name="connsiteY9" fmla="*/ 4216400 h 6235700"/>
              <a:gd name="connsiteX10" fmla="*/ 5690753 w 5690753"/>
              <a:gd name="connsiteY10" fmla="*/ 6235700 h 6235700"/>
              <a:gd name="connsiteX11" fmla="*/ 3855026 w 5690753"/>
              <a:gd name="connsiteY11" fmla="*/ 6235700 h 6235700"/>
              <a:gd name="connsiteX12" fmla="*/ 3855026 w 5690753"/>
              <a:gd name="connsiteY12" fmla="*/ 2108200 h 6235700"/>
              <a:gd name="connsiteX13" fmla="*/ 5690753 w 5690753"/>
              <a:gd name="connsiteY13" fmla="*/ 2108200 h 6235700"/>
              <a:gd name="connsiteX14" fmla="*/ 5690753 w 5690753"/>
              <a:gd name="connsiteY14" fmla="*/ 4127500 h 6235700"/>
              <a:gd name="connsiteX15" fmla="*/ 3855026 w 5690753"/>
              <a:gd name="connsiteY15" fmla="*/ 4127500 h 6235700"/>
              <a:gd name="connsiteX16" fmla="*/ 3855026 w 5690753"/>
              <a:gd name="connsiteY16" fmla="*/ 0 h 6235700"/>
              <a:gd name="connsiteX17" fmla="*/ 5690753 w 5690753"/>
              <a:gd name="connsiteY17" fmla="*/ 0 h 6235700"/>
              <a:gd name="connsiteX18" fmla="*/ 5690753 w 5690753"/>
              <a:gd name="connsiteY18" fmla="*/ 2019300 h 6235700"/>
              <a:gd name="connsiteX19" fmla="*/ 3855026 w 5690753"/>
              <a:gd name="connsiteY19" fmla="*/ 2019300 h 6235700"/>
              <a:gd name="connsiteX20" fmla="*/ 1927513 w 5690753"/>
              <a:gd name="connsiteY20" fmla="*/ 0 h 6235700"/>
              <a:gd name="connsiteX21" fmla="*/ 3763240 w 5690753"/>
              <a:gd name="connsiteY21" fmla="*/ 0 h 6235700"/>
              <a:gd name="connsiteX22" fmla="*/ 3763240 w 5690753"/>
              <a:gd name="connsiteY22" fmla="*/ 1019629 h 6235700"/>
              <a:gd name="connsiteX23" fmla="*/ 1927513 w 5690753"/>
              <a:gd name="connsiteY23" fmla="*/ 1019629 h 6235700"/>
              <a:gd name="connsiteX24" fmla="*/ 0 w 5690753"/>
              <a:gd name="connsiteY24" fmla="*/ 0 h 6235700"/>
              <a:gd name="connsiteX25" fmla="*/ 1835727 w 5690753"/>
              <a:gd name="connsiteY25" fmla="*/ 0 h 6235700"/>
              <a:gd name="connsiteX26" fmla="*/ 1835727 w 5690753"/>
              <a:gd name="connsiteY26" fmla="*/ 1019629 h 6235700"/>
              <a:gd name="connsiteX27" fmla="*/ 0 w 5690753"/>
              <a:gd name="connsiteY27" fmla="*/ 1019629 h 62357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690753" h="6235700">
                <a:moveTo>
                  <a:pt x="1927513" y="5216070"/>
                </a:moveTo>
                <a:lnTo>
                  <a:pt x="3763240" y="5216070"/>
                </a:lnTo>
                <a:lnTo>
                  <a:pt x="3763240" y="6235699"/>
                </a:lnTo>
                <a:lnTo>
                  <a:pt x="1927513" y="6235699"/>
                </a:lnTo>
                <a:close/>
                <a:moveTo>
                  <a:pt x="0" y="5216070"/>
                </a:moveTo>
                <a:lnTo>
                  <a:pt x="1835727" y="5216070"/>
                </a:lnTo>
                <a:lnTo>
                  <a:pt x="1835727" y="6235699"/>
                </a:lnTo>
                <a:lnTo>
                  <a:pt x="0" y="6235699"/>
                </a:lnTo>
                <a:close/>
                <a:moveTo>
                  <a:pt x="3855026" y="4216400"/>
                </a:moveTo>
                <a:lnTo>
                  <a:pt x="5690753" y="4216400"/>
                </a:lnTo>
                <a:lnTo>
                  <a:pt x="5690753" y="6235700"/>
                </a:lnTo>
                <a:lnTo>
                  <a:pt x="3855026" y="6235700"/>
                </a:lnTo>
                <a:close/>
                <a:moveTo>
                  <a:pt x="3855026" y="2108200"/>
                </a:moveTo>
                <a:lnTo>
                  <a:pt x="5690753" y="2108200"/>
                </a:lnTo>
                <a:lnTo>
                  <a:pt x="5690753" y="4127500"/>
                </a:lnTo>
                <a:lnTo>
                  <a:pt x="3855026" y="4127500"/>
                </a:lnTo>
                <a:close/>
                <a:moveTo>
                  <a:pt x="3855026" y="0"/>
                </a:moveTo>
                <a:lnTo>
                  <a:pt x="5690753" y="0"/>
                </a:lnTo>
                <a:lnTo>
                  <a:pt x="5690753" y="2019300"/>
                </a:lnTo>
                <a:lnTo>
                  <a:pt x="3855026" y="2019300"/>
                </a:lnTo>
                <a:close/>
                <a:moveTo>
                  <a:pt x="1927513" y="0"/>
                </a:moveTo>
                <a:lnTo>
                  <a:pt x="3763240" y="0"/>
                </a:lnTo>
                <a:lnTo>
                  <a:pt x="3763240" y="1019629"/>
                </a:lnTo>
                <a:lnTo>
                  <a:pt x="1927513" y="1019629"/>
                </a:lnTo>
                <a:close/>
                <a:moveTo>
                  <a:pt x="0" y="0"/>
                </a:moveTo>
                <a:lnTo>
                  <a:pt x="1835727" y="0"/>
                </a:lnTo>
                <a:lnTo>
                  <a:pt x="1835727" y="1019629"/>
                </a:lnTo>
                <a:lnTo>
                  <a:pt x="0" y="1019629"/>
                </a:lnTo>
                <a:close/>
              </a:path>
            </a:pathLst>
          </a:custGeom>
        </p:spPr>
        <p:txBody>
          <a:bodyPr wrap="square">
            <a:noAutofit/>
          </a:bodyPr>
          <a:lstStyle/>
          <a:p>
            <a:endParaRPr lang="id-ID"/>
          </a:p>
        </p:txBody>
      </p:sp>
      <p:sp>
        <p:nvSpPr>
          <p:cNvPr id="10" name="Freeform 9"/>
          <p:cNvSpPr>
            <a:spLocks noGrp="1"/>
          </p:cNvSpPr>
          <p:nvPr>
            <p:ph type="pic" sz="quarter" idx="17"/>
          </p:nvPr>
        </p:nvSpPr>
        <p:spPr>
          <a:xfrm>
            <a:off x="5873175" y="1480457"/>
            <a:ext cx="3720769" cy="3933372"/>
          </a:xfrm>
          <a:custGeom>
            <a:gdLst>
              <a:gd name="connsiteX0" fmla="*/ 0 w 3720769"/>
              <a:gd name="connsiteY0" fmla="*/ 0 h 3933372"/>
              <a:gd name="connsiteX1" fmla="*/ 3720769 w 3720769"/>
              <a:gd name="connsiteY1" fmla="*/ 0 h 3933372"/>
              <a:gd name="connsiteX2" fmla="*/ 3720769 w 3720769"/>
              <a:gd name="connsiteY2" fmla="*/ 3933372 h 3933372"/>
              <a:gd name="connsiteX3" fmla="*/ 0 w 3720769"/>
              <a:gd name="connsiteY3" fmla="*/ 3933372 h 3933372"/>
            </a:gdLst>
            <a:cxnLst>
              <a:cxn ang="0">
                <a:pos x="connsiteX0" y="connsiteY0"/>
              </a:cxn>
              <a:cxn ang="0">
                <a:pos x="connsiteX1" y="connsiteY1"/>
              </a:cxn>
              <a:cxn ang="0">
                <a:pos x="connsiteX2" y="connsiteY2"/>
              </a:cxn>
              <a:cxn ang="0">
                <a:pos x="connsiteX3" y="connsiteY3"/>
              </a:cxn>
            </a:cxnLst>
            <a:rect l="l" t="t" r="r" b="b"/>
            <a:pathLst>
              <a:path w="3720769" h="3933372">
                <a:moveTo>
                  <a:pt x="0" y="0"/>
                </a:moveTo>
                <a:lnTo>
                  <a:pt x="3720769" y="0"/>
                </a:lnTo>
                <a:lnTo>
                  <a:pt x="3720769" y="3933372"/>
                </a:lnTo>
                <a:lnTo>
                  <a:pt x="0" y="3933372"/>
                </a:lnTo>
                <a:close/>
              </a:path>
            </a:pathLst>
          </a:custGeom>
        </p:spPr>
        <p:txBody>
          <a:bodyPr wrap="square">
            <a:noAutofit/>
          </a:bodyPr>
          <a:lstStyle/>
          <a:p>
            <a:endParaRPr lang="id-ID"/>
          </a:p>
        </p:txBody>
      </p:sp>
    </p:spTree>
    <p:extLst>
      <p:ext uri="{BB962C8B-B14F-4D97-AF65-F5344CB8AC3E}">
        <p14:creationId val="4270649287"/>
      </p:ext>
    </p:extLst>
  </p:cSld>
  <p:clrMapOvr>
    <a:masterClrMapping/>
  </p:clrMapOvr>
  <p:transition/>
  <p:timing/>
</p:sldLayout>
</file>

<file path=ppt/slideLayouts/slideLayout1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userDrawn="1">
  <p:cSld name="1_Custom Layout">
    <p:spTree>
      <p:nvGrpSpPr>
        <p:cNvPr id="1" name=""/>
        <p:cNvGrpSpPr/>
        <p:nvPr/>
      </p:nvGrpSpPr>
      <p:grpSpPr>
        <a:xfrm>
          <a:off x="0" y="0"/>
          <a:ext cx="0" cy="0"/>
        </a:xfrm>
      </p:grpSpPr>
      <p:sp>
        <p:nvSpPr>
          <p:cNvPr id="9" name="Picture Placeholder 8"/>
          <p:cNvSpPr>
            <a:spLocks noGrp="1"/>
          </p:cNvSpPr>
          <p:nvPr>
            <p:ph type="pic" sz="quarter" idx="10"/>
          </p:nvPr>
        </p:nvSpPr>
        <p:spPr>
          <a:xfrm>
            <a:off x="6313715" y="1770743"/>
            <a:ext cx="5196114" cy="3251200"/>
          </a:xfrm>
          <a:custGeom>
            <a:gdLst>
              <a:gd name="connsiteX0" fmla="*/ 0 w 5196114"/>
              <a:gd name="connsiteY0" fmla="*/ 0 h 3251200"/>
              <a:gd name="connsiteX1" fmla="*/ 5196114 w 5196114"/>
              <a:gd name="connsiteY1" fmla="*/ 0 h 3251200"/>
              <a:gd name="connsiteX2" fmla="*/ 5196114 w 5196114"/>
              <a:gd name="connsiteY2" fmla="*/ 3251200 h 3251200"/>
              <a:gd name="connsiteX3" fmla="*/ 0 w 5196114"/>
              <a:gd name="connsiteY3" fmla="*/ 3251200 h 3251200"/>
            </a:gdLst>
            <a:cxnLst>
              <a:cxn ang="0">
                <a:pos x="connsiteX0" y="connsiteY0"/>
              </a:cxn>
              <a:cxn ang="0">
                <a:pos x="connsiteX1" y="connsiteY1"/>
              </a:cxn>
              <a:cxn ang="0">
                <a:pos x="connsiteX2" y="connsiteY2"/>
              </a:cxn>
              <a:cxn ang="0">
                <a:pos x="connsiteX3" y="connsiteY3"/>
              </a:cxn>
            </a:cxnLst>
            <a:rect l="l" t="t" r="r" b="b"/>
            <a:pathLst>
              <a:path w="5196114" h="3251200">
                <a:moveTo>
                  <a:pt x="0" y="0"/>
                </a:moveTo>
                <a:lnTo>
                  <a:pt x="5196114" y="0"/>
                </a:lnTo>
                <a:lnTo>
                  <a:pt x="5196114" y="3251200"/>
                </a:lnTo>
                <a:lnTo>
                  <a:pt x="0" y="3251200"/>
                </a:lnTo>
                <a:close/>
              </a:path>
            </a:pathLst>
          </a:custGeom>
        </p:spPr>
        <p:txBody>
          <a:bodyPr wrap="square">
            <a:noAutofit/>
          </a:bodyPr>
          <a:lstStyle/>
          <a:p>
            <a:endParaRPr lang="id-ID"/>
          </a:p>
        </p:txBody>
      </p:sp>
    </p:spTree>
    <p:extLst>
      <p:ext uri="{BB962C8B-B14F-4D97-AF65-F5344CB8AC3E}">
        <p14:creationId val="588297526"/>
      </p:ext>
    </p:extLst>
  </p:cSld>
  <p:clrMapOvr>
    <a:masterClrMapping/>
  </p:clrMapOvr>
  <p:transition/>
  <p:timing/>
</p:sldLayout>
</file>

<file path=ppt/slideLayouts/slideLayout1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userDrawn="1">
  <p:cSld name="6_Custom Layout">
    <p:spTree>
      <p:nvGrpSpPr>
        <p:cNvPr id="1" name=""/>
        <p:cNvGrpSpPr/>
        <p:nvPr/>
      </p:nvGrpSpPr>
      <p:grpSpPr>
        <a:xfrm>
          <a:off x="0" y="0"/>
          <a:ext cx="0" cy="0"/>
        </a:xfrm>
      </p:grpSpPr>
      <p:sp>
        <p:nvSpPr>
          <p:cNvPr id="9" name="Picture Placeholder 8"/>
          <p:cNvSpPr>
            <a:spLocks noGrp="1"/>
          </p:cNvSpPr>
          <p:nvPr>
            <p:ph type="pic" sz="quarter" idx="10"/>
          </p:nvPr>
        </p:nvSpPr>
        <p:spPr>
          <a:xfrm>
            <a:off x="0" y="0"/>
            <a:ext cx="4262907" cy="6858000"/>
          </a:xfrm>
          <a:custGeom>
            <a:gdLst>
              <a:gd name="connsiteX0" fmla="*/ 0 w 4262907"/>
              <a:gd name="connsiteY0" fmla="*/ 0 h 6858000"/>
              <a:gd name="connsiteX1" fmla="*/ 4262907 w 4262907"/>
              <a:gd name="connsiteY1" fmla="*/ 0 h 6858000"/>
              <a:gd name="connsiteX2" fmla="*/ 4262907 w 4262907"/>
              <a:gd name="connsiteY2" fmla="*/ 6858000 h 6858000"/>
              <a:gd name="connsiteX3" fmla="*/ 0 w 4262907"/>
              <a:gd name="connsiteY3" fmla="*/ 6858000 h 6858000"/>
            </a:gdLst>
            <a:cxnLst>
              <a:cxn ang="0">
                <a:pos x="connsiteX0" y="connsiteY0"/>
              </a:cxn>
              <a:cxn ang="0">
                <a:pos x="connsiteX1" y="connsiteY1"/>
              </a:cxn>
              <a:cxn ang="0">
                <a:pos x="connsiteX2" y="connsiteY2"/>
              </a:cxn>
              <a:cxn ang="0">
                <a:pos x="connsiteX3" y="connsiteY3"/>
              </a:cxn>
            </a:cxnLst>
            <a:rect l="l" t="t" r="r" b="b"/>
            <a:pathLst>
              <a:path w="4262907" h="6858000">
                <a:moveTo>
                  <a:pt x="0" y="0"/>
                </a:moveTo>
                <a:lnTo>
                  <a:pt x="4262907" y="0"/>
                </a:lnTo>
                <a:lnTo>
                  <a:pt x="4262907" y="6858000"/>
                </a:lnTo>
                <a:lnTo>
                  <a:pt x="0" y="6858000"/>
                </a:lnTo>
                <a:close/>
              </a:path>
            </a:pathLst>
          </a:custGeom>
        </p:spPr>
        <p:txBody>
          <a:bodyPr wrap="square">
            <a:noAutofit/>
          </a:bodyPr>
          <a:lstStyle/>
          <a:p>
            <a:endParaRPr lang="id-ID"/>
          </a:p>
        </p:txBody>
      </p:sp>
    </p:spTree>
    <p:extLst>
      <p:ext uri="{BB962C8B-B14F-4D97-AF65-F5344CB8AC3E}">
        <p14:creationId val="1485355085"/>
      </p:ext>
    </p:extLst>
  </p:cSld>
  <p:clrMapOvr>
    <a:masterClrMapping/>
  </p:clrMapOvr>
  <p:transition/>
  <p:timing/>
</p:sldLayout>
</file>

<file path=ppt/slideLayouts/slideLayout1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 preserve="1">
  <p:cSld name="标题幻灯片">
    <p:spTree>
      <p:nvGrpSpPr>
        <p:cNvPr id="1" name=""/>
        <p:cNvGrpSpPr/>
        <p:nvPr/>
      </p:nvGrpSpPr>
      <p:grpSpPr>
        <a:xfrm>
          <a:off x="0" y="0"/>
          <a: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zh-CN" altLang="en-US" smtClean="0"/>
              <a:t>单击此处编辑母版标题样式</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en-US"/>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20/1/14</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2710428041"/>
      </p:ext>
    </p:extLst>
  </p:cSld>
  <p:clrMapOvr>
    <a:masterClrMapping/>
  </p:clrMapOvr>
  <p:transition/>
  <p:timing/>
</p:sldLayout>
</file>

<file path=ppt/slideLayouts/slideLayout1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 preserve="1">
  <p:cSld name="标题和内容">
    <p:spTree>
      <p:nvGrpSpPr>
        <p:cNvPr id="1" name=""/>
        <p:cNvGrpSpPr/>
        <p:nvPr/>
      </p:nvGrpSpPr>
      <p:grpSpPr>
        <a:xfrm>
          <a:off x="0" y="0"/>
          <a: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Content Placeholder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20/1/14</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1061285518"/>
      </p:ext>
    </p:extLst>
  </p:cSld>
  <p:clrMapOvr>
    <a:masterClrMapping/>
  </p:clrMapOvr>
  <p:transition/>
  <p:timing/>
</p:sldLayout>
</file>

<file path=ppt/slideLayouts/slideLayout17.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secHead" preserve="1">
  <p:cSld name="节标题">
    <p:spTree>
      <p:nvGrpSpPr>
        <p:cNvPr id="1" name=""/>
        <p:cNvGrpSpPr/>
        <p:nvPr/>
      </p:nvGrpSpPr>
      <p:grpSpPr>
        <a:xfrm>
          <a:off x="0" y="0"/>
          <a: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zh-CN" altLang="en-US" smtClean="0"/>
              <a:t>单击此处编辑母版标题样式</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20/1/14</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4283006526"/>
      </p:ext>
    </p:extLst>
  </p:cSld>
  <p:clrMapOvr>
    <a:masterClrMapping/>
  </p:clrMapOvr>
  <p:transition/>
  <p:timing/>
</p:sldLayout>
</file>

<file path=ppt/slideLayouts/slideLayout18.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两栏内容">
    <p:spTree>
      <p:nvGrpSpPr>
        <p:cNvPr id="1" name=""/>
        <p:cNvGrpSpPr/>
        <p:nvPr/>
      </p:nvGrpSpPr>
      <p:grpSpPr>
        <a:xfrm>
          <a:off x="0" y="0"/>
          <a: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20/1/14</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115055389"/>
      </p:ext>
    </p:extLst>
  </p:cSld>
  <p:clrMapOvr>
    <a:masterClrMapping/>
  </p:clrMapOvr>
  <p:transition/>
  <p:timing/>
</p:sldLayout>
</file>

<file path=ppt/slideLayouts/slideLayout19.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TxTwoObj" preserve="1">
  <p:cSld name="比较">
    <p:spTree>
      <p:nvGrpSpPr>
        <p:cNvPr id="1" name=""/>
        <p:cNvGrpSpPr/>
        <p:nvPr/>
      </p:nvGrpSpPr>
      <p:grpSpPr>
        <a:xfrm>
          <a:off x="0" y="0"/>
          <a:ext cx="0" cy="0"/>
        </a:xfrm>
      </p:grpSpPr>
      <p:sp>
        <p:nvSpPr>
          <p:cNvPr id="2" name="Title 1"/>
          <p:cNvSpPr>
            <a:spLocks noGrp="1"/>
          </p:cNvSpPr>
          <p:nvPr>
            <p:ph type="title"/>
          </p:nvPr>
        </p:nvSpPr>
        <p:spPr>
          <a:xfrm>
            <a:off x="839788" y="365125"/>
            <a:ext cx="10515600" cy="1325563"/>
          </a:xfrm>
        </p:spPr>
        <p:txBody>
          <a:bodyPr/>
          <a:lstStyle/>
          <a:p>
            <a:r>
              <a:rPr lang="zh-CN" altLang="en-US" smtClean="0"/>
              <a:t>单击此处编辑母版标题样式</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Content Placeholder 3"/>
          <p:cNvSpPr>
            <a:spLocks noGrp="1"/>
          </p:cNvSpPr>
          <p:nvPr>
            <p:ph sz="half" idx="2"/>
          </p:nvPr>
        </p:nvSpPr>
        <p:spPr>
          <a:xfrm>
            <a:off x="839788" y="2505075"/>
            <a:ext cx="5157787"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Content Placeholder 5"/>
          <p:cNvSpPr>
            <a:spLocks noGrp="1"/>
          </p:cNvSpPr>
          <p:nvPr>
            <p:ph sz="quarter" idx="4"/>
          </p:nvPr>
        </p:nvSpPr>
        <p:spPr>
          <a:xfrm>
            <a:off x="6172200" y="2505075"/>
            <a:ext cx="5183188"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7" name="Date Placeholder 6"/>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20/1/14</a:t>
            </a:fld>
            <a:endParaRPr lang="zh-CN" alt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zh-CN" alt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3106453370"/>
      </p:ext>
    </p:extLst>
  </p:cSld>
  <p:clrMapOvr>
    <a:masterClrMapping/>
  </p:clrMapOvr>
  <p:transition/>
  <p:timing/>
</p:sldLayout>
</file>

<file path=ppt/slideLayouts/slideLayout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blank" preserve="1">
  <p:cSld name="1_空白">
    <p:spTree>
      <p:nvGrpSpPr>
        <p:cNvPr id="1" name=""/>
        <p:cNvGrpSpPr/>
        <p:nvPr/>
      </p:nvGrpSpPr>
      <p:grpSpPr>
        <a:xfrm>
          <a:off x="0" y="0"/>
          <a:ext cx="0" cy="0"/>
        </a:xfrm>
      </p:grpSpPr>
    </p:spTree>
    <p:extLst>
      <p:ext uri="{BB962C8B-B14F-4D97-AF65-F5344CB8AC3E}">
        <p14:creationId val="798376920"/>
      </p:ext>
    </p:extLst>
  </p:cSld>
  <p:clrMapOvr>
    <a:masterClrMapping/>
  </p:clrMapOvr>
  <p:transition/>
  <p:timing/>
</p:sldLayout>
</file>

<file path=ppt/slideLayouts/slideLayout20.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Only" preserve="1">
  <p:cSld name="仅标题">
    <p:spTree>
      <p:nvGrpSpPr>
        <p:cNvPr id="1" name=""/>
        <p:cNvGrpSpPr/>
        <p:nvPr/>
      </p:nvGrpSpPr>
      <p:grpSpPr>
        <a:xfrm>
          <a:off x="0" y="0"/>
          <a: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Date Placeholder 2"/>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20/1/14</a:t>
            </a:fld>
            <a:endParaRPr lang="zh-CN" alt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zh-CN" alt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3997114747"/>
      </p:ext>
    </p:extLst>
  </p:cSld>
  <p:clrMapOvr>
    <a:masterClrMapping/>
  </p:clrMapOvr>
  <p:transition/>
  <p:timing/>
</p:sldLayout>
</file>

<file path=ppt/slideLayouts/slideLayout2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blank" preserve="1">
  <p:cSld name="空白">
    <p:spTree>
      <p:nvGrpSpPr>
        <p:cNvPr id="1" name=""/>
        <p:cNvGrpSpPr/>
        <p:nvPr/>
      </p:nvGrpSpPr>
      <p:grpSpPr>
        <a:xfrm>
          <a:off x="0" y="0"/>
          <a:ext cx="0" cy="0"/>
        </a:xfrm>
      </p:grpSpPr>
      <p:sp>
        <p:nvSpPr>
          <p:cNvPr id="2" name="Date Placeholder 1"/>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20/1/14</a:t>
            </a:fld>
            <a:endParaRPr lang="zh-CN" alt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zh-CN" alt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2511509988"/>
      </p:ext>
    </p:extLst>
  </p:cSld>
  <p:clrMapOvr>
    <a:masterClrMapping/>
  </p:clrMapOvr>
  <p:transition/>
  <p:timing/>
</p:sldLayout>
</file>

<file path=ppt/slideLayouts/slideLayout2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Tx" preserve="1">
  <p:cSld name="内容与标题">
    <p:spTree>
      <p:nvGrpSpPr>
        <p:cNvPr id="1" name=""/>
        <p:cNvGrpSpPr/>
        <p:nvPr/>
      </p:nvGrpSpPr>
      <p:grpSpPr>
        <a:xfrm>
          <a:off x="0" y="0"/>
          <a: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20/1/14</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3737551819"/>
      </p:ext>
    </p:extLst>
  </p:cSld>
  <p:clrMapOvr>
    <a:masterClrMapping/>
  </p:clrMapOvr>
  <p:transition/>
  <p:timing/>
</p:sldLayout>
</file>

<file path=ppt/slideLayouts/slideLayout2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picTx" preserve="1">
  <p:cSld name="图片与标题">
    <p:spTree>
      <p:nvGrpSpPr>
        <p:cNvPr id="1" name=""/>
        <p:cNvGrpSpPr/>
        <p:nvPr/>
      </p:nvGrpSpPr>
      <p:grpSpPr>
        <a:xfrm>
          <a:off x="0" y="0"/>
          <a: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en-US"/>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smtClean="0"/>
              <a:t>单击图标添加图片</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20/1/14</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278730826"/>
      </p:ext>
    </p:extLst>
  </p:cSld>
  <p:clrMapOvr>
    <a:masterClrMapping/>
  </p:clrMapOvr>
  <p:transition/>
  <p:timing/>
</p:sldLayout>
</file>

<file path=ppt/slideLayouts/slideLayout2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vertTx" preserve="1">
  <p:cSld name="标题和竖排文字">
    <p:spTree>
      <p:nvGrpSpPr>
        <p:cNvPr id="1" name=""/>
        <p:cNvGrpSpPr/>
        <p:nvPr/>
      </p:nvGrpSpPr>
      <p:grpSpPr>
        <a:xfrm>
          <a:off x="0" y="0"/>
          <a: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Vertical Text Placeholder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20/1/14</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1679838325"/>
      </p:ext>
    </p:extLst>
  </p:cSld>
  <p:clrMapOvr>
    <a:masterClrMapping/>
  </p:clrMapOvr>
  <p:transition/>
  <p:timing/>
</p:sldLayout>
</file>

<file path=ppt/slideLayouts/slideLayout2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vertTitleAndTx" preserve="1">
  <p:cSld name="垂直排列标题与 文本">
    <p:spTree>
      <p:nvGrpSpPr>
        <p:cNvPr id="1" name=""/>
        <p:cNvGrpSpPr/>
        <p:nvPr/>
      </p:nvGrpSpPr>
      <p:grpSpPr>
        <a:xfrm>
          <a:off x="0" y="0"/>
          <a:ext cx="0" cy="0"/>
        </a:xfrm>
      </p:grpSpPr>
      <p:sp>
        <p:nvSpPr>
          <p:cNvPr id="2" name="Vertical Title 1"/>
          <p:cNvSpPr>
            <a:spLocks noGrp="1"/>
          </p:cNvSpPr>
          <p:nvPr>
            <p:ph type="title" orient="vert"/>
          </p:nvPr>
        </p:nvSpPr>
        <p:spPr>
          <a:xfrm>
            <a:off x="8724900" y="365125"/>
            <a:ext cx="2628900" cy="5811838"/>
          </a:xfrm>
        </p:spPr>
        <p:txBody>
          <a:bodyPr vert="eaVert"/>
          <a:lstStyle/>
          <a:p>
            <a:r>
              <a:rPr lang="zh-CN" altLang="en-US" smtClean="0"/>
              <a:t>单击此处编辑母版标题样式</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20/1/14</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1568313001"/>
      </p:ext>
    </p:extLst>
  </p:cSld>
  <p:clrMapOvr>
    <a:masterClrMapping/>
  </p:clrMapOvr>
  <p:transition/>
  <p:timing/>
</p:sldLayout>
</file>

<file path=ppt/slideLayouts/slideLayout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blank" preserve="1">
  <p:cSld name="2_空白">
    <p:spTree>
      <p:nvGrpSpPr>
        <p:cNvPr id="1" name=""/>
        <p:cNvGrpSpPr/>
        <p:nvPr/>
      </p:nvGrpSpPr>
      <p:grpSpPr>
        <a:xfrm>
          <a:off x="0" y="0"/>
          <a:ext cx="0" cy="0"/>
        </a:xfrm>
      </p:grpSpPr>
    </p:spTree>
    <p:extLst>
      <p:ext uri="{BB962C8B-B14F-4D97-AF65-F5344CB8AC3E}">
        <p14:creationId val="1826198108"/>
      </p:ext>
    </p:extLst>
  </p:cSld>
  <p:clrMapOvr>
    <a:masterClrMapping/>
  </p:clrMapOvr>
  <p:transition/>
  <p:timing/>
</p:sldLayout>
</file>

<file path=ppt/slideLayouts/slideLayout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blank" preserve="1">
  <p:cSld name="3_空白">
    <p:spTree>
      <p:nvGrpSpPr>
        <p:cNvPr id="1" name=""/>
        <p:cNvGrpSpPr/>
        <p:nvPr/>
      </p:nvGrpSpPr>
      <p:grpSpPr>
        <a:xfrm>
          <a:off x="0" y="0"/>
          <a:ext cx="0" cy="0"/>
        </a:xfrm>
      </p:grpSpPr>
    </p:spTree>
    <p:extLst>
      <p:ext uri="{BB962C8B-B14F-4D97-AF65-F5344CB8AC3E}">
        <p14:creationId val="2600910000"/>
      </p:ext>
    </p:extLst>
  </p:cSld>
  <p:clrMapOvr>
    <a:masterClrMapping/>
  </p:clrMapOvr>
  <p:transition/>
  <p:timing/>
</p:sldLayout>
</file>

<file path=ppt/slideLayouts/slideLayout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 preserve="1">
  <p:cSld name="标题幻灯片">
    <p:spTree>
      <p:nvGrpSpPr>
        <p:cNvPr id="1" name=""/>
        <p:cNvGrpSpPr/>
        <p:nvPr/>
      </p:nvGrpSpPr>
      <p:grpSpPr>
        <a:xfrm>
          <a:off x="0" y="0"/>
          <a: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a:p>
        </p:txBody>
      </p:sp>
      <p:sp>
        <p:nvSpPr>
          <p:cNvPr id="4" name="Date Placeholder 3"/>
          <p:cNvSpPr>
            <a:spLocks noGrp="1"/>
          </p:cNvSpPr>
          <p:nvPr>
            <p:ph type="dt" sz="half" idx="10"/>
          </p:nvPr>
        </p:nvSpPr>
        <p:spPr/>
        <p:txBody>
          <a:bodyPr/>
          <a:lstStyle/>
          <a:p>
            <a:fld id="{74742F3E-182A-4E42-99A7-A84D607325D2}" type="datetimeFigureOut">
              <a:rPr lang="zh-CN" altLang="en-US" smtClean="0"/>
              <a:t>2020/1/14</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121F91D6-B666-4B05-8BB0-A162590E5748}" type="slidenum">
              <a:rPr lang="zh-CN" altLang="en-US" smtClean="0"/>
              <a:t>‹#›</a:t>
            </a:fld>
            <a:endParaRPr lang="zh-CN" altLang="en-US"/>
          </a:p>
        </p:txBody>
      </p:sp>
    </p:spTree>
    <p:extLst>
      <p:ext uri="{BB962C8B-B14F-4D97-AF65-F5344CB8AC3E}">
        <p14:creationId val="795879448"/>
      </p:ext>
    </p:extLst>
  </p:cSld>
  <p:clrMapOvr>
    <a:masterClrMapping/>
  </p:clrMapOvr>
  <p:transition/>
  <p:timing/>
</p:sldLayout>
</file>

<file path=ppt/slideLayouts/slideLayout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userDrawn="1">
  <p:cSld name="24_Custom Layout">
    <p:spTree>
      <p:nvGrpSpPr>
        <p:cNvPr id="1" name=""/>
        <p:cNvGrpSpPr/>
        <p:nvPr/>
      </p:nvGrpSpPr>
      <p:grpSpPr>
        <a:xfrm>
          <a:off x="0" y="0"/>
          <a:ext cx="0" cy="0"/>
        </a:xfrm>
      </p:grpSpPr>
      <p:sp>
        <p:nvSpPr>
          <p:cNvPr id="9" name="Picture Placeholder 8"/>
          <p:cNvSpPr>
            <a:spLocks noGrp="1"/>
          </p:cNvSpPr>
          <p:nvPr>
            <p:ph type="pic" sz="quarter" idx="10"/>
          </p:nvPr>
        </p:nvSpPr>
        <p:spPr>
          <a:xfrm>
            <a:off x="7416800" y="1117601"/>
            <a:ext cx="3541486" cy="4644571"/>
          </a:xfrm>
          <a:custGeom>
            <a:gdLst>
              <a:gd name="connsiteX0" fmla="*/ 0 w 3541486"/>
              <a:gd name="connsiteY0" fmla="*/ 0 h 4644571"/>
              <a:gd name="connsiteX1" fmla="*/ 3541486 w 3541486"/>
              <a:gd name="connsiteY1" fmla="*/ 0 h 4644571"/>
              <a:gd name="connsiteX2" fmla="*/ 3541486 w 3541486"/>
              <a:gd name="connsiteY2" fmla="*/ 4644571 h 4644571"/>
              <a:gd name="connsiteX3" fmla="*/ 0 w 3541486"/>
              <a:gd name="connsiteY3" fmla="*/ 4644571 h 4644571"/>
            </a:gdLst>
            <a:cxnLst>
              <a:cxn ang="0">
                <a:pos x="connsiteX0" y="connsiteY0"/>
              </a:cxn>
              <a:cxn ang="0">
                <a:pos x="connsiteX1" y="connsiteY1"/>
              </a:cxn>
              <a:cxn ang="0">
                <a:pos x="connsiteX2" y="connsiteY2"/>
              </a:cxn>
              <a:cxn ang="0">
                <a:pos x="connsiteX3" y="connsiteY3"/>
              </a:cxn>
            </a:cxnLst>
            <a:rect l="l" t="t" r="r" b="b"/>
            <a:pathLst>
              <a:path w="3541486" h="4644571">
                <a:moveTo>
                  <a:pt x="0" y="0"/>
                </a:moveTo>
                <a:lnTo>
                  <a:pt x="3541486" y="0"/>
                </a:lnTo>
                <a:lnTo>
                  <a:pt x="3541486" y="4644571"/>
                </a:lnTo>
                <a:lnTo>
                  <a:pt x="0" y="4644571"/>
                </a:lnTo>
                <a:close/>
              </a:path>
            </a:pathLst>
          </a:custGeom>
        </p:spPr>
        <p:txBody>
          <a:bodyPr wrap="square">
            <a:noAutofit/>
          </a:bodyPr>
          <a:lstStyle/>
          <a:p>
            <a:endParaRPr lang="id-ID"/>
          </a:p>
        </p:txBody>
      </p:sp>
    </p:spTree>
    <p:extLst>
      <p:ext uri="{BB962C8B-B14F-4D97-AF65-F5344CB8AC3E}">
        <p14:creationId val="713308874"/>
      </p:ext>
    </p:extLst>
  </p:cSld>
  <p:clrMapOvr>
    <a:masterClrMapping/>
  </p:clrMapOvr>
  <p:transition/>
  <p:timing/>
</p:sldLayout>
</file>

<file path=ppt/slideLayouts/slideLayout7.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userDrawn="1">
  <p:cSld name="25_Custom Layout">
    <p:spTree>
      <p:nvGrpSpPr>
        <p:cNvPr id="1" name=""/>
        <p:cNvGrpSpPr/>
        <p:nvPr/>
      </p:nvGrpSpPr>
      <p:grpSpPr>
        <a:xfrm>
          <a:off x="0" y="0"/>
          <a:ext cx="0" cy="0"/>
        </a:xfrm>
      </p:grpSpPr>
      <p:sp>
        <p:nvSpPr>
          <p:cNvPr id="9" name="Picture Placeholder 8"/>
          <p:cNvSpPr>
            <a:spLocks noGrp="1"/>
          </p:cNvSpPr>
          <p:nvPr>
            <p:ph type="pic" sz="quarter" idx="10"/>
          </p:nvPr>
        </p:nvSpPr>
        <p:spPr>
          <a:xfrm>
            <a:off x="1103086" y="1815193"/>
            <a:ext cx="2133600" cy="3672114"/>
          </a:xfrm>
          <a:custGeom>
            <a:gdLst>
              <a:gd name="connsiteX0" fmla="*/ 0 w 2133600"/>
              <a:gd name="connsiteY0" fmla="*/ 0 h 3672114"/>
              <a:gd name="connsiteX1" fmla="*/ 2133600 w 2133600"/>
              <a:gd name="connsiteY1" fmla="*/ 0 h 3672114"/>
              <a:gd name="connsiteX2" fmla="*/ 2133600 w 2133600"/>
              <a:gd name="connsiteY2" fmla="*/ 3672114 h 3672114"/>
              <a:gd name="connsiteX3" fmla="*/ 0 w 2133600"/>
              <a:gd name="connsiteY3" fmla="*/ 3672114 h 3672114"/>
            </a:gdLst>
            <a:cxnLst>
              <a:cxn ang="0">
                <a:pos x="connsiteX0" y="connsiteY0"/>
              </a:cxn>
              <a:cxn ang="0">
                <a:pos x="connsiteX1" y="connsiteY1"/>
              </a:cxn>
              <a:cxn ang="0">
                <a:pos x="connsiteX2" y="connsiteY2"/>
              </a:cxn>
              <a:cxn ang="0">
                <a:pos x="connsiteX3" y="connsiteY3"/>
              </a:cxn>
            </a:cxnLst>
            <a:rect l="l" t="t" r="r" b="b"/>
            <a:pathLst>
              <a:path w="2133600" h="3672113">
                <a:moveTo>
                  <a:pt x="0" y="0"/>
                </a:moveTo>
                <a:lnTo>
                  <a:pt x="2133600" y="0"/>
                </a:lnTo>
                <a:lnTo>
                  <a:pt x="2133600" y="3672114"/>
                </a:lnTo>
                <a:lnTo>
                  <a:pt x="0" y="3672114"/>
                </a:lnTo>
                <a:close/>
              </a:path>
            </a:pathLst>
          </a:custGeom>
        </p:spPr>
        <p:txBody>
          <a:bodyPr wrap="square">
            <a:noAutofit/>
          </a:bodyPr>
          <a:lstStyle/>
          <a:p>
            <a:endParaRPr lang="id-ID"/>
          </a:p>
        </p:txBody>
      </p:sp>
    </p:spTree>
    <p:extLst>
      <p:ext uri="{BB962C8B-B14F-4D97-AF65-F5344CB8AC3E}">
        <p14:creationId val="781250290"/>
      </p:ext>
    </p:extLst>
  </p:cSld>
  <p:clrMapOvr>
    <a:masterClrMapping/>
  </p:clrMapOvr>
  <p:transition/>
  <p:timing/>
</p:sldLayout>
</file>

<file path=ppt/slideLayouts/slideLayout8.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userDrawn="1">
  <p:cSld name="26_Custom Layout">
    <p:spTree>
      <p:nvGrpSpPr>
        <p:cNvPr id="1" name=""/>
        <p:cNvGrpSpPr/>
        <p:nvPr/>
      </p:nvGrpSpPr>
      <p:grpSpPr>
        <a:xfrm>
          <a:off x="0" y="0"/>
          <a:ext cx="0" cy="0"/>
        </a:xfrm>
      </p:grpSpPr>
      <p:sp>
        <p:nvSpPr>
          <p:cNvPr id="9" name="Picture Placeholder 8"/>
          <p:cNvSpPr>
            <a:spLocks noGrp="1"/>
          </p:cNvSpPr>
          <p:nvPr>
            <p:ph type="pic" sz="quarter" idx="10"/>
          </p:nvPr>
        </p:nvSpPr>
        <p:spPr>
          <a:xfrm>
            <a:off x="4717143" y="1582058"/>
            <a:ext cx="2046514" cy="3675951"/>
          </a:xfrm>
          <a:custGeom>
            <a:gdLst>
              <a:gd name="connsiteX0" fmla="*/ 0 w 2046514"/>
              <a:gd name="connsiteY0" fmla="*/ 0 h 3675951"/>
              <a:gd name="connsiteX1" fmla="*/ 2046514 w 2046514"/>
              <a:gd name="connsiteY1" fmla="*/ 0 h 3675951"/>
              <a:gd name="connsiteX2" fmla="*/ 2046514 w 2046514"/>
              <a:gd name="connsiteY2" fmla="*/ 3675951 h 3675951"/>
              <a:gd name="connsiteX3" fmla="*/ 0 w 2046514"/>
              <a:gd name="connsiteY3" fmla="*/ 3675951 h 3675951"/>
            </a:gdLst>
            <a:cxnLst>
              <a:cxn ang="0">
                <a:pos x="connsiteX0" y="connsiteY0"/>
              </a:cxn>
              <a:cxn ang="0">
                <a:pos x="connsiteX1" y="connsiteY1"/>
              </a:cxn>
              <a:cxn ang="0">
                <a:pos x="connsiteX2" y="connsiteY2"/>
              </a:cxn>
              <a:cxn ang="0">
                <a:pos x="connsiteX3" y="connsiteY3"/>
              </a:cxn>
            </a:cxnLst>
            <a:rect l="l" t="t" r="r" b="b"/>
            <a:pathLst>
              <a:path w="2046514" h="3675950">
                <a:moveTo>
                  <a:pt x="0" y="0"/>
                </a:moveTo>
                <a:lnTo>
                  <a:pt x="2046514" y="0"/>
                </a:lnTo>
                <a:lnTo>
                  <a:pt x="2046514" y="3675951"/>
                </a:lnTo>
                <a:lnTo>
                  <a:pt x="0" y="3675951"/>
                </a:lnTo>
                <a:close/>
              </a:path>
            </a:pathLst>
          </a:custGeom>
        </p:spPr>
        <p:txBody>
          <a:bodyPr wrap="square">
            <a:noAutofit/>
          </a:bodyPr>
          <a:lstStyle/>
          <a:p>
            <a:endParaRPr lang="id-ID"/>
          </a:p>
        </p:txBody>
      </p:sp>
    </p:spTree>
    <p:extLst>
      <p:ext uri="{BB962C8B-B14F-4D97-AF65-F5344CB8AC3E}">
        <p14:creationId val="2453028874"/>
      </p:ext>
    </p:extLst>
  </p:cSld>
  <p:clrMapOvr>
    <a:masterClrMapping/>
  </p:clrMapOvr>
  <p:transition/>
  <p:timing/>
</p:sldLayout>
</file>

<file path=ppt/slideLayouts/slideLayout9.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userDrawn="1">
  <p:cSld name="27_Custom Layout">
    <p:spTree>
      <p:nvGrpSpPr>
        <p:cNvPr id="1" name=""/>
        <p:cNvGrpSpPr/>
        <p:nvPr/>
      </p:nvGrpSpPr>
      <p:grpSpPr>
        <a:xfrm>
          <a:off x="0" y="0"/>
          <a:ext cx="0" cy="0"/>
        </a:xfrm>
      </p:grpSpPr>
      <p:sp>
        <p:nvSpPr>
          <p:cNvPr id="9" name="Picture Placeholder 8"/>
          <p:cNvSpPr>
            <a:spLocks noGrp="1"/>
          </p:cNvSpPr>
          <p:nvPr>
            <p:ph type="pic" sz="quarter" idx="10"/>
          </p:nvPr>
        </p:nvSpPr>
        <p:spPr>
          <a:xfrm>
            <a:off x="551543" y="1915886"/>
            <a:ext cx="3976914" cy="5312228"/>
          </a:xfrm>
          <a:custGeom>
            <a:gdLst>
              <a:gd name="connsiteX0" fmla="*/ 0 w 3976914"/>
              <a:gd name="connsiteY0" fmla="*/ 0 h 5312228"/>
              <a:gd name="connsiteX1" fmla="*/ 3976914 w 3976914"/>
              <a:gd name="connsiteY1" fmla="*/ 0 h 5312228"/>
              <a:gd name="connsiteX2" fmla="*/ 3976914 w 3976914"/>
              <a:gd name="connsiteY2" fmla="*/ 5312228 h 5312228"/>
              <a:gd name="connsiteX3" fmla="*/ 0 w 3976914"/>
              <a:gd name="connsiteY3" fmla="*/ 5312228 h 5312228"/>
            </a:gdLst>
            <a:cxnLst>
              <a:cxn ang="0">
                <a:pos x="connsiteX0" y="connsiteY0"/>
              </a:cxn>
              <a:cxn ang="0">
                <a:pos x="connsiteX1" y="connsiteY1"/>
              </a:cxn>
              <a:cxn ang="0">
                <a:pos x="connsiteX2" y="connsiteY2"/>
              </a:cxn>
              <a:cxn ang="0">
                <a:pos x="connsiteX3" y="connsiteY3"/>
              </a:cxn>
            </a:cxnLst>
            <a:rect l="l" t="t" r="r" b="b"/>
            <a:pathLst>
              <a:path w="3976913" h="5312228">
                <a:moveTo>
                  <a:pt x="0" y="0"/>
                </a:moveTo>
                <a:lnTo>
                  <a:pt x="3976914" y="0"/>
                </a:lnTo>
                <a:lnTo>
                  <a:pt x="3976914" y="5312228"/>
                </a:lnTo>
                <a:lnTo>
                  <a:pt x="0" y="5312228"/>
                </a:lnTo>
                <a:close/>
              </a:path>
            </a:pathLst>
          </a:custGeom>
        </p:spPr>
        <p:txBody>
          <a:bodyPr wrap="square">
            <a:noAutofit/>
          </a:bodyPr>
          <a:lstStyle/>
          <a:p>
            <a:endParaRPr lang="id-ID"/>
          </a:p>
        </p:txBody>
      </p:sp>
    </p:spTree>
    <p:extLst>
      <p:ext uri="{BB962C8B-B14F-4D97-AF65-F5344CB8AC3E}">
        <p14:creationId val="1921056392"/>
      </p:ext>
    </p:extLst>
  </p:cSld>
  <p:clrMapOvr>
    <a:masterClrMapping/>
  </p:clrMapOvr>
  <p:transition/>
  <p:timing/>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slideLayouts/slideLayout12.xml" Type="http://schemas.openxmlformats.org/officeDocument/2006/relationships/slideLayout"/><Relationship Id="rId13" Target="../slideLayouts/slideLayout13.xml" Type="http://schemas.openxmlformats.org/officeDocument/2006/relationships/slideLayout"/><Relationship Id="rId14" Target="../slideLayouts/slideLayout14.xml" Type="http://schemas.openxmlformats.org/officeDocument/2006/relationships/slideLayout"/><Relationship Id="rId15" Target="../theme/theme1.xml" Type="http://schemas.openxmlformats.org/officeDocument/2006/relationships/them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_rels/slideMaster2.xml.rels><?xml version="1.0" encoding="UTF-8" standalone="yes"?><Relationships xmlns="http://schemas.openxmlformats.org/package/2006/relationships"><Relationship Id="rId1" Target="../slideLayouts/slideLayout15.xml" Type="http://schemas.openxmlformats.org/officeDocument/2006/relationships/slideLayout"/><Relationship Id="rId10" Target="../slideLayouts/slideLayout24.xml" Type="http://schemas.openxmlformats.org/officeDocument/2006/relationships/slideLayout"/><Relationship Id="rId11" Target="../slideLayouts/slideLayout25.xml" Type="http://schemas.openxmlformats.org/officeDocument/2006/relationships/slideLayout"/><Relationship Id="rId12" Target="../theme/theme2.xml" Type="http://schemas.openxmlformats.org/officeDocument/2006/relationships/theme"/><Relationship Id="rId2" Target="../slideLayouts/slideLayout16.xml" Type="http://schemas.openxmlformats.org/officeDocument/2006/relationships/slideLayout"/><Relationship Id="rId3" Target="../slideLayouts/slideLayout17.xml" Type="http://schemas.openxmlformats.org/officeDocument/2006/relationships/slideLayout"/><Relationship Id="rId4" Target="../slideLayouts/slideLayout18.xml" Type="http://schemas.openxmlformats.org/officeDocument/2006/relationships/slideLayout"/><Relationship Id="rId5" Target="../slideLayouts/slideLayout19.xml" Type="http://schemas.openxmlformats.org/officeDocument/2006/relationships/slideLayout"/><Relationship Id="rId6" Target="../slideLayouts/slideLayout20.xml" Type="http://schemas.openxmlformats.org/officeDocument/2006/relationships/slideLayout"/><Relationship Id="rId7" Target="../slideLayouts/slideLayout21.xml" Type="http://schemas.openxmlformats.org/officeDocument/2006/relationships/slideLayout"/><Relationship Id="rId8" Target="../slideLayouts/slideLayout22.xml" Type="http://schemas.openxmlformats.org/officeDocument/2006/relationships/slideLayout"/><Relationship Id="rId9" Target="../slideLayouts/slideLayout23.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bg>
      <p:bgPr>
        <a:solidFill>
          <a:srgbClr val="131416"/>
        </a:solidFill>
        <a:effectLst/>
      </p:bgPr>
    </p:bg>
    <p:spTree>
      <p:nvGrpSpPr>
        <p:cNvPr id="1" name=""/>
        <p:cNvGrpSpPr/>
        <p:nvPr/>
      </p:nvGrpSpPr>
      <p:grpSpPr>
        <a:xfrm>
          <a:off x="0" y="0"/>
          <a: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4742F3E-182A-4E42-99A7-A84D607325D2}" type="datetimeFigureOut">
              <a:rPr lang="zh-CN" altLang="en-US" smtClean="0"/>
              <a:t>2020/1/14</a:t>
            </a:fld>
            <a:endParaRPr lang="zh-CN" alt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21F91D6-B666-4B05-8BB0-A162590E5748}" type="slidenum">
              <a:rPr lang="zh-CN" altLang="en-US" smtClean="0"/>
              <a:t>‹#›</a:t>
            </a:fld>
            <a:endParaRPr lang="zh-CN" altLang="en-US"/>
          </a:p>
        </p:txBody>
      </p:sp>
      <p:sp>
        <p:nvSpPr>
          <p:cNvPr id="7" name="矩形 6">
            <a:extLst>
              <a:ext uri="{FF2B5EF4-FFF2-40B4-BE49-F238E27FC236}">
                <a16:creationId xmlns:a16="http://schemas.microsoft.com/office/drawing/2014/main" id="{40ED3331-60ED-49D6-868F-9BB2144FE6CC}"/>
              </a:ext>
            </a:extLst>
          </p:cNvPr>
          <p:cNvSpPr/>
          <p:nvPr userDrawn="1"/>
        </p:nvSpPr>
        <p:spPr>
          <a:xfrm>
            <a:off x="0" y="0"/>
            <a:ext cx="12192000" cy="6858000"/>
          </a:xfrm>
          <a:prstGeom prst="rect">
            <a:avLst/>
          </a:prstGeom>
          <a:gradFill flip="none" rotWithShape="1">
            <a:gsLst>
              <a:gs pos="0">
                <a:schemeClr val="accent4">
                  <a:lumMod val="0"/>
                  <a:lumOff val="100000"/>
                  <a:alpha val="82000"/>
                </a:schemeClr>
              </a:gs>
              <a:gs pos="21000">
                <a:schemeClr val="accent4">
                  <a:lumMod val="0"/>
                  <a:lumOff val="100000"/>
                  <a:alpha val="43000"/>
                </a:schemeClr>
              </a:gs>
              <a:gs pos="100000">
                <a:schemeClr val="tx1">
                  <a:alpha val="0"/>
                </a:schemeClr>
              </a:gs>
            </a:gsLst>
            <a:path path="circle">
              <a:fillToRect l="50000" t="-80000" r="50000" b="18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val="906702701"/>
      </p:ext>
    </p:extLst>
  </p:cSld>
  <p:clrMap bg1="lt1" tx1="dk1" bg2="lt2" tx2="dk2" accent1="accent1" accent2="accent2" accent3="accent3" accent4="accent4" accent5="accent5" accent6="accent6" hlink="hlink" folHlink="folHlink"/>
  <p:sldLayoutIdLst>
    <p:sldLayoutId id="2147483703" r:id="rId1"/>
    <p:sldLayoutId id="2147483708" r:id="rId2"/>
    <p:sldLayoutId id="2147483709" r:id="rId3"/>
    <p:sldLayoutId id="2147483710" r:id="rId4"/>
    <p:sldLayoutId id="2147483697" r:id="rId5"/>
    <p:sldLayoutId id="2147483714" r:id="rId6"/>
    <p:sldLayoutId id="2147483715" r:id="rId7"/>
    <p:sldLayoutId id="2147483716" r:id="rId8"/>
    <p:sldLayoutId id="2147483718" r:id="rId9"/>
    <p:sldLayoutId id="2147483719" r:id="rId10"/>
    <p:sldLayoutId id="2147483720" r:id="rId11"/>
    <p:sldLayoutId id="2147483722" r:id="rId12"/>
    <p:sldLayoutId id="2147483723" r:id="rId13"/>
    <p:sldLayoutId id="2147483724" r:id="rId14"/>
  </p:sldLayoutIdLst>
  <p:transition/>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bg>
      <p:bgRef idx="1001">
        <a:schemeClr val="bg1"/>
      </p:bgRef>
    </p:bg>
    <p:spTree>
      <p:nvGrpSpPr>
        <p:cNvPr id="1" name=""/>
        <p:cNvGrpSpPr/>
        <p:nvPr/>
      </p:nvGrpSpPr>
      <p:grpSpPr>
        <a:xfrm>
          <a:off x="0" y="0"/>
          <a: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smtClean="0"/>
              <a:t>单击此处编辑母版标题样式</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16E5758D-A3C3-4E88-8AC0-22500507BD7E}" type="datetimeFigureOut">
              <a:rPr lang="zh-CN" altLang="en-US" smtClean="0">
                <a:solidFill>
                  <a:prstClr val="black">
                    <a:tint val="75000"/>
                  </a:prstClr>
                </a:solidFill>
              </a:rPr>
              <a:pPr defTabSz="914400"/>
              <a:t>2020/1/14</a:t>
            </a:fld>
            <a:endParaRPr lang="zh-CN" alt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zh-CN" alt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AA4E786F-588D-4932-A7B2-AE3451FA4ACA}" type="slidenum">
              <a:rPr lang="zh-CN" altLang="en-US" smtClean="0">
                <a:solidFill>
                  <a:prstClr val="black">
                    <a:tint val="75000"/>
                  </a:prstClr>
                </a:solidFill>
              </a:rPr>
              <a:pPr defTabSz="914400"/>
              <a:t>‹#›</a:t>
            </a:fld>
            <a:endParaRPr lang="zh-CN" altLang="en-US">
              <a:solidFill>
                <a:prstClr val="black">
                  <a:tint val="75000"/>
                </a:prstClr>
              </a:solidFill>
            </a:endParaRPr>
          </a:p>
        </p:txBody>
      </p:sp>
    </p:spTree>
    <p:extLst>
      <p:ext uri="{BB962C8B-B14F-4D97-AF65-F5344CB8AC3E}">
        <p14:creationId val="3734308572"/>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Lst>
  <p:transition/>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xml" Type="http://schemas.openxmlformats.org/officeDocument/2006/relationships/notesSlide"/></Relationships>
</file>

<file path=ppt/slides/_rels/slide10.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0.xml" Type="http://schemas.openxmlformats.org/officeDocument/2006/relationships/notesSlide"/></Relationships>
</file>

<file path=ppt/slides/_rels/slide11.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11.xml" Type="http://schemas.openxmlformats.org/officeDocument/2006/relationships/notesSlide"/></Relationships>
</file>

<file path=ppt/slides/_rels/slide12.xml.rels><?xml version="1.0" encoding="UTF-8" standalone="yes"?><Relationships xmlns="http://schemas.openxmlformats.org/package/2006/relationships"><Relationship Id="rId1" Target="../slideLayouts/slideLayout8.xml" Type="http://schemas.openxmlformats.org/officeDocument/2006/relationships/slideLayout"/><Relationship Id="rId2" Target="../notesSlides/notesSlide12.xml" Type="http://schemas.openxmlformats.org/officeDocument/2006/relationships/notesSlide"/><Relationship Id="rId3" Target="../media/image6.png" Type="http://schemas.openxmlformats.org/officeDocument/2006/relationships/image"/><Relationship Id="rId4" Target="../media/image8.jpeg" Type="http://schemas.openxmlformats.org/officeDocument/2006/relationships/image"/></Relationships>
</file>

<file path=ppt/slides/_rels/slide13.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13.xml" Type="http://schemas.openxmlformats.org/officeDocument/2006/relationships/notesSlide"/></Relationships>
</file>

<file path=ppt/slides/_rels/slide14.xml.rels><?xml version="1.0" encoding="UTF-8" standalone="yes"?><Relationships xmlns="http://schemas.openxmlformats.org/package/2006/relationships"><Relationship Id="rId1" Target="../slideLayouts/slideLayout9.xml" Type="http://schemas.openxmlformats.org/officeDocument/2006/relationships/slideLayout"/><Relationship Id="rId2" Target="../notesSlides/notesSlide14.xml" Type="http://schemas.openxmlformats.org/officeDocument/2006/relationships/notesSlide"/><Relationship Id="rId3" Target="../media/image9.png" Type="http://schemas.openxmlformats.org/officeDocument/2006/relationships/image"/><Relationship Id="rId4" Target="../media/image10.jpeg" Type="http://schemas.openxmlformats.org/officeDocument/2006/relationships/image"/></Relationships>
</file>

<file path=ppt/slides/_rels/slide15.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5.xml" Type="http://schemas.openxmlformats.org/officeDocument/2006/relationships/notesSlide"/></Relationships>
</file>

<file path=ppt/slides/_rels/slide16.xml.rels><?xml version="1.0" encoding="UTF-8" standalone="yes"?><Relationships xmlns="http://schemas.openxmlformats.org/package/2006/relationships"><Relationship Id="rId1" Target="../slideLayouts/slideLayout10.xml" Type="http://schemas.openxmlformats.org/officeDocument/2006/relationships/slideLayout"/><Relationship Id="rId2" Target="../notesSlides/notesSlide16.xml" Type="http://schemas.openxmlformats.org/officeDocument/2006/relationships/notesSlide"/><Relationship Id="rId3" Target="../media/image11.png" Type="http://schemas.openxmlformats.org/officeDocument/2006/relationships/image"/><Relationship Id="rId4" Target="../media/image12.jpeg" Type="http://schemas.openxmlformats.org/officeDocument/2006/relationships/image"/></Relationships>
</file>

<file path=ppt/slides/_rels/slide17.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17.xml" Type="http://schemas.openxmlformats.org/officeDocument/2006/relationships/notesSlide"/></Relationships>
</file>

<file path=ppt/slides/_rels/slide18.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18.xml" Type="http://schemas.openxmlformats.org/officeDocument/2006/relationships/notesSlide"/></Relationships>
</file>

<file path=ppt/slides/_rels/slide19.xml.rels><?xml version="1.0" encoding="UTF-8" standalone="yes"?><Relationships xmlns="http://schemas.openxmlformats.org/package/2006/relationships"><Relationship Id="rId1" Target="../slideLayouts/slideLayout11.xml" Type="http://schemas.openxmlformats.org/officeDocument/2006/relationships/slideLayout"/><Relationship Id="rId2" Target="../notesSlides/notesSlide19.xml" Type="http://schemas.openxmlformats.org/officeDocument/2006/relationships/notesSlide"/><Relationship Id="rId3" Target="../media/image13.jpeg" Type="http://schemas.openxmlformats.org/officeDocument/2006/relationships/image"/></Relationships>
</file>

<file path=ppt/slides/_rels/slide2.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2.xml" Type="http://schemas.openxmlformats.org/officeDocument/2006/relationships/notesSlide"/><Relationship Id="rId3" Target="../tags/tag1.xml" Type="http://schemas.openxmlformats.org/officeDocument/2006/relationships/tags"/><Relationship Id="rId4" Target="../embeddings/oleObject1.bin" Type="http://schemas.openxmlformats.org/officeDocument/2006/relationships/oleObject"/><Relationship Id="rId5" Target="../media/image1.emf" Type="http://schemas.openxmlformats.org/officeDocument/2006/relationships/image"/><Relationship Id="rId6" Target="../tags/tag2.xml" Type="http://schemas.openxmlformats.org/officeDocument/2006/relationships/tags"/><Relationship Id="rId7" Target="../drawings/vmlDrawing1.vml" Type="http://schemas.openxmlformats.org/officeDocument/2006/relationships/vmlDrawing"/></Relationships>
</file>

<file path=ppt/slides/_rels/slide20.xml.rels><?xml version="1.0" encoding="UTF-8" standalone="yes"?><Relationships xmlns="http://schemas.openxmlformats.org/package/2006/relationships"><Relationship Id="rId1" Target="../slideLayouts/slideLayout12.xml" Type="http://schemas.openxmlformats.org/officeDocument/2006/relationships/slideLayout"/><Relationship Id="rId2" Target="../notesSlides/notesSlide20.xml" Type="http://schemas.openxmlformats.org/officeDocument/2006/relationships/notesSlide"/><Relationship Id="rId3" Target="../media/image14.jpeg" Type="http://schemas.openxmlformats.org/officeDocument/2006/relationships/image"/><Relationship Id="rId4" Target="../media/image15.jpeg" Type="http://schemas.openxmlformats.org/officeDocument/2006/relationships/image"/></Relationships>
</file>

<file path=ppt/slides/_rels/slide21.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21.xml" Type="http://schemas.openxmlformats.org/officeDocument/2006/relationships/notesSlide"/><Relationship Id="rId3" Target="../media/image16.jpeg" Type="http://schemas.openxmlformats.org/officeDocument/2006/relationships/image"/></Relationships>
</file>

<file path=ppt/slides/_rels/slide22.xml.rels><?xml version="1.0" encoding="UTF-8" standalone="yes"?><Relationships xmlns="http://schemas.openxmlformats.org/package/2006/relationships"><Relationship Id="rId1" Target="../slideLayouts/slideLayout14.xml" Type="http://schemas.openxmlformats.org/officeDocument/2006/relationships/slideLayout"/><Relationship Id="rId2" Target="../notesSlides/notesSlide22.xml" Type="http://schemas.openxmlformats.org/officeDocument/2006/relationships/notesSlide"/><Relationship Id="rId3" Target="../media/image17.jpeg" Type="http://schemas.openxmlformats.org/officeDocument/2006/relationships/image"/></Relationships>
</file>

<file path=ppt/slides/_rels/slide23.xml.rels><?xml version="1.0" encoding="UTF-8" standalone="yes"?><Relationships xmlns="http://schemas.openxmlformats.org/package/2006/relationships"><Relationship Id="rId1" Target="../slideLayouts/slideLayout6.xml" Type="http://schemas.openxmlformats.org/officeDocument/2006/relationships/slideLayout"/><Relationship Id="rId2" Target="../notesSlides/notesSlide23.xml" Type="http://schemas.openxmlformats.org/officeDocument/2006/relationships/notesSlide"/><Relationship Id="rId3" Target="../media/image18.jpeg" Type="http://schemas.openxmlformats.org/officeDocument/2006/relationships/image"/></Relationships>
</file>

<file path=ppt/slides/_rels/slide24.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24.xml" Type="http://schemas.openxmlformats.org/officeDocument/2006/relationships/notesSlide"/></Relationships>
</file>

<file path=ppt/slides/_rels/slide25.xml.rels><?xml version="1.0" encoding="UTF-8" standalone="yes"?><Relationships xmlns="http://schemas.openxmlformats.org/package/2006/relationships"><Relationship Id="rId1" Target="../slideLayouts/slideLayout21.xml" Type="http://schemas.openxmlformats.org/officeDocument/2006/relationships/slideLayout"/><Relationship Id="rId2" Target="../notesSlides/notesSlide25.xml" Type="http://schemas.openxmlformats.org/officeDocument/2006/relationships/notesSlide"/></Relationships>
</file>

<file path=ppt/slides/_rels/slide3.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3.xml" Type="http://schemas.openxmlformats.org/officeDocument/2006/relationships/notesSlide"/></Relationships>
</file>

<file path=ppt/slides/_rels/slide4.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4.xml" Type="http://schemas.openxmlformats.org/officeDocument/2006/relationships/notesSlide"/><Relationship Id="rId3" Target="../media/image2.jpeg" Type="http://schemas.openxmlformats.org/officeDocument/2006/relationships/image"/><Relationship Id="rId4" Target="../media/image3.jpeg" Type="http://schemas.openxmlformats.org/officeDocument/2006/relationships/image"/></Relationships>
</file>

<file path=ppt/slides/_rels/slide5.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5.xml" Type="http://schemas.openxmlformats.org/officeDocument/2006/relationships/notesSlide"/><Relationship Id="rId3" Target="../media/image4.jpeg" Type="http://schemas.openxmlformats.org/officeDocument/2006/relationships/image"/></Relationships>
</file>

<file path=ppt/slides/_rels/slide6.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6.xml" Type="http://schemas.openxmlformats.org/officeDocument/2006/relationships/notesSlide"/></Relationships>
</file>

<file path=ppt/slides/_rels/slide7.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7.xml" Type="http://schemas.openxmlformats.org/officeDocument/2006/relationships/notesSlide"/><Relationship Id="rId3" Target="../media/image4.jpeg" Type="http://schemas.openxmlformats.org/officeDocument/2006/relationships/image"/></Relationships>
</file>

<file path=ppt/slides/_rels/slide8.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8.xml" Type="http://schemas.openxmlformats.org/officeDocument/2006/relationships/notesSlide"/><Relationship Id="rId3" Target="../media/image5.jpeg" Type="http://schemas.openxmlformats.org/officeDocument/2006/relationships/image"/></Relationships>
</file>

<file path=ppt/slides/_rels/slide9.xml.rels><?xml version="1.0" encoding="UTF-8" standalone="yes"?><Relationships xmlns="http://schemas.openxmlformats.org/package/2006/relationships"><Relationship Id="rId1" Target="../slideLayouts/slideLayout7.xml" Type="http://schemas.openxmlformats.org/officeDocument/2006/relationships/slideLayout"/><Relationship Id="rId2" Target="../notesSlides/notesSlide9.xml" Type="http://schemas.openxmlformats.org/officeDocument/2006/relationships/notesSlide"/><Relationship Id="rId3" Target="../media/image6.png" Type="http://schemas.openxmlformats.org/officeDocument/2006/relationships/image"/><Relationship Id="rId4" Target="../media/image7.jpeg" Type="http://schemas.openxmlformats.org/officeDocument/2006/relationships/image"/></Relationships>
</file>

<file path=ppt/slides/slide1.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2" name="矩形 1">
            <a:extLst>
              <a:ext uri="{FF2B5EF4-FFF2-40B4-BE49-F238E27FC236}">
                <a16:creationId xmlns:a16="http://schemas.microsoft.com/office/drawing/2014/main" id="{3E4D0D45-6B5A-42FA-97A9-E8BDE1D3B4EE}"/>
              </a:ext>
            </a:extLst>
          </p:cNvPr>
          <p:cNvSpPr/>
          <p:nvPr/>
        </p:nvSpPr>
        <p:spPr>
          <a:xfrm>
            <a:off x="4050347" y="6187522"/>
            <a:ext cx="4091305" cy="335280"/>
          </a:xfrm>
          <a:prstGeom prst="rect">
            <a:avLst/>
          </a:prstGeom>
        </p:spPr>
        <p:txBody>
          <a:bodyPr wrap="none">
            <a:spAutoFit/>
          </a:bodyPr>
          <a:lstStyle/>
          <a:p>
            <a:pPr algn="ctr"/>
            <a:r>
              <a:rPr altLang="en-US" lang="zh-CN" sz="1600">
                <a:solidFill>
                  <a:schemeClr val="bg1">
                    <a:lumMod val="50000"/>
                  </a:schemeClr>
                </a:solidFill>
                <a:latin charset="-122" panose="020b0400000000000000" pitchFamily="34" typeface="思源黑体"/>
                <a:ea charset="-122" panose="020b0400000000000000" pitchFamily="34" typeface="思源黑体"/>
                <a:sym charset="-122" panose="020b0400000000000000" pitchFamily="34" typeface="思源黑体"/>
              </a:rPr>
              <a:t>汇报时间：xxxx年xxx月   汇报人：优页PPT</a:t>
            </a:r>
          </a:p>
        </p:txBody>
      </p:sp>
      <p:sp>
        <p:nvSpPr>
          <p:cNvPr id="4" name="文本框 3">
            <a:extLst>
              <a:ext uri="{FF2B5EF4-FFF2-40B4-BE49-F238E27FC236}">
                <a16:creationId xmlns:a16="http://schemas.microsoft.com/office/drawing/2014/main" id="{72A45BA4-1384-4E0E-A55C-1C4337BEEB67}"/>
              </a:ext>
            </a:extLst>
          </p:cNvPr>
          <p:cNvSpPr txBox="1"/>
          <p:nvPr/>
        </p:nvSpPr>
        <p:spPr>
          <a:xfrm>
            <a:off x="2192499" y="1645230"/>
            <a:ext cx="2564130" cy="1310640"/>
          </a:xfrm>
          <a:prstGeom prst="rect">
            <a:avLst/>
          </a:prstGeom>
          <a:noFill/>
        </p:spPr>
        <p:txBody>
          <a:bodyPr rtlCol="0" wrap="none">
            <a:spAutoFit/>
          </a:bodyPr>
          <a:lstStyle/>
          <a:p>
            <a:r>
              <a:rPr altLang="zh-CN" lang="en-US" smtClean="0" sz="8000">
                <a:gradFill>
                  <a:gsLst>
                    <a:gs pos="36000">
                      <a:schemeClr val="bg1"/>
                    </a:gs>
                    <a:gs pos="100000">
                      <a:schemeClr val="tx1">
                        <a:lumMod val="50000"/>
                        <a:lumOff val="50000"/>
                      </a:schemeClr>
                    </a:gs>
                  </a:gsLst>
                  <a:lin ang="5400000" scaled="1"/>
                </a:gradFill>
                <a:latin charset="-122" panose="020b0300000000000000" pitchFamily="34" typeface="思源黑体 CN Light"/>
                <a:ea charset="-122" panose="020b0300000000000000" pitchFamily="34" typeface="思源黑体 CN Light"/>
              </a:rPr>
              <a:t>2020</a:t>
            </a:r>
          </a:p>
        </p:txBody>
      </p:sp>
      <p:cxnSp>
        <p:nvCxnSpPr>
          <p:cNvPr id="7" name="直接连接符 6">
            <a:extLst>
              <a:ext uri="{FF2B5EF4-FFF2-40B4-BE49-F238E27FC236}">
                <a16:creationId xmlns:a16="http://schemas.microsoft.com/office/drawing/2014/main" id="{8955F31B-5646-435B-BDAE-D687D9D5496E}"/>
              </a:ext>
            </a:extLst>
          </p:cNvPr>
          <p:cNvCxnSpPr/>
          <p:nvPr/>
        </p:nvCxnSpPr>
        <p:spPr>
          <a:xfrm flipH="1">
            <a:off x="1676400" y="1714500"/>
            <a:ext cx="0" cy="3181350"/>
          </a:xfrm>
          <a:prstGeom prst="line">
            <a:avLst/>
          </a:prstGeom>
          <a:ln>
            <a:gradFill>
              <a:gsLst>
                <a:gs pos="885">
                  <a:schemeClr val="tx1"/>
                </a:gs>
                <a:gs pos="59000">
                  <a:schemeClr val="accent1">
                    <a:lumMod val="5000"/>
                    <a:lumOff val="95000"/>
                  </a:schemeClr>
                </a:gs>
                <a:gs pos="100000">
                  <a:schemeClr val="tx1"/>
                </a:gs>
              </a:gsLst>
              <a:lin ang="5400000" scaled="1"/>
            </a:gradFill>
          </a:ln>
        </p:spPr>
        <p:style>
          <a:lnRef idx="1">
            <a:schemeClr val="accent1"/>
          </a:lnRef>
          <a:fillRef idx="0">
            <a:schemeClr val="accent1"/>
          </a:fillRef>
          <a:effectRef idx="0">
            <a:schemeClr val="accent1"/>
          </a:effectRef>
          <a:fontRef idx="minor">
            <a:schemeClr val="tx1"/>
          </a:fontRef>
        </p:style>
      </p:cxnSp>
      <p:sp>
        <p:nvSpPr>
          <p:cNvPr id="26" name="矩形 25">
            <a:extLst>
              <a:ext uri="{FF2B5EF4-FFF2-40B4-BE49-F238E27FC236}">
                <a16:creationId xmlns:a16="http://schemas.microsoft.com/office/drawing/2014/main" id="{C280186A-335B-472C-B2CB-D182910B234F}"/>
              </a:ext>
            </a:extLst>
          </p:cNvPr>
          <p:cNvSpPr/>
          <p:nvPr/>
        </p:nvSpPr>
        <p:spPr>
          <a:xfrm>
            <a:off x="2192500" y="2939345"/>
            <a:ext cx="5742132" cy="914400"/>
          </a:xfrm>
          <a:prstGeom prst="rect">
            <a:avLst/>
          </a:prstGeom>
          <a:noFill/>
        </p:spPr>
        <p:txBody>
          <a:bodyPr wrap="square">
            <a:spAutoFit/>
          </a:bodyPr>
          <a:lstStyle/>
          <a:p>
            <a:pPr defTabSz="914400">
              <a:spcBef>
                <a:spcPct val="0"/>
              </a:spcBef>
            </a:pPr>
            <a:r>
              <a:rPr altLang="en-US" lang="zh-CN" spc="-150" sz="5400">
                <a:solidFill>
                  <a:schemeClr val="bg1"/>
                </a:solidFill>
                <a:latin charset="-122" panose="020b0a00000000000000" pitchFamily="34" typeface="思源黑体 CN Heavy"/>
                <a:ea charset="-122" panose="020b0a00000000000000" pitchFamily="34" typeface="思源黑体 CN Heavy"/>
                <a:cs typeface="+mj-cs"/>
              </a:rPr>
              <a:t>BUSINESS PLAN</a:t>
            </a:r>
          </a:p>
        </p:txBody>
      </p:sp>
      <p:sp>
        <p:nvSpPr>
          <p:cNvPr id="28" name="矩形 27">
            <a:extLst>
              <a:ext uri="{FF2B5EF4-FFF2-40B4-BE49-F238E27FC236}">
                <a16:creationId xmlns:a16="http://schemas.microsoft.com/office/drawing/2014/main" id="{45FE2616-DAE9-4BF0-B28E-278B57C75952}"/>
              </a:ext>
            </a:extLst>
          </p:cNvPr>
          <p:cNvSpPr/>
          <p:nvPr/>
        </p:nvSpPr>
        <p:spPr>
          <a:xfrm>
            <a:off x="2192500" y="3693485"/>
            <a:ext cx="5742132" cy="365760"/>
          </a:xfrm>
          <a:prstGeom prst="rect">
            <a:avLst/>
          </a:prstGeom>
          <a:noFill/>
        </p:spPr>
        <p:txBody>
          <a:bodyPr wrap="square">
            <a:spAutoFit/>
          </a:bodyPr>
          <a:lstStyle/>
          <a:p>
            <a:pPr defTabSz="914400">
              <a:spcBef>
                <a:spcPct val="0"/>
              </a:spcBef>
            </a:pPr>
            <a:r>
              <a:rPr altLang="en-US" lang="zh-CN">
                <a:solidFill>
                  <a:schemeClr val="bg1">
                    <a:lumMod val="50000"/>
                  </a:schemeClr>
                </a:solidFill>
              </a:rPr>
              <a:t>极简风产品发布会PPT模板</a:t>
            </a:r>
          </a:p>
        </p:txBody>
      </p:sp>
      <p:cxnSp>
        <p:nvCxnSpPr>
          <p:cNvPr id="25" name="直接连接符 24">
            <a:extLst>
              <a:ext uri="{FF2B5EF4-FFF2-40B4-BE49-F238E27FC236}">
                <a16:creationId xmlns:a16="http://schemas.microsoft.com/office/drawing/2014/main" id="{E485F206-66CE-4BE3-93BC-47067A12B7CE}"/>
              </a:ext>
            </a:extLst>
          </p:cNvPr>
          <p:cNvCxnSpPr/>
          <p:nvPr/>
        </p:nvCxnSpPr>
        <p:spPr>
          <a:xfrm flipH="1">
            <a:off x="9372952" y="2303261"/>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9" name="直接连接符 28">
            <a:extLst>
              <a:ext uri="{FF2B5EF4-FFF2-40B4-BE49-F238E27FC236}">
                <a16:creationId xmlns:a16="http://schemas.microsoft.com/office/drawing/2014/main" id="{F99ECC3F-242B-43EC-9146-7DBA230C4517}"/>
              </a:ext>
            </a:extLst>
          </p:cNvPr>
          <p:cNvCxnSpPr/>
          <p:nvPr/>
        </p:nvCxnSpPr>
        <p:spPr>
          <a:xfrm flipH="1">
            <a:off x="9859367" y="1015703"/>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0" name="直接连接符 29">
            <a:extLst>
              <a:ext uri="{FF2B5EF4-FFF2-40B4-BE49-F238E27FC236}">
                <a16:creationId xmlns:a16="http://schemas.microsoft.com/office/drawing/2014/main" id="{BE518352-B633-4D4E-AF88-7C676144864F}"/>
              </a:ext>
            </a:extLst>
          </p:cNvPr>
          <p:cNvCxnSpPr/>
          <p:nvPr/>
        </p:nvCxnSpPr>
        <p:spPr>
          <a:xfrm flipH="1">
            <a:off x="8571974" y="1871208"/>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1" name="直接连接符 30">
            <a:extLst>
              <a:ext uri="{FF2B5EF4-FFF2-40B4-BE49-F238E27FC236}">
                <a16:creationId xmlns:a16="http://schemas.microsoft.com/office/drawing/2014/main" id="{0E82BAD5-EE9F-4689-AD90-A9790967ED84}"/>
              </a:ext>
            </a:extLst>
          </p:cNvPr>
          <p:cNvCxnSpPr/>
          <p:nvPr/>
        </p:nvCxnSpPr>
        <p:spPr>
          <a:xfrm flipH="1">
            <a:off x="9482350" y="3693485"/>
            <a:ext cx="2066499" cy="3212500"/>
          </a:xfrm>
          <a:prstGeom prst="line">
            <a:avLst/>
          </a:prstGeom>
          <a:ln>
            <a:gradFill>
              <a:gsLst>
                <a:gs pos="885">
                  <a:schemeClr val="tx1"/>
                </a:gs>
                <a:gs pos="59000">
                  <a:schemeClr val="accent1">
                    <a:lumMod val="5000"/>
                    <a:lumOff val="95000"/>
                    <a:alpha val="10000"/>
                  </a:schemeClr>
                </a:gs>
                <a:gs pos="100000">
                  <a:schemeClr val="tx1"/>
                </a:gs>
              </a:gsLst>
              <a:lin ang="5400000" scaled="1"/>
            </a:gradFill>
          </a:ln>
        </p:spPr>
        <p:style>
          <a:lnRef idx="1">
            <a:schemeClr val="accent1"/>
          </a:lnRef>
          <a:fillRef idx="0">
            <a:schemeClr val="accent1"/>
          </a:fillRef>
          <a:effectRef idx="0">
            <a:schemeClr val="accent1"/>
          </a:effectRef>
          <a:fontRef idx="minor">
            <a:schemeClr val="tx1"/>
          </a:fontRef>
        </p:style>
      </p:cxnSp>
      <p:sp>
        <p:nvSpPr>
          <p:cNvPr id="34" name="任意多边形: 形状 33">
            <a:extLst>
              <a:ext uri="{FF2B5EF4-FFF2-40B4-BE49-F238E27FC236}">
                <a16:creationId xmlns:a16="http://schemas.microsoft.com/office/drawing/2014/main" id="{39DEA23C-46C8-46AF-A6A1-F79A8FA5BD63}"/>
              </a:ext>
            </a:extLst>
          </p:cNvPr>
          <p:cNvSpPr/>
          <p:nvPr/>
        </p:nvSpPr>
        <p:spPr>
          <a:xfrm rot="2008142">
            <a:off x="9426391" y="2544303"/>
            <a:ext cx="319543" cy="1071380"/>
          </a:xfrm>
          <a:custGeom>
            <a:gdLst>
              <a:gd fmla="*/ 278285 w 319543" name="connsiteX0"/>
              <a:gd fmla="*/ 0 h 1071380" name="connsiteY0"/>
              <a:gd fmla="*/ 319543 w 319543" name="connsiteX1"/>
              <a:gd fmla="*/ 0 h 1071380" name="connsiteY1"/>
              <a:gd fmla="*/ 319543 w 319543" name="connsiteX2"/>
              <a:gd fmla="*/ 601405 h 1071380" name="connsiteY2"/>
              <a:gd fmla="*/ 0 w 319543" name="connsiteX3"/>
              <a:gd fmla="*/ 1071380 h 1071380" name="connsiteY3"/>
              <a:gd fmla="*/ 0 w 319543" name="connsiteX4"/>
              <a:gd fmla="*/ 409295 h 1071380"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1071380" w="319543">
                <a:moveTo>
                  <a:pt x="278285" y="0"/>
                </a:moveTo>
                <a:lnTo>
                  <a:pt x="319543" y="0"/>
                </a:lnTo>
                <a:lnTo>
                  <a:pt x="319543" y="601405"/>
                </a:lnTo>
                <a:lnTo>
                  <a:pt x="0" y="1071380"/>
                </a:lnTo>
                <a:lnTo>
                  <a:pt x="0" y="409295"/>
                </a:lnTo>
                <a:close/>
              </a:path>
            </a:pathLst>
          </a:custGeom>
          <a:solidFill>
            <a:schemeClr val="bg2">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35" name="任意多边形: 形状 34">
            <a:extLst>
              <a:ext uri="{FF2B5EF4-FFF2-40B4-BE49-F238E27FC236}">
                <a16:creationId xmlns:a16="http://schemas.microsoft.com/office/drawing/2014/main" id="{DE506AFE-B7F3-4365-8BB9-CDA745049247}"/>
              </a:ext>
            </a:extLst>
          </p:cNvPr>
          <p:cNvSpPr/>
          <p:nvPr/>
        </p:nvSpPr>
        <p:spPr>
          <a:xfrm rot="2008142">
            <a:off x="9652222" y="3288896"/>
            <a:ext cx="319543" cy="1071380"/>
          </a:xfrm>
          <a:custGeom>
            <a:gdLst>
              <a:gd fmla="*/ 278285 w 319543" name="connsiteX0"/>
              <a:gd fmla="*/ 0 h 1071380" name="connsiteY0"/>
              <a:gd fmla="*/ 319543 w 319543" name="connsiteX1"/>
              <a:gd fmla="*/ 0 h 1071380" name="connsiteY1"/>
              <a:gd fmla="*/ 319543 w 319543" name="connsiteX2"/>
              <a:gd fmla="*/ 601405 h 1071380" name="connsiteY2"/>
              <a:gd fmla="*/ 0 w 319543" name="connsiteX3"/>
              <a:gd fmla="*/ 1071380 h 1071380" name="connsiteY3"/>
              <a:gd fmla="*/ 0 w 319543" name="connsiteX4"/>
              <a:gd fmla="*/ 409295 h 1071380"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1071380" w="319543">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36" name="任意多边形: 形状 35">
            <a:extLst>
              <a:ext uri="{FF2B5EF4-FFF2-40B4-BE49-F238E27FC236}">
                <a16:creationId xmlns:a16="http://schemas.microsoft.com/office/drawing/2014/main" id="{9CA9AA61-F536-405F-903C-6898A753619D}"/>
              </a:ext>
            </a:extLst>
          </p:cNvPr>
          <p:cNvSpPr/>
          <p:nvPr/>
        </p:nvSpPr>
        <p:spPr>
          <a:xfrm rot="2008142">
            <a:off x="11028339" y="2250510"/>
            <a:ext cx="193348" cy="648266"/>
          </a:xfrm>
          <a:custGeom>
            <a:gdLst>
              <a:gd fmla="*/ 278285 w 319543" name="connsiteX0"/>
              <a:gd fmla="*/ 0 h 1071380" name="connsiteY0"/>
              <a:gd fmla="*/ 319543 w 319543" name="connsiteX1"/>
              <a:gd fmla="*/ 0 h 1071380" name="connsiteY1"/>
              <a:gd fmla="*/ 319543 w 319543" name="connsiteX2"/>
              <a:gd fmla="*/ 601405 h 1071380" name="connsiteY2"/>
              <a:gd fmla="*/ 0 w 319543" name="connsiteX3"/>
              <a:gd fmla="*/ 1071380 h 1071380" name="connsiteY3"/>
              <a:gd fmla="*/ 0 w 319543" name="connsiteX4"/>
              <a:gd fmla="*/ 409295 h 1071380"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1071380" w="319543">
                <a:moveTo>
                  <a:pt x="278285" y="0"/>
                </a:moveTo>
                <a:lnTo>
                  <a:pt x="319543" y="0"/>
                </a:lnTo>
                <a:lnTo>
                  <a:pt x="319543" y="601405"/>
                </a:lnTo>
                <a:lnTo>
                  <a:pt x="0" y="1071380"/>
                </a:lnTo>
                <a:lnTo>
                  <a:pt x="0" y="409295"/>
                </a:ln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37" name="Rectangle 8">
            <a:extLst>
              <a:ext uri="{FF2B5EF4-FFF2-40B4-BE49-F238E27FC236}">
                <a16:creationId xmlns:a16="http://schemas.microsoft.com/office/drawing/2014/main" id="{2D27D2CA-848C-4385-B463-8647A28FAF57}"/>
              </a:ext>
            </a:extLst>
          </p:cNvPr>
          <p:cNvSpPr/>
          <p:nvPr/>
        </p:nvSpPr>
        <p:spPr>
          <a:xfrm>
            <a:off x="2300073" y="4179572"/>
            <a:ext cx="2612572" cy="380921"/>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lang="id-ID">
              <a:latin charset="-122" panose="020b0300000000000000" pitchFamily="34" typeface="思源黑体 CN Light"/>
              <a:ea charset="-122" panose="020b0300000000000000" pitchFamily="34" typeface="思源黑体 CN Light"/>
            </a:endParaRPr>
          </a:p>
        </p:txBody>
      </p:sp>
      <p:sp>
        <p:nvSpPr>
          <p:cNvPr id="38" name="Subtitle 2">
            <a:extLst>
              <a:ext uri="{FF2B5EF4-FFF2-40B4-BE49-F238E27FC236}">
                <a16:creationId xmlns:a16="http://schemas.microsoft.com/office/drawing/2014/main" id="{574317A0-5194-4423-9CE1-1861686FE397}"/>
              </a:ext>
            </a:extLst>
          </p:cNvPr>
          <p:cNvSpPr txBox="1"/>
          <p:nvPr/>
        </p:nvSpPr>
        <p:spPr>
          <a:xfrm>
            <a:off x="2422885" y="4188683"/>
            <a:ext cx="2049427" cy="380920"/>
          </a:xfrm>
          <a:prstGeom prst="rect">
            <a:avLst/>
          </a:prstGeom>
        </p:spPr>
        <p:txBody>
          <a:bodyPr bIns="45720" lIns="91440" rIns="91440" rtlCol="0" tIns="45720" vert="horz">
            <a:noAutofit/>
          </a:bodyPr>
          <a:lstStyle>
            <a:lvl1pPr algn="ctr" defTabSz="914400" eaLnBrk="1" hangingPunct="1" indent="0" latinLnBrk="0" marL="0" rtl="0">
              <a:lnSpc>
                <a:spcPct val="90000"/>
              </a:lnSpc>
              <a:spcBef>
                <a:spcPts val="1000"/>
              </a:spcBef>
              <a:buFont charset="0" panose="020b0604020202020204" pitchFamily="34" typeface="Arial"/>
              <a:buNone/>
              <a:defRPr kern="1200" sz="2400">
                <a:solidFill>
                  <a:schemeClr val="tx1"/>
                </a:solidFill>
                <a:latin typeface="+mn-lt"/>
                <a:ea typeface="+mn-ea"/>
                <a:cs typeface="+mn-cs"/>
              </a:defRPr>
            </a:lvl1pPr>
            <a:lvl2pPr algn="ctr" defTabSz="914400" eaLnBrk="1" hangingPunct="1" indent="0" latinLnBrk="0" marL="457200" rtl="0">
              <a:lnSpc>
                <a:spcPct val="90000"/>
              </a:lnSpc>
              <a:spcBef>
                <a:spcPts val="500"/>
              </a:spcBef>
              <a:buFont charset="0" panose="020b0604020202020204" pitchFamily="34" typeface="Arial"/>
              <a:buNone/>
              <a:defRPr kern="1200" sz="2000">
                <a:solidFill>
                  <a:schemeClr val="tx1"/>
                </a:solidFill>
                <a:latin typeface="+mn-lt"/>
                <a:ea typeface="+mn-ea"/>
                <a:cs typeface="+mn-cs"/>
              </a:defRPr>
            </a:lvl2pPr>
            <a:lvl3pPr algn="ctr" defTabSz="914400" eaLnBrk="1" hangingPunct="1" indent="0" latinLnBrk="0" marL="914400" rtl="0">
              <a:lnSpc>
                <a:spcPct val="90000"/>
              </a:lnSpc>
              <a:spcBef>
                <a:spcPts val="500"/>
              </a:spcBef>
              <a:buFont charset="0" panose="020b0604020202020204" pitchFamily="34" typeface="Arial"/>
              <a:buNone/>
              <a:defRPr kern="1200" sz="1800">
                <a:solidFill>
                  <a:schemeClr val="tx1"/>
                </a:solidFill>
                <a:latin typeface="+mn-lt"/>
                <a:ea typeface="+mn-ea"/>
                <a:cs typeface="+mn-cs"/>
              </a:defRPr>
            </a:lvl3pPr>
            <a:lvl4pPr algn="ctr" defTabSz="914400" eaLnBrk="1" hangingPunct="1" indent="0" latinLnBrk="0" marL="1371600" rtl="0">
              <a:lnSpc>
                <a:spcPct val="90000"/>
              </a:lnSpc>
              <a:spcBef>
                <a:spcPts val="500"/>
              </a:spcBef>
              <a:buFont charset="0" panose="020b0604020202020204" pitchFamily="34" typeface="Arial"/>
              <a:buNone/>
              <a:defRPr kern="1200" sz="1600">
                <a:solidFill>
                  <a:schemeClr val="tx1"/>
                </a:solidFill>
                <a:latin typeface="+mn-lt"/>
                <a:ea typeface="+mn-ea"/>
                <a:cs typeface="+mn-cs"/>
              </a:defRPr>
            </a:lvl4pPr>
            <a:lvl5pPr algn="ctr" defTabSz="914400" eaLnBrk="1" hangingPunct="1" indent="0" latinLnBrk="0" marL="1828800" rtl="0">
              <a:lnSpc>
                <a:spcPct val="90000"/>
              </a:lnSpc>
              <a:spcBef>
                <a:spcPts val="500"/>
              </a:spcBef>
              <a:buFont charset="0" panose="020b0604020202020204" pitchFamily="34" typeface="Arial"/>
              <a:buNone/>
              <a:defRPr kern="1200" sz="1600">
                <a:solidFill>
                  <a:schemeClr val="tx1"/>
                </a:solidFill>
                <a:latin typeface="+mn-lt"/>
                <a:ea typeface="+mn-ea"/>
                <a:cs typeface="+mn-cs"/>
              </a:defRPr>
            </a:lvl5pPr>
            <a:lvl6pPr algn="ctr" defTabSz="914400" eaLnBrk="1" hangingPunct="1" indent="0" latinLnBrk="0" marL="2286000" rtl="0">
              <a:lnSpc>
                <a:spcPct val="90000"/>
              </a:lnSpc>
              <a:spcBef>
                <a:spcPts val="500"/>
              </a:spcBef>
              <a:buFont charset="0" panose="020b0604020202020204" pitchFamily="34" typeface="Arial"/>
              <a:buNone/>
              <a:defRPr kern="1200" sz="1600">
                <a:solidFill>
                  <a:schemeClr val="tx1"/>
                </a:solidFill>
                <a:latin typeface="+mn-lt"/>
                <a:ea typeface="+mn-ea"/>
                <a:cs typeface="+mn-cs"/>
              </a:defRPr>
            </a:lvl6pPr>
            <a:lvl7pPr algn="ctr" defTabSz="914400" eaLnBrk="1" hangingPunct="1" indent="0" latinLnBrk="0" marL="2743200" rtl="0">
              <a:lnSpc>
                <a:spcPct val="90000"/>
              </a:lnSpc>
              <a:spcBef>
                <a:spcPts val="500"/>
              </a:spcBef>
              <a:buFont charset="0" panose="020b0604020202020204" pitchFamily="34" typeface="Arial"/>
              <a:buNone/>
              <a:defRPr kern="1200" sz="1600">
                <a:solidFill>
                  <a:schemeClr val="tx1"/>
                </a:solidFill>
                <a:latin typeface="+mn-lt"/>
                <a:ea typeface="+mn-ea"/>
                <a:cs typeface="+mn-cs"/>
              </a:defRPr>
            </a:lvl7pPr>
            <a:lvl8pPr algn="ctr" defTabSz="914400" eaLnBrk="1" hangingPunct="1" indent="0" latinLnBrk="0" marL="3200400" rtl="0">
              <a:lnSpc>
                <a:spcPct val="90000"/>
              </a:lnSpc>
              <a:spcBef>
                <a:spcPts val="500"/>
              </a:spcBef>
              <a:buFont charset="0" panose="020b0604020202020204" pitchFamily="34" typeface="Arial"/>
              <a:buNone/>
              <a:defRPr kern="1200" sz="1600">
                <a:solidFill>
                  <a:schemeClr val="tx1"/>
                </a:solidFill>
                <a:latin typeface="+mn-lt"/>
                <a:ea typeface="+mn-ea"/>
                <a:cs typeface="+mn-cs"/>
              </a:defRPr>
            </a:lvl8pPr>
            <a:lvl9pPr algn="ctr" defTabSz="914400" eaLnBrk="1" hangingPunct="1" indent="0" latinLnBrk="0" marL="3657600" rtl="0">
              <a:lnSpc>
                <a:spcPct val="90000"/>
              </a:lnSpc>
              <a:spcBef>
                <a:spcPts val="500"/>
              </a:spcBef>
              <a:buFont charset="0" panose="020b0604020202020204" pitchFamily="34" typeface="Arial"/>
              <a:buNone/>
              <a:defRPr kern="1200" sz="1600">
                <a:solidFill>
                  <a:schemeClr val="tx1"/>
                </a:solidFill>
                <a:latin typeface="+mn-lt"/>
                <a:ea typeface="+mn-ea"/>
                <a:cs typeface="+mn-cs"/>
              </a:defRPr>
            </a:lvl9pPr>
          </a:lstStyle>
          <a:p>
            <a:pPr algn="l">
              <a:lnSpc>
                <a:spcPct val="100000"/>
              </a:lnSpc>
            </a:pPr>
            <a:r>
              <a:rPr lang="id-ID" spc="300" sz="1800">
                <a:solidFill>
                  <a:schemeClr val="bg2"/>
                </a:solidFill>
                <a:latin charset="-122" panose="020b0300000000000000" pitchFamily="34" typeface="思源黑体 CN Light"/>
                <a:ea charset="-122" panose="020b0300000000000000" pitchFamily="34" typeface="思源黑体 CN Light"/>
                <a:cs charset="0" panose="020f0502020204030203" pitchFamily="34" typeface="Lato Heavy"/>
              </a:rPr>
              <a:t>LEARN MORE</a:t>
            </a:r>
          </a:p>
        </p:txBody>
      </p:sp>
      <p:cxnSp>
        <p:nvCxnSpPr>
          <p:cNvPr id="39" name="Straight Arrow Connector 12">
            <a:extLst>
              <a:ext uri="{FF2B5EF4-FFF2-40B4-BE49-F238E27FC236}">
                <a16:creationId xmlns:a16="http://schemas.microsoft.com/office/drawing/2014/main" id="{EE04F449-EB92-4C2F-A24E-9C2EA15F3D65}"/>
              </a:ext>
            </a:extLst>
          </p:cNvPr>
          <p:cNvCxnSpPr/>
          <p:nvPr/>
        </p:nvCxnSpPr>
        <p:spPr>
          <a:xfrm>
            <a:off x="4267885" y="4371502"/>
            <a:ext cx="502277" cy="0"/>
          </a:xfrm>
          <a:prstGeom prst="straightConnector1">
            <a:avLst/>
          </a:prstGeom>
          <a:ln w="63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363671341"/>
      </p:ext>
    </p:extLst>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afterEffect" presetClass="entr" presetID="2" presetSubtype="2">
                                  <p:stCondLst>
                                    <p:cond delay="0"/>
                                  </p:stCondLst>
                                  <p:childTnLst>
                                    <p:set>
                                      <p:cBhvr>
                                        <p:cTn dur="1" fill="hold" id="6">
                                          <p:stCondLst>
                                            <p:cond delay="0"/>
                                          </p:stCondLst>
                                        </p:cTn>
                                        <p:tgtEl>
                                          <p:spTgt spid="4"/>
                                        </p:tgtEl>
                                        <p:attrNameLst>
                                          <p:attrName>style.visibility</p:attrName>
                                        </p:attrNameLst>
                                      </p:cBhvr>
                                      <p:to>
                                        <p:strVal val="visible"/>
                                      </p:to>
                                    </p:set>
                                    <p:anim calcmode="lin" valueType="num">
                                      <p:cBhvr additive="base">
                                        <p:cTn dur="500" fill="hold" id="7"/>
                                        <p:tgtEl>
                                          <p:spTgt spid="4"/>
                                        </p:tgtEl>
                                        <p:attrNameLst>
                                          <p:attrName>ppt_x</p:attrName>
                                        </p:attrNameLst>
                                      </p:cBhvr>
                                      <p:tavLst>
                                        <p:tav tm="0">
                                          <p:val>
                                            <p:strVal val="1+#ppt_w/2"/>
                                          </p:val>
                                        </p:tav>
                                        <p:tav tm="100000">
                                          <p:val>
                                            <p:strVal val="#ppt_x"/>
                                          </p:val>
                                        </p:tav>
                                      </p:tavLst>
                                    </p:anim>
                                    <p:anim calcmode="lin" valueType="num">
                                      <p:cBhvr additive="base">
                                        <p:cTn dur="500" fill="hold" id="8"/>
                                        <p:tgtEl>
                                          <p:spTgt spid="4"/>
                                        </p:tgtEl>
                                        <p:attrNameLst>
                                          <p:attrName>ppt_y</p:attrName>
                                        </p:attrNameLst>
                                      </p:cBhvr>
                                      <p:tavLst>
                                        <p:tav tm="0">
                                          <p:val>
                                            <p:strVal val="#ppt_y"/>
                                          </p:val>
                                        </p:tav>
                                        <p:tav tm="100000">
                                          <p:val>
                                            <p:strVal val="#ppt_y"/>
                                          </p:val>
                                        </p:tav>
                                      </p:tavLst>
                                    </p:anim>
                                  </p:childTnLst>
                                </p:cTn>
                              </p:par>
                            </p:childTnLst>
                          </p:cTn>
                        </p:par>
                        <p:par>
                          <p:cTn fill="hold" id="9" nodeType="afterGroup">
                            <p:stCondLst>
                              <p:cond delay="500"/>
                            </p:stCondLst>
                            <p:childTnLst>
                              <p:par>
                                <p:cTn fill="hold" grpId="0" id="10" nodeType="afterEffect" presetClass="entr" presetID="2" presetSubtype="2">
                                  <p:stCondLst>
                                    <p:cond delay="0"/>
                                  </p:stCondLst>
                                  <p:childTnLst>
                                    <p:set>
                                      <p:cBhvr>
                                        <p:cTn dur="1" fill="hold" id="11">
                                          <p:stCondLst>
                                            <p:cond delay="0"/>
                                          </p:stCondLst>
                                        </p:cTn>
                                        <p:tgtEl>
                                          <p:spTgt spid="26"/>
                                        </p:tgtEl>
                                        <p:attrNameLst>
                                          <p:attrName>style.visibility</p:attrName>
                                        </p:attrNameLst>
                                      </p:cBhvr>
                                      <p:to>
                                        <p:strVal val="visible"/>
                                      </p:to>
                                    </p:set>
                                    <p:anim calcmode="lin" valueType="num">
                                      <p:cBhvr additive="base">
                                        <p:cTn dur="500" fill="hold" id="12"/>
                                        <p:tgtEl>
                                          <p:spTgt spid="26"/>
                                        </p:tgtEl>
                                        <p:attrNameLst>
                                          <p:attrName>ppt_x</p:attrName>
                                        </p:attrNameLst>
                                      </p:cBhvr>
                                      <p:tavLst>
                                        <p:tav tm="0">
                                          <p:val>
                                            <p:strVal val="1+#ppt_w/2"/>
                                          </p:val>
                                        </p:tav>
                                        <p:tav tm="100000">
                                          <p:val>
                                            <p:strVal val="#ppt_x"/>
                                          </p:val>
                                        </p:tav>
                                      </p:tavLst>
                                    </p:anim>
                                    <p:anim calcmode="lin" valueType="num">
                                      <p:cBhvr additive="base">
                                        <p:cTn dur="500" fill="hold" id="13"/>
                                        <p:tgtEl>
                                          <p:spTgt spid="26"/>
                                        </p:tgtEl>
                                        <p:attrNameLst>
                                          <p:attrName>ppt_y</p:attrName>
                                        </p:attrNameLst>
                                      </p:cBhvr>
                                      <p:tavLst>
                                        <p:tav tm="0">
                                          <p:val>
                                            <p:strVal val="#ppt_y"/>
                                          </p:val>
                                        </p:tav>
                                        <p:tav tm="100000">
                                          <p:val>
                                            <p:strVal val="#ppt_y"/>
                                          </p:val>
                                        </p:tav>
                                      </p:tavLst>
                                    </p:anim>
                                  </p:childTnLst>
                                </p:cTn>
                              </p:par>
                            </p:childTnLst>
                          </p:cTn>
                        </p:par>
                        <p:par>
                          <p:cTn fill="hold" id="14" nodeType="afterGroup">
                            <p:stCondLst>
                              <p:cond delay="1000"/>
                            </p:stCondLst>
                            <p:childTnLst>
                              <p:par>
                                <p:cTn fill="hold" grpId="0" id="15" nodeType="afterEffect" presetClass="entr" presetID="2" presetSubtype="2">
                                  <p:stCondLst>
                                    <p:cond delay="0"/>
                                  </p:stCondLst>
                                  <p:childTnLst>
                                    <p:set>
                                      <p:cBhvr>
                                        <p:cTn dur="1" fill="hold" id="16">
                                          <p:stCondLst>
                                            <p:cond delay="0"/>
                                          </p:stCondLst>
                                        </p:cTn>
                                        <p:tgtEl>
                                          <p:spTgt spid="28"/>
                                        </p:tgtEl>
                                        <p:attrNameLst>
                                          <p:attrName>style.visibility</p:attrName>
                                        </p:attrNameLst>
                                      </p:cBhvr>
                                      <p:to>
                                        <p:strVal val="visible"/>
                                      </p:to>
                                    </p:set>
                                    <p:anim calcmode="lin" valueType="num">
                                      <p:cBhvr additive="base">
                                        <p:cTn dur="500" fill="hold" id="17"/>
                                        <p:tgtEl>
                                          <p:spTgt spid="28"/>
                                        </p:tgtEl>
                                        <p:attrNameLst>
                                          <p:attrName>ppt_x</p:attrName>
                                        </p:attrNameLst>
                                      </p:cBhvr>
                                      <p:tavLst>
                                        <p:tav tm="0">
                                          <p:val>
                                            <p:strVal val="1+#ppt_w/2"/>
                                          </p:val>
                                        </p:tav>
                                        <p:tav tm="100000">
                                          <p:val>
                                            <p:strVal val="#ppt_x"/>
                                          </p:val>
                                        </p:tav>
                                      </p:tavLst>
                                    </p:anim>
                                    <p:anim calcmode="lin" valueType="num">
                                      <p:cBhvr additive="base">
                                        <p:cTn dur="500" fill="hold" id="18"/>
                                        <p:tgtEl>
                                          <p:spTgt spid="28"/>
                                        </p:tgtEl>
                                        <p:attrNameLst>
                                          <p:attrName>ppt_y</p:attrName>
                                        </p:attrNameLst>
                                      </p:cBhvr>
                                      <p:tavLst>
                                        <p:tav tm="0">
                                          <p:val>
                                            <p:strVal val="#ppt_y"/>
                                          </p:val>
                                        </p:tav>
                                        <p:tav tm="100000">
                                          <p:val>
                                            <p:strVal val="#ppt_y"/>
                                          </p:val>
                                        </p:tav>
                                      </p:tavLst>
                                    </p:anim>
                                  </p:childTnLst>
                                </p:cTn>
                              </p:par>
                            </p:childTnLst>
                          </p:cTn>
                        </p:par>
                        <p:par>
                          <p:cTn fill="hold" id="19" nodeType="afterGroup">
                            <p:stCondLst>
                              <p:cond delay="1500"/>
                            </p:stCondLst>
                            <p:childTnLst>
                              <p:par>
                                <p:cTn fill="hold" grpId="0" id="20" nodeType="afterEffect" presetClass="entr" presetID="2" presetSubtype="2">
                                  <p:stCondLst>
                                    <p:cond delay="0"/>
                                  </p:stCondLst>
                                  <p:childTnLst>
                                    <p:set>
                                      <p:cBhvr>
                                        <p:cTn dur="1" fill="hold" id="21">
                                          <p:stCondLst>
                                            <p:cond delay="0"/>
                                          </p:stCondLst>
                                        </p:cTn>
                                        <p:tgtEl>
                                          <p:spTgt spid="37"/>
                                        </p:tgtEl>
                                        <p:attrNameLst>
                                          <p:attrName>style.visibility</p:attrName>
                                        </p:attrNameLst>
                                      </p:cBhvr>
                                      <p:to>
                                        <p:strVal val="visible"/>
                                      </p:to>
                                    </p:set>
                                    <p:anim calcmode="lin" valueType="num">
                                      <p:cBhvr additive="base">
                                        <p:cTn dur="500" fill="hold" id="22"/>
                                        <p:tgtEl>
                                          <p:spTgt spid="37"/>
                                        </p:tgtEl>
                                        <p:attrNameLst>
                                          <p:attrName>ppt_x</p:attrName>
                                        </p:attrNameLst>
                                      </p:cBhvr>
                                      <p:tavLst>
                                        <p:tav tm="0">
                                          <p:val>
                                            <p:strVal val="1+#ppt_w/2"/>
                                          </p:val>
                                        </p:tav>
                                        <p:tav tm="100000">
                                          <p:val>
                                            <p:strVal val="#ppt_x"/>
                                          </p:val>
                                        </p:tav>
                                      </p:tavLst>
                                    </p:anim>
                                    <p:anim calcmode="lin" valueType="num">
                                      <p:cBhvr additive="base">
                                        <p:cTn dur="500" fill="hold" id="23"/>
                                        <p:tgtEl>
                                          <p:spTgt spid="37"/>
                                        </p:tgtEl>
                                        <p:attrNameLst>
                                          <p:attrName>ppt_y</p:attrName>
                                        </p:attrNameLst>
                                      </p:cBhvr>
                                      <p:tavLst>
                                        <p:tav tm="0">
                                          <p:val>
                                            <p:strVal val="#ppt_y"/>
                                          </p:val>
                                        </p:tav>
                                        <p:tav tm="100000">
                                          <p:val>
                                            <p:strVal val="#ppt_y"/>
                                          </p:val>
                                        </p:tav>
                                      </p:tavLst>
                                    </p:anim>
                                  </p:childTnLst>
                                </p:cTn>
                              </p:par>
                            </p:childTnLst>
                          </p:cTn>
                        </p:par>
                        <p:par>
                          <p:cTn fill="hold" id="24" nodeType="afterGroup">
                            <p:stCondLst>
                              <p:cond delay="2000"/>
                            </p:stCondLst>
                            <p:childTnLst>
                              <p:par>
                                <p:cTn fill="hold" grpId="0" id="25" nodeType="afterEffect" presetClass="entr" presetID="2" presetSubtype="2">
                                  <p:stCondLst>
                                    <p:cond delay="0"/>
                                  </p:stCondLst>
                                  <p:childTnLst>
                                    <p:set>
                                      <p:cBhvr>
                                        <p:cTn dur="1" fill="hold" id="26">
                                          <p:stCondLst>
                                            <p:cond delay="0"/>
                                          </p:stCondLst>
                                        </p:cTn>
                                        <p:tgtEl>
                                          <p:spTgt spid="38"/>
                                        </p:tgtEl>
                                        <p:attrNameLst>
                                          <p:attrName>style.visibility</p:attrName>
                                        </p:attrNameLst>
                                      </p:cBhvr>
                                      <p:to>
                                        <p:strVal val="visible"/>
                                      </p:to>
                                    </p:set>
                                    <p:anim calcmode="lin" valueType="num">
                                      <p:cBhvr additive="base">
                                        <p:cTn dur="500" fill="hold" id="27"/>
                                        <p:tgtEl>
                                          <p:spTgt spid="38"/>
                                        </p:tgtEl>
                                        <p:attrNameLst>
                                          <p:attrName>ppt_x</p:attrName>
                                        </p:attrNameLst>
                                      </p:cBhvr>
                                      <p:tavLst>
                                        <p:tav tm="0">
                                          <p:val>
                                            <p:strVal val="1+#ppt_w/2"/>
                                          </p:val>
                                        </p:tav>
                                        <p:tav tm="100000">
                                          <p:val>
                                            <p:strVal val="#ppt_x"/>
                                          </p:val>
                                        </p:tav>
                                      </p:tavLst>
                                    </p:anim>
                                    <p:anim calcmode="lin" valueType="num">
                                      <p:cBhvr additive="base">
                                        <p:cTn dur="500" fill="hold" id="28"/>
                                        <p:tgtEl>
                                          <p:spTgt spid="38"/>
                                        </p:tgtEl>
                                        <p:attrNameLst>
                                          <p:attrName>ppt_y</p:attrName>
                                        </p:attrNameLst>
                                      </p:cBhvr>
                                      <p:tavLst>
                                        <p:tav tm="0">
                                          <p:val>
                                            <p:strVal val="#ppt_y"/>
                                          </p:val>
                                        </p:tav>
                                        <p:tav tm="100000">
                                          <p:val>
                                            <p:strVal val="#ppt_y"/>
                                          </p:val>
                                        </p:tav>
                                      </p:tavLst>
                                    </p:anim>
                                  </p:childTnLst>
                                </p:cTn>
                              </p:par>
                            </p:childTnLst>
                          </p:cTn>
                        </p:par>
                        <p:par>
                          <p:cTn fill="hold" id="29" nodeType="afterGroup">
                            <p:stCondLst>
                              <p:cond delay="2500"/>
                            </p:stCondLst>
                            <p:childTnLst>
                              <p:par>
                                <p:cTn fill="hold" id="30" nodeType="afterEffect" presetClass="entr" presetID="2" presetSubtype="2">
                                  <p:stCondLst>
                                    <p:cond delay="0"/>
                                  </p:stCondLst>
                                  <p:childTnLst>
                                    <p:set>
                                      <p:cBhvr>
                                        <p:cTn dur="1" fill="hold" id="31">
                                          <p:stCondLst>
                                            <p:cond delay="0"/>
                                          </p:stCondLst>
                                        </p:cTn>
                                        <p:tgtEl>
                                          <p:spTgt spid="39"/>
                                        </p:tgtEl>
                                        <p:attrNameLst>
                                          <p:attrName>style.visibility</p:attrName>
                                        </p:attrNameLst>
                                      </p:cBhvr>
                                      <p:to>
                                        <p:strVal val="visible"/>
                                      </p:to>
                                    </p:set>
                                    <p:anim calcmode="lin" valueType="num">
                                      <p:cBhvr additive="base">
                                        <p:cTn dur="500" fill="hold" id="32"/>
                                        <p:tgtEl>
                                          <p:spTgt spid="39"/>
                                        </p:tgtEl>
                                        <p:attrNameLst>
                                          <p:attrName>ppt_x</p:attrName>
                                        </p:attrNameLst>
                                      </p:cBhvr>
                                      <p:tavLst>
                                        <p:tav tm="0">
                                          <p:val>
                                            <p:strVal val="1+#ppt_w/2"/>
                                          </p:val>
                                        </p:tav>
                                        <p:tav tm="100000">
                                          <p:val>
                                            <p:strVal val="#ppt_x"/>
                                          </p:val>
                                        </p:tav>
                                      </p:tavLst>
                                    </p:anim>
                                    <p:anim calcmode="lin" valueType="num">
                                      <p:cBhvr additive="base">
                                        <p:cTn dur="500" fill="hold" id="33"/>
                                        <p:tgtEl>
                                          <p:spTgt spid="39"/>
                                        </p:tgtEl>
                                        <p:attrNameLst>
                                          <p:attrName>ppt_y</p:attrName>
                                        </p:attrNameLst>
                                      </p:cBhvr>
                                      <p:tavLst>
                                        <p:tav tm="0">
                                          <p:val>
                                            <p:strVal val="#ppt_y"/>
                                          </p:val>
                                        </p:tav>
                                        <p:tav tm="100000">
                                          <p:val>
                                            <p:strVal val="#ppt_y"/>
                                          </p:val>
                                        </p:tav>
                                      </p:tavLst>
                                    </p:anim>
                                  </p:childTnLst>
                                </p:cTn>
                              </p:par>
                            </p:childTnLst>
                          </p:cTn>
                        </p:par>
                        <p:par>
                          <p:cTn fill="hold" id="34" nodeType="afterGroup">
                            <p:stCondLst>
                              <p:cond delay="3000"/>
                            </p:stCondLst>
                            <p:childTnLst>
                              <p:par>
                                <p:cTn fill="hold" id="35" nodeType="afterEffect" presetClass="entr" presetID="22" presetSubtype="8">
                                  <p:stCondLst>
                                    <p:cond delay="0"/>
                                  </p:stCondLst>
                                  <p:childTnLst>
                                    <p:set>
                                      <p:cBhvr>
                                        <p:cTn dur="1" fill="hold" id="36">
                                          <p:stCondLst>
                                            <p:cond delay="0"/>
                                          </p:stCondLst>
                                        </p:cTn>
                                        <p:tgtEl>
                                          <p:spTgt spid="25"/>
                                        </p:tgtEl>
                                        <p:attrNameLst>
                                          <p:attrName>style.visibility</p:attrName>
                                        </p:attrNameLst>
                                      </p:cBhvr>
                                      <p:to>
                                        <p:strVal val="visible"/>
                                      </p:to>
                                    </p:set>
                                    <p:animEffect filter="wipe(left)" transition="in">
                                      <p:cBhvr>
                                        <p:cTn dur="500" id="37"/>
                                        <p:tgtEl>
                                          <p:spTgt spid="25"/>
                                        </p:tgtEl>
                                      </p:cBhvr>
                                    </p:animEffect>
                                  </p:childTnLst>
                                </p:cTn>
                              </p:par>
                            </p:childTnLst>
                          </p:cTn>
                        </p:par>
                        <p:par>
                          <p:cTn fill="hold" id="38" nodeType="afterGroup">
                            <p:stCondLst>
                              <p:cond delay="3500"/>
                            </p:stCondLst>
                            <p:childTnLst>
                              <p:par>
                                <p:cTn fill="hold" id="39" nodeType="afterEffect" presetClass="entr" presetID="22" presetSubtype="8">
                                  <p:stCondLst>
                                    <p:cond delay="0"/>
                                  </p:stCondLst>
                                  <p:childTnLst>
                                    <p:set>
                                      <p:cBhvr>
                                        <p:cTn dur="1" fill="hold" id="40">
                                          <p:stCondLst>
                                            <p:cond delay="0"/>
                                          </p:stCondLst>
                                        </p:cTn>
                                        <p:tgtEl>
                                          <p:spTgt spid="29"/>
                                        </p:tgtEl>
                                        <p:attrNameLst>
                                          <p:attrName>style.visibility</p:attrName>
                                        </p:attrNameLst>
                                      </p:cBhvr>
                                      <p:to>
                                        <p:strVal val="visible"/>
                                      </p:to>
                                    </p:set>
                                    <p:animEffect filter="wipe(left)" transition="in">
                                      <p:cBhvr>
                                        <p:cTn dur="500" id="41"/>
                                        <p:tgtEl>
                                          <p:spTgt spid="29"/>
                                        </p:tgtEl>
                                      </p:cBhvr>
                                    </p:animEffect>
                                  </p:childTnLst>
                                </p:cTn>
                              </p:par>
                            </p:childTnLst>
                          </p:cTn>
                        </p:par>
                        <p:par>
                          <p:cTn fill="hold" id="42" nodeType="afterGroup">
                            <p:stCondLst>
                              <p:cond delay="4000"/>
                            </p:stCondLst>
                            <p:childTnLst>
                              <p:par>
                                <p:cTn fill="hold" id="43" nodeType="afterEffect" presetClass="entr" presetID="22" presetSubtype="8">
                                  <p:stCondLst>
                                    <p:cond delay="0"/>
                                  </p:stCondLst>
                                  <p:childTnLst>
                                    <p:set>
                                      <p:cBhvr>
                                        <p:cTn dur="1" fill="hold" id="44">
                                          <p:stCondLst>
                                            <p:cond delay="0"/>
                                          </p:stCondLst>
                                        </p:cTn>
                                        <p:tgtEl>
                                          <p:spTgt spid="30"/>
                                        </p:tgtEl>
                                        <p:attrNameLst>
                                          <p:attrName>style.visibility</p:attrName>
                                        </p:attrNameLst>
                                      </p:cBhvr>
                                      <p:to>
                                        <p:strVal val="visible"/>
                                      </p:to>
                                    </p:set>
                                    <p:animEffect filter="wipe(left)" transition="in">
                                      <p:cBhvr>
                                        <p:cTn dur="500" id="45"/>
                                        <p:tgtEl>
                                          <p:spTgt spid="30"/>
                                        </p:tgtEl>
                                      </p:cBhvr>
                                    </p:animEffect>
                                  </p:childTnLst>
                                </p:cTn>
                              </p:par>
                            </p:childTnLst>
                          </p:cTn>
                        </p:par>
                        <p:par>
                          <p:cTn fill="hold" id="46" nodeType="afterGroup">
                            <p:stCondLst>
                              <p:cond delay="4500"/>
                            </p:stCondLst>
                            <p:childTnLst>
                              <p:par>
                                <p:cTn fill="hold" id="47" nodeType="afterEffect" presetClass="entr" presetID="22" presetSubtype="8">
                                  <p:stCondLst>
                                    <p:cond delay="0"/>
                                  </p:stCondLst>
                                  <p:childTnLst>
                                    <p:set>
                                      <p:cBhvr>
                                        <p:cTn dur="1" fill="hold" id="48">
                                          <p:stCondLst>
                                            <p:cond delay="0"/>
                                          </p:stCondLst>
                                        </p:cTn>
                                        <p:tgtEl>
                                          <p:spTgt spid="31"/>
                                        </p:tgtEl>
                                        <p:attrNameLst>
                                          <p:attrName>style.visibility</p:attrName>
                                        </p:attrNameLst>
                                      </p:cBhvr>
                                      <p:to>
                                        <p:strVal val="visible"/>
                                      </p:to>
                                    </p:set>
                                    <p:animEffect filter="wipe(left)" transition="in">
                                      <p:cBhvr>
                                        <p:cTn dur="500" id="49"/>
                                        <p:tgtEl>
                                          <p:spTgt spid="31"/>
                                        </p:tgtEl>
                                      </p:cBhvr>
                                    </p:animEffect>
                                  </p:childTnLst>
                                </p:cTn>
                              </p:par>
                            </p:childTnLst>
                          </p:cTn>
                        </p:par>
                        <p:par>
                          <p:cTn fill="hold" id="50" nodeType="afterGroup">
                            <p:stCondLst>
                              <p:cond delay="5000"/>
                            </p:stCondLst>
                            <p:childTnLst>
                              <p:par>
                                <p:cTn fill="hold" grpId="0" id="51" nodeType="afterEffect" presetClass="entr" presetID="22" presetSubtype="8">
                                  <p:stCondLst>
                                    <p:cond delay="0"/>
                                  </p:stCondLst>
                                  <p:childTnLst>
                                    <p:set>
                                      <p:cBhvr>
                                        <p:cTn dur="1" fill="hold" id="52">
                                          <p:stCondLst>
                                            <p:cond delay="0"/>
                                          </p:stCondLst>
                                        </p:cTn>
                                        <p:tgtEl>
                                          <p:spTgt spid="34"/>
                                        </p:tgtEl>
                                        <p:attrNameLst>
                                          <p:attrName>style.visibility</p:attrName>
                                        </p:attrNameLst>
                                      </p:cBhvr>
                                      <p:to>
                                        <p:strVal val="visible"/>
                                      </p:to>
                                    </p:set>
                                    <p:animEffect filter="wipe(left)" transition="in">
                                      <p:cBhvr>
                                        <p:cTn dur="500" id="53"/>
                                        <p:tgtEl>
                                          <p:spTgt spid="34"/>
                                        </p:tgtEl>
                                      </p:cBhvr>
                                    </p:animEffect>
                                  </p:childTnLst>
                                </p:cTn>
                              </p:par>
                            </p:childTnLst>
                          </p:cTn>
                        </p:par>
                        <p:par>
                          <p:cTn fill="hold" id="54" nodeType="afterGroup">
                            <p:stCondLst>
                              <p:cond delay="5500"/>
                            </p:stCondLst>
                            <p:childTnLst>
                              <p:par>
                                <p:cTn fill="hold" grpId="0" id="55" nodeType="afterEffect" presetClass="entr" presetID="22" presetSubtype="8">
                                  <p:stCondLst>
                                    <p:cond delay="0"/>
                                  </p:stCondLst>
                                  <p:childTnLst>
                                    <p:set>
                                      <p:cBhvr>
                                        <p:cTn dur="1" fill="hold" id="56">
                                          <p:stCondLst>
                                            <p:cond delay="0"/>
                                          </p:stCondLst>
                                        </p:cTn>
                                        <p:tgtEl>
                                          <p:spTgt spid="35"/>
                                        </p:tgtEl>
                                        <p:attrNameLst>
                                          <p:attrName>style.visibility</p:attrName>
                                        </p:attrNameLst>
                                      </p:cBhvr>
                                      <p:to>
                                        <p:strVal val="visible"/>
                                      </p:to>
                                    </p:set>
                                    <p:animEffect filter="wipe(left)" transition="in">
                                      <p:cBhvr>
                                        <p:cTn dur="500" id="57"/>
                                        <p:tgtEl>
                                          <p:spTgt spid="35"/>
                                        </p:tgtEl>
                                      </p:cBhvr>
                                    </p:animEffect>
                                  </p:childTnLst>
                                </p:cTn>
                              </p:par>
                            </p:childTnLst>
                          </p:cTn>
                        </p:par>
                        <p:par>
                          <p:cTn fill="hold" id="58" nodeType="afterGroup">
                            <p:stCondLst>
                              <p:cond delay="6000"/>
                            </p:stCondLst>
                            <p:childTnLst>
                              <p:par>
                                <p:cTn fill="hold" grpId="0" id="59" nodeType="afterEffect" presetClass="entr" presetID="22" presetSubtype="8">
                                  <p:stCondLst>
                                    <p:cond delay="0"/>
                                  </p:stCondLst>
                                  <p:childTnLst>
                                    <p:set>
                                      <p:cBhvr>
                                        <p:cTn dur="1" fill="hold" id="60">
                                          <p:stCondLst>
                                            <p:cond delay="0"/>
                                          </p:stCondLst>
                                        </p:cTn>
                                        <p:tgtEl>
                                          <p:spTgt spid="36"/>
                                        </p:tgtEl>
                                        <p:attrNameLst>
                                          <p:attrName>style.visibility</p:attrName>
                                        </p:attrNameLst>
                                      </p:cBhvr>
                                      <p:to>
                                        <p:strVal val="visible"/>
                                      </p:to>
                                    </p:set>
                                    <p:animEffect filter="wipe(left)" transition="in">
                                      <p:cBhvr>
                                        <p:cTn dur="500" id="61"/>
                                        <p:tgtEl>
                                          <p:spTgt spid="36"/>
                                        </p:tgtEl>
                                      </p:cBhvr>
                                    </p:animEffect>
                                  </p:childTnLst>
                                </p:cTn>
                              </p:par>
                            </p:childTnLst>
                          </p:cTn>
                        </p:par>
                        <p:par>
                          <p:cTn fill="hold" id="62" nodeType="afterGroup">
                            <p:stCondLst>
                              <p:cond delay="6500"/>
                            </p:stCondLst>
                            <p:childTnLst>
                              <p:par>
                                <p:cTn fill="hold" id="63" nodeType="afterEffect" presetClass="entr" presetID="22" presetSubtype="4">
                                  <p:stCondLst>
                                    <p:cond delay="0"/>
                                  </p:stCondLst>
                                  <p:childTnLst>
                                    <p:set>
                                      <p:cBhvr>
                                        <p:cTn dur="1" fill="hold" id="64">
                                          <p:stCondLst>
                                            <p:cond delay="0"/>
                                          </p:stCondLst>
                                        </p:cTn>
                                        <p:tgtEl>
                                          <p:spTgt spid="7"/>
                                        </p:tgtEl>
                                        <p:attrNameLst>
                                          <p:attrName>style.visibility</p:attrName>
                                        </p:attrNameLst>
                                      </p:cBhvr>
                                      <p:to>
                                        <p:strVal val="visible"/>
                                      </p:to>
                                    </p:set>
                                    <p:animEffect filter="wipe(down)" transition="in">
                                      <p:cBhvr>
                                        <p:cTn dur="500" id="65"/>
                                        <p:tgtEl>
                                          <p:spTgt spid="7"/>
                                        </p:tgtEl>
                                      </p:cBhvr>
                                    </p:animEffect>
                                  </p:childTnLst>
                                </p:cTn>
                              </p:par>
                            </p:childTnLst>
                          </p:cTn>
                        </p:par>
                        <p:par>
                          <p:cTn fill="hold" id="66" nodeType="afterGroup">
                            <p:stCondLst>
                              <p:cond delay="7000"/>
                            </p:stCondLst>
                            <p:childTnLst>
                              <p:par>
                                <p:cTn fill="hold" grpId="0" id="67" nodeType="afterEffect" presetClass="entr" presetID="10" presetSubtype="0">
                                  <p:stCondLst>
                                    <p:cond delay="0"/>
                                  </p:stCondLst>
                                  <p:childTnLst>
                                    <p:set>
                                      <p:cBhvr>
                                        <p:cTn dur="1" fill="hold" id="68">
                                          <p:stCondLst>
                                            <p:cond delay="0"/>
                                          </p:stCondLst>
                                        </p:cTn>
                                        <p:tgtEl>
                                          <p:spTgt spid="2"/>
                                        </p:tgtEl>
                                        <p:attrNameLst>
                                          <p:attrName>style.visibility</p:attrName>
                                        </p:attrNameLst>
                                      </p:cBhvr>
                                      <p:to>
                                        <p:strVal val="visible"/>
                                      </p:to>
                                    </p:set>
                                    <p:animEffect filter="fade" transition="in">
                                      <p:cBhvr>
                                        <p:cTn dur="500" id="69"/>
                                        <p:tgtEl>
                                          <p:spTgt spid="2"/>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2"/>
      <p:bldP grpId="0" spid="4"/>
      <p:bldP grpId="0" spid="26"/>
      <p:bldP grpId="0" spid="28"/>
      <p:bldP grpId="0" spid="34"/>
      <p:bldP grpId="0" spid="35"/>
      <p:bldP grpId="0" spid="36"/>
      <p:bldP grpId="0" spid="37"/>
      <p:bldP grpId="0" spid="38"/>
    </p:bldLst>
  </p:timing>
</p:sld>
</file>

<file path=ppt/slides/slide10.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5" name="标题 4"/>
          <p:cNvSpPr>
            <a:spLocks noGrp="1"/>
          </p:cNvSpPr>
          <p:nvPr>
            <p:ph idx="4294967295" type="title"/>
          </p:nvPr>
        </p:nvSpPr>
        <p:spPr>
          <a:xfrm>
            <a:off x="3680385" y="3335259"/>
            <a:ext cx="5419725" cy="895350"/>
          </a:xfrm>
        </p:spPr>
        <p:txBody>
          <a:bodyPr>
            <a:normAutofit/>
          </a:bodyPr>
          <a:lstStyle/>
          <a:p>
            <a:pPr algn="ctr"/>
            <a:r>
              <a:rPr altLang="zh-CN" lang="en-US" sz="3200">
                <a:solidFill>
                  <a:schemeClr val="accent1">
                    <a:lumMod val="100000"/>
                  </a:schemeClr>
                </a:solidFill>
                <a:latin charset="-122" panose="020b0300000000000000" pitchFamily="34" typeface="思源黑体 CN Light"/>
                <a:ea charset="-122" panose="020b0300000000000000" pitchFamily="34" typeface="思源黑体 CN Light"/>
                <a:sym charset="-122" panose="020b0400000000000000" pitchFamily="34" typeface="思源黑体"/>
              </a:rPr>
              <a:t>PART 02</a:t>
            </a:r>
          </a:p>
        </p:txBody>
      </p:sp>
      <p:sp>
        <p:nvSpPr>
          <p:cNvPr id="6" name="文本占位符 5"/>
          <p:cNvSpPr>
            <a:spLocks noGrp="1"/>
          </p:cNvSpPr>
          <p:nvPr>
            <p:ph idx="4294967295" type="body"/>
          </p:nvPr>
        </p:nvSpPr>
        <p:spPr>
          <a:xfrm>
            <a:off x="4128725" y="4230609"/>
            <a:ext cx="4675187" cy="1014413"/>
          </a:xfrm>
        </p:spPr>
        <p:txBody>
          <a:bodyPr>
            <a:normAutofit/>
          </a:bodyPr>
          <a:lstStyle/>
          <a:p>
            <a:pPr algn="ctr" indent="0" lvl="0" marL="0">
              <a:buNone/>
            </a:pPr>
            <a:r>
              <a:rPr altLang="zh-CN" lang="en-US" sz="1400">
                <a:solidFill>
                  <a:schemeClr val="bg2"/>
                </a:solidFill>
                <a:latin charset="-122" panose="020b0300000000000000" pitchFamily="34" typeface="思源黑体 CN Light"/>
                <a:ea charset="-122" panose="020b0300000000000000" pitchFamily="34" typeface="思源黑体 CN Light"/>
                <a:sym charset="-122" panose="020b0400000000000000" pitchFamily="34" typeface="思源黑体"/>
              </a:rPr>
              <a:t>Supporting text here.</a:t>
            </a:r>
          </a:p>
          <a:p>
            <a:pPr algn="ctr" indent="0" lvl="0" marL="0">
              <a:buNone/>
            </a:pPr>
            <a:r>
              <a:rPr altLang="zh-CN" lang="en-US" sz="1400">
                <a:solidFill>
                  <a:schemeClr val="bg2"/>
                </a:solidFill>
                <a:latin charset="-122" panose="020b0300000000000000" pitchFamily="34" typeface="思源黑体 CN Light"/>
                <a:ea charset="-122" panose="020b0300000000000000" pitchFamily="34" typeface="思源黑体 CN Light"/>
                <a:sym charset="-122" panose="020b0400000000000000" pitchFamily="34" typeface="思源黑体"/>
              </a:rPr>
              <a:t>When you copy &amp; paste, choose "keep text only" option.</a:t>
            </a:r>
          </a:p>
        </p:txBody>
      </p:sp>
      <p:sp>
        <p:nvSpPr>
          <p:cNvPr id="9" name="文本框 8">
            <a:extLst>
              <a:ext uri="{FF2B5EF4-FFF2-40B4-BE49-F238E27FC236}">
                <a16:creationId xmlns:a16="http://schemas.microsoft.com/office/drawing/2014/main" id="{04F69230-F3A6-4586-9371-A858F4763E9F}"/>
              </a:ext>
            </a:extLst>
          </p:cNvPr>
          <p:cNvSpPr txBox="1"/>
          <p:nvPr/>
        </p:nvSpPr>
        <p:spPr>
          <a:xfrm>
            <a:off x="5442549" y="900634"/>
            <a:ext cx="1419542" cy="2621280"/>
          </a:xfrm>
          <a:prstGeom prst="rect">
            <a:avLst/>
          </a:prstGeom>
          <a:noFill/>
        </p:spPr>
        <p:txBody>
          <a:bodyPr rtlCol="0" wrap="none">
            <a:spAutoFit/>
          </a:bodyPr>
          <a:lstStyle>
            <a:defPPr>
              <a:defRPr lang="en-US"/>
            </a:defPPr>
            <a:lvl1pPr>
              <a:defRPr sz="8000">
                <a:gradFill>
                  <a:gsLst>
                    <a:gs pos="36000">
                      <a:schemeClr val="bg1"/>
                    </a:gs>
                    <a:gs pos="100000">
                      <a:schemeClr val="tx1">
                        <a:lumMod val="50000"/>
                        <a:lumOff val="50000"/>
                      </a:schemeClr>
                    </a:gs>
                  </a:gsLst>
                  <a:lin ang="5400000" scaled="1"/>
                </a:gradFill>
                <a:latin charset="-122" panose="00000500000000000000" pitchFamily="2" typeface="字魂5号-无外润黑体"/>
                <a:ea charset="-122" panose="00000500000000000000" pitchFamily="2" typeface="字魂5号-无外润黑体"/>
              </a:defRPr>
            </a:lvl1pPr>
          </a:lstStyle>
          <a:p>
            <a:r>
              <a:rPr altLang="zh-CN" lang="en-US" sz="16600">
                <a:gradFill>
                  <a:gsLst>
                    <a:gs pos="36000">
                      <a:schemeClr val="bg1"/>
                    </a:gs>
                    <a:gs pos="70000">
                      <a:schemeClr val="tx1">
                        <a:lumMod val="50000"/>
                        <a:lumOff val="50000"/>
                        <a:alpha val="0"/>
                      </a:schemeClr>
                    </a:gs>
                  </a:gsLst>
                  <a:lin ang="5400000" scaled="1"/>
                </a:gradFill>
                <a:latin charset="-122" panose="020b0300000000000000" pitchFamily="34" typeface="思源黑体 CN Light"/>
                <a:ea charset="-122" panose="00000500000000000000" pitchFamily="2" typeface="字魂54号-贤黑"/>
                <a:sym charset="-122" panose="020b0400000000000000" pitchFamily="34" typeface="思源黑体"/>
              </a:rPr>
              <a:t>2</a:t>
            </a:r>
          </a:p>
        </p:txBody>
      </p:sp>
      <p:grpSp>
        <p:nvGrpSpPr>
          <p:cNvPr id="4" name="组合 3">
            <a:extLst>
              <a:ext uri="{FF2B5EF4-FFF2-40B4-BE49-F238E27FC236}">
                <a16:creationId xmlns:a16="http://schemas.microsoft.com/office/drawing/2014/main" id="{47AA6A77-1222-4243-806E-EDF916201DE9}"/>
              </a:ext>
            </a:extLst>
          </p:cNvPr>
          <p:cNvGrpSpPr/>
          <p:nvPr/>
        </p:nvGrpSpPr>
        <p:grpSpPr>
          <a:xfrm rot="1279383">
            <a:off x="5337810" y="1303081"/>
            <a:ext cx="1881389" cy="2767558"/>
            <a:chOff x="5326021" y="1359499"/>
            <a:chExt cx="2273644" cy="3344573"/>
          </a:xfrm>
        </p:grpSpPr>
        <p:cxnSp>
          <p:nvCxnSpPr>
            <p:cNvPr id="8" name="直接连接符 7">
              <a:extLst>
                <a:ext uri="{FF2B5EF4-FFF2-40B4-BE49-F238E27FC236}">
                  <a16:creationId xmlns:a16="http://schemas.microsoft.com/office/drawing/2014/main" id="{7EFB3E33-333F-4634-8C15-7D06564F35A8}"/>
                </a:ext>
              </a:extLst>
            </p:cNvPr>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任意多边形: 形状 9">
              <a:extLst>
                <a:ext uri="{FF2B5EF4-FFF2-40B4-BE49-F238E27FC236}">
                  <a16:creationId xmlns:a16="http://schemas.microsoft.com/office/drawing/2014/main" id="{E73AA28D-9CD2-4A09-8567-FAEF0A53901B}"/>
                </a:ext>
              </a:extLst>
            </p:cNvPr>
            <p:cNvSpPr/>
            <p:nvPr/>
          </p:nvSpPr>
          <p:spPr>
            <a:xfrm rot="2008142">
              <a:off x="5326021" y="3632692"/>
              <a:ext cx="319543" cy="1071380"/>
            </a:xfrm>
            <a:custGeom>
              <a:gdLst>
                <a:gd fmla="*/ 278285 w 319543" name="connsiteX0"/>
                <a:gd fmla="*/ 0 h 1071380" name="connsiteY0"/>
                <a:gd fmla="*/ 319543 w 319543" name="connsiteX1"/>
                <a:gd fmla="*/ 0 h 1071380" name="connsiteY1"/>
                <a:gd fmla="*/ 319543 w 319543" name="connsiteX2"/>
                <a:gd fmla="*/ 601405 h 1071380" name="connsiteY2"/>
                <a:gd fmla="*/ 0 w 319543" name="connsiteX3"/>
                <a:gd fmla="*/ 1071380 h 1071380" name="connsiteY3"/>
                <a:gd fmla="*/ 0 w 319543" name="connsiteX4"/>
                <a:gd fmla="*/ 409295 h 1071380"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1071380" w="319543">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grpSp>
    </p:spTree>
    <p:extLst>
      <p:ext uri="{BB962C8B-B14F-4D97-AF65-F5344CB8AC3E}">
        <p14:creationId val="2892183779"/>
      </p:ext>
    </p:extLst>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afterEffect" presetClass="entr" presetID="22" presetSubtype="4">
                                  <p:stCondLst>
                                    <p:cond delay="0"/>
                                  </p:stCondLst>
                                  <p:childTnLst>
                                    <p:set>
                                      <p:cBhvr>
                                        <p:cTn dur="1" fill="hold" id="6">
                                          <p:stCondLst>
                                            <p:cond delay="0"/>
                                          </p:stCondLst>
                                        </p:cTn>
                                        <p:tgtEl>
                                          <p:spTgt spid="9"/>
                                        </p:tgtEl>
                                        <p:attrNameLst>
                                          <p:attrName>style.visibility</p:attrName>
                                        </p:attrNameLst>
                                      </p:cBhvr>
                                      <p:to>
                                        <p:strVal val="visible"/>
                                      </p:to>
                                    </p:set>
                                    <p:animEffect filter="wipe(down)" transition="in">
                                      <p:cBhvr>
                                        <p:cTn dur="500" id="7"/>
                                        <p:tgtEl>
                                          <p:spTgt spid="9"/>
                                        </p:tgtEl>
                                      </p:cBhvr>
                                    </p:animEffect>
                                  </p:childTnLst>
                                </p:cTn>
                              </p:par>
                            </p:childTnLst>
                          </p:cTn>
                        </p:par>
                        <p:par>
                          <p:cTn fill="hold" id="8" nodeType="afterGroup">
                            <p:stCondLst>
                              <p:cond delay="500"/>
                            </p:stCondLst>
                            <p:childTnLst>
                              <p:par>
                                <p:cTn fill="hold" id="9" nodeType="afterEffect" presetClass="entr" presetID="22" presetSubtype="4">
                                  <p:stCondLst>
                                    <p:cond delay="0"/>
                                  </p:stCondLst>
                                  <p:childTnLst>
                                    <p:set>
                                      <p:cBhvr>
                                        <p:cTn dur="1" fill="hold" id="10">
                                          <p:stCondLst>
                                            <p:cond delay="0"/>
                                          </p:stCondLst>
                                        </p:cTn>
                                        <p:tgtEl>
                                          <p:spTgt spid="4"/>
                                        </p:tgtEl>
                                        <p:attrNameLst>
                                          <p:attrName>style.visibility</p:attrName>
                                        </p:attrNameLst>
                                      </p:cBhvr>
                                      <p:to>
                                        <p:strVal val="visible"/>
                                      </p:to>
                                    </p:set>
                                    <p:animEffect filter="wipe(down)" transition="in">
                                      <p:cBhvr>
                                        <p:cTn dur="500" id="11"/>
                                        <p:tgtEl>
                                          <p:spTgt spid="4"/>
                                        </p:tgtEl>
                                      </p:cBhvr>
                                    </p:animEffect>
                                  </p:childTnLst>
                                </p:cTn>
                              </p:par>
                            </p:childTnLst>
                          </p:cTn>
                        </p:par>
                        <p:par>
                          <p:cTn fill="hold" id="12" nodeType="afterGroup">
                            <p:stCondLst>
                              <p:cond delay="1000"/>
                            </p:stCondLst>
                            <p:childTnLst>
                              <p:par>
                                <p:cTn fill="hold" grpId="0" id="13" nodeType="afterEffect" presetClass="entr" presetID="42" presetSubtype="0">
                                  <p:stCondLst>
                                    <p:cond delay="0"/>
                                  </p:stCondLst>
                                  <p:childTnLst>
                                    <p:set>
                                      <p:cBhvr>
                                        <p:cTn dur="1" fill="hold" id="14">
                                          <p:stCondLst>
                                            <p:cond delay="0"/>
                                          </p:stCondLst>
                                        </p:cTn>
                                        <p:tgtEl>
                                          <p:spTgt spid="5"/>
                                        </p:tgtEl>
                                        <p:attrNameLst>
                                          <p:attrName>style.visibility</p:attrName>
                                        </p:attrNameLst>
                                      </p:cBhvr>
                                      <p:to>
                                        <p:strVal val="visible"/>
                                      </p:to>
                                    </p:set>
                                    <p:animEffect filter="fade" transition="in">
                                      <p:cBhvr>
                                        <p:cTn dur="1000" id="15"/>
                                        <p:tgtEl>
                                          <p:spTgt spid="5"/>
                                        </p:tgtEl>
                                      </p:cBhvr>
                                    </p:animEffect>
                                    <p:anim calcmode="lin" valueType="num">
                                      <p:cBhvr>
                                        <p:cTn dur="1000" fill="hold" id="16"/>
                                        <p:tgtEl>
                                          <p:spTgt spid="5"/>
                                        </p:tgtEl>
                                        <p:attrNameLst>
                                          <p:attrName>ppt_x</p:attrName>
                                        </p:attrNameLst>
                                      </p:cBhvr>
                                      <p:tavLst>
                                        <p:tav tm="0">
                                          <p:val>
                                            <p:strVal val="#ppt_x"/>
                                          </p:val>
                                        </p:tav>
                                        <p:tav tm="100000">
                                          <p:val>
                                            <p:strVal val="#ppt_x"/>
                                          </p:val>
                                        </p:tav>
                                      </p:tavLst>
                                    </p:anim>
                                    <p:anim calcmode="lin" valueType="num">
                                      <p:cBhvr>
                                        <p:cTn dur="1000" fill="hold" id="17"/>
                                        <p:tgtEl>
                                          <p:spTgt spid="5"/>
                                        </p:tgtEl>
                                        <p:attrNameLst>
                                          <p:attrName>ppt_y</p:attrName>
                                        </p:attrNameLst>
                                      </p:cBhvr>
                                      <p:tavLst>
                                        <p:tav tm="0">
                                          <p:val>
                                            <p:strVal val="#ppt_y+.1"/>
                                          </p:val>
                                        </p:tav>
                                        <p:tav tm="100000">
                                          <p:val>
                                            <p:strVal val="#ppt_y"/>
                                          </p:val>
                                        </p:tav>
                                      </p:tavLst>
                                    </p:anim>
                                  </p:childTnLst>
                                </p:cTn>
                              </p:par>
                            </p:childTnLst>
                          </p:cTn>
                        </p:par>
                        <p:par>
                          <p:cTn fill="hold" id="18" nodeType="afterGroup">
                            <p:stCondLst>
                              <p:cond delay="2000"/>
                            </p:stCondLst>
                            <p:childTnLst>
                              <p:par>
                                <p:cTn fill="hold" grpId="0" id="19" nodeType="afterEffect" presetClass="entr" presetID="42" presetSubtype="0">
                                  <p:stCondLst>
                                    <p:cond delay="0"/>
                                  </p:stCondLst>
                                  <p:childTnLst>
                                    <p:set>
                                      <p:cBhvr>
                                        <p:cTn dur="1" fill="hold" id="20">
                                          <p:stCondLst>
                                            <p:cond delay="0"/>
                                          </p:stCondLst>
                                        </p:cTn>
                                        <p:tgtEl>
                                          <p:spTgt spid="6">
                                            <p:txEl>
                                              <p:pRg end="0" st="0"/>
                                            </p:txEl>
                                          </p:spTgt>
                                        </p:tgtEl>
                                        <p:attrNameLst>
                                          <p:attrName>style.visibility</p:attrName>
                                        </p:attrNameLst>
                                      </p:cBhvr>
                                      <p:to>
                                        <p:strVal val="visible"/>
                                      </p:to>
                                    </p:set>
                                    <p:animEffect filter="fade" transition="in">
                                      <p:cBhvr>
                                        <p:cTn dur="1000" id="21"/>
                                        <p:tgtEl>
                                          <p:spTgt spid="6">
                                            <p:txEl>
                                              <p:pRg end="0" st="0"/>
                                            </p:txEl>
                                          </p:spTgt>
                                        </p:tgtEl>
                                      </p:cBhvr>
                                    </p:animEffect>
                                    <p:anim calcmode="lin" valueType="num">
                                      <p:cBhvr>
                                        <p:cTn dur="1000" fill="hold" id="22"/>
                                        <p:tgtEl>
                                          <p:spTgt spid="6">
                                            <p:txEl>
                                              <p:pRg end="0" st="0"/>
                                            </p:txEl>
                                          </p:spTgt>
                                        </p:tgtEl>
                                        <p:attrNameLst>
                                          <p:attrName>ppt_x</p:attrName>
                                        </p:attrNameLst>
                                      </p:cBhvr>
                                      <p:tavLst>
                                        <p:tav tm="0">
                                          <p:val>
                                            <p:strVal val="#ppt_x"/>
                                          </p:val>
                                        </p:tav>
                                        <p:tav tm="100000">
                                          <p:val>
                                            <p:strVal val="#ppt_x"/>
                                          </p:val>
                                        </p:tav>
                                      </p:tavLst>
                                    </p:anim>
                                    <p:anim calcmode="lin" valueType="num">
                                      <p:cBhvr>
                                        <p:cTn dur="1000" fill="hold" id="23"/>
                                        <p:tgtEl>
                                          <p:spTgt spid="6">
                                            <p:txEl>
                                              <p:pRg end="0" st="0"/>
                                            </p:txEl>
                                          </p:spTgt>
                                        </p:tgtEl>
                                        <p:attrNameLst>
                                          <p:attrName>ppt_y</p:attrName>
                                        </p:attrNameLst>
                                      </p:cBhvr>
                                      <p:tavLst>
                                        <p:tav tm="0">
                                          <p:val>
                                            <p:strVal val="#ppt_y+.1"/>
                                          </p:val>
                                        </p:tav>
                                        <p:tav tm="100000">
                                          <p:val>
                                            <p:strVal val="#ppt_y"/>
                                          </p:val>
                                        </p:tav>
                                      </p:tavLst>
                                    </p:anim>
                                  </p:childTnLst>
                                </p:cTn>
                              </p:par>
                            </p:childTnLst>
                          </p:cTn>
                        </p:par>
                        <p:par>
                          <p:cTn fill="hold" id="24" nodeType="afterGroup">
                            <p:stCondLst>
                              <p:cond delay="3000"/>
                            </p:stCondLst>
                            <p:childTnLst>
                              <p:par>
                                <p:cTn fill="hold" grpId="0" id="25" nodeType="afterEffect" presetClass="entr" presetID="42" presetSubtype="0">
                                  <p:stCondLst>
                                    <p:cond delay="0"/>
                                  </p:stCondLst>
                                  <p:childTnLst>
                                    <p:set>
                                      <p:cBhvr>
                                        <p:cTn dur="1" fill="hold" id="26">
                                          <p:stCondLst>
                                            <p:cond delay="0"/>
                                          </p:stCondLst>
                                        </p:cTn>
                                        <p:tgtEl>
                                          <p:spTgt spid="6">
                                            <p:txEl>
                                              <p:pRg end="1" st="1"/>
                                            </p:txEl>
                                          </p:spTgt>
                                        </p:tgtEl>
                                        <p:attrNameLst>
                                          <p:attrName>style.visibility</p:attrName>
                                        </p:attrNameLst>
                                      </p:cBhvr>
                                      <p:to>
                                        <p:strVal val="visible"/>
                                      </p:to>
                                    </p:set>
                                    <p:animEffect filter="fade" transition="in">
                                      <p:cBhvr>
                                        <p:cTn dur="1000" id="27"/>
                                        <p:tgtEl>
                                          <p:spTgt spid="6">
                                            <p:txEl>
                                              <p:pRg end="1" st="1"/>
                                            </p:txEl>
                                          </p:spTgt>
                                        </p:tgtEl>
                                      </p:cBhvr>
                                    </p:animEffect>
                                    <p:anim calcmode="lin" valueType="num">
                                      <p:cBhvr>
                                        <p:cTn dur="1000" fill="hold" id="28"/>
                                        <p:tgtEl>
                                          <p:spTgt spid="6">
                                            <p:txEl>
                                              <p:pRg end="1" st="1"/>
                                            </p:txEl>
                                          </p:spTgt>
                                        </p:tgtEl>
                                        <p:attrNameLst>
                                          <p:attrName>ppt_x</p:attrName>
                                        </p:attrNameLst>
                                      </p:cBhvr>
                                      <p:tavLst>
                                        <p:tav tm="0">
                                          <p:val>
                                            <p:strVal val="#ppt_x"/>
                                          </p:val>
                                        </p:tav>
                                        <p:tav tm="100000">
                                          <p:val>
                                            <p:strVal val="#ppt_x"/>
                                          </p:val>
                                        </p:tav>
                                      </p:tavLst>
                                    </p:anim>
                                    <p:anim calcmode="lin" valueType="num">
                                      <p:cBhvr>
                                        <p:cTn dur="1000" fill="hold" id="29"/>
                                        <p:tgtEl>
                                          <p:spTgt spid="6">
                                            <p:txEl>
                                              <p:pRg end="1" st="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5"/>
      <p:bldP build="p" grpId="0" spid="6" uiExpand="1"/>
      <p:bldP grpId="0" spid="9"/>
    </p:bldLst>
  </p:timing>
</p:sld>
</file>

<file path=ppt/slides/slide11.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2" name="椭圆 1">
            <a:extLst>
              <a:ext uri="{FF2B5EF4-FFF2-40B4-BE49-F238E27FC236}">
                <a16:creationId xmlns:a16="http://schemas.microsoft.com/office/drawing/2014/main" id="{2022C0DD-8F3A-46E4-A669-E1A49532C956}"/>
              </a:ext>
            </a:extLst>
          </p:cNvPr>
          <p:cNvSpPr/>
          <p:nvPr/>
        </p:nvSpPr>
        <p:spPr>
          <a:xfrm>
            <a:off x="838200" y="1971301"/>
            <a:ext cx="1333500" cy="13335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5" name="椭圆 4">
            <a:extLst>
              <a:ext uri="{FF2B5EF4-FFF2-40B4-BE49-F238E27FC236}">
                <a16:creationId xmlns:a16="http://schemas.microsoft.com/office/drawing/2014/main" id="{49DB4BA9-8382-49A0-9EC6-79F92D9D6EC6}"/>
              </a:ext>
            </a:extLst>
          </p:cNvPr>
          <p:cNvSpPr/>
          <p:nvPr/>
        </p:nvSpPr>
        <p:spPr>
          <a:xfrm>
            <a:off x="4343400" y="1971301"/>
            <a:ext cx="1333500" cy="1333500"/>
          </a:xfrm>
          <a:prstGeom prst="ellipse">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6" name="椭圆 5">
            <a:extLst>
              <a:ext uri="{FF2B5EF4-FFF2-40B4-BE49-F238E27FC236}">
                <a16:creationId xmlns:a16="http://schemas.microsoft.com/office/drawing/2014/main" id="{D4C5A9FD-5450-4AE6-954E-F2872B12B018}"/>
              </a:ext>
            </a:extLst>
          </p:cNvPr>
          <p:cNvSpPr/>
          <p:nvPr/>
        </p:nvSpPr>
        <p:spPr>
          <a:xfrm>
            <a:off x="6096000" y="1971301"/>
            <a:ext cx="1333500" cy="13335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7" name="椭圆 6">
            <a:extLst>
              <a:ext uri="{FF2B5EF4-FFF2-40B4-BE49-F238E27FC236}">
                <a16:creationId xmlns:a16="http://schemas.microsoft.com/office/drawing/2014/main" id="{822813A0-6D73-47E8-B987-A9BE8A85BBD6}"/>
              </a:ext>
            </a:extLst>
          </p:cNvPr>
          <p:cNvSpPr/>
          <p:nvPr/>
        </p:nvSpPr>
        <p:spPr>
          <a:xfrm>
            <a:off x="2590800" y="1971301"/>
            <a:ext cx="1333500" cy="13335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grpSp>
        <p:nvGrpSpPr>
          <p:cNvPr id="13319" name="组合 59">
            <a:extLst>
              <a:ext uri="{FF2B5EF4-FFF2-40B4-BE49-F238E27FC236}">
                <a16:creationId xmlns:a16="http://schemas.microsoft.com/office/drawing/2014/main" id="{51FC5C32-2482-455C-B58A-BA7E5327A298}"/>
              </a:ext>
            </a:extLst>
          </p:cNvPr>
          <p:cNvGrpSpPr/>
          <p:nvPr/>
        </p:nvGrpSpPr>
        <p:grpSpPr>
          <a:xfrm flipH="1">
            <a:off x="4760913" y="4054101"/>
            <a:ext cx="6591300" cy="1333500"/>
            <a:chOff x="4760913" y="3918449"/>
            <a:chExt cx="6591300" cy="1333500"/>
          </a:xfrm>
        </p:grpSpPr>
        <p:sp>
          <p:nvSpPr>
            <p:cNvPr id="8" name="椭圆 7">
              <a:extLst>
                <a:ext uri="{FF2B5EF4-FFF2-40B4-BE49-F238E27FC236}">
                  <a16:creationId xmlns:a16="http://schemas.microsoft.com/office/drawing/2014/main" id="{BF813022-88D2-4232-83E0-46CC2C1E1886}"/>
                </a:ext>
              </a:extLst>
            </p:cNvPr>
            <p:cNvSpPr/>
            <p:nvPr/>
          </p:nvSpPr>
          <p:spPr>
            <a:xfrm>
              <a:off x="4760913" y="3918449"/>
              <a:ext cx="1333500" cy="13335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9" name="椭圆 8">
              <a:extLst>
                <a:ext uri="{FF2B5EF4-FFF2-40B4-BE49-F238E27FC236}">
                  <a16:creationId xmlns:a16="http://schemas.microsoft.com/office/drawing/2014/main" id="{6C1F5DC0-3B8F-4AC4-9D00-FB06C4981F43}"/>
                </a:ext>
              </a:extLst>
            </p:cNvPr>
            <p:cNvSpPr/>
            <p:nvPr/>
          </p:nvSpPr>
          <p:spPr>
            <a:xfrm>
              <a:off x="8266113" y="3918449"/>
              <a:ext cx="1333500" cy="1333500"/>
            </a:xfrm>
            <a:prstGeom prst="ellipse">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0" name="椭圆 9">
              <a:extLst>
                <a:ext uri="{FF2B5EF4-FFF2-40B4-BE49-F238E27FC236}">
                  <a16:creationId xmlns:a16="http://schemas.microsoft.com/office/drawing/2014/main" id="{B530F364-447C-4FAA-8173-8864EEAD84DE}"/>
                </a:ext>
              </a:extLst>
            </p:cNvPr>
            <p:cNvSpPr/>
            <p:nvPr/>
          </p:nvSpPr>
          <p:spPr>
            <a:xfrm>
              <a:off x="10018713" y="3918449"/>
              <a:ext cx="1333500" cy="13335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1" name="椭圆 10">
              <a:extLst>
                <a:ext uri="{FF2B5EF4-FFF2-40B4-BE49-F238E27FC236}">
                  <a16:creationId xmlns:a16="http://schemas.microsoft.com/office/drawing/2014/main" id="{99062D1D-7957-4B01-8770-86C2AC6F300A}"/>
                </a:ext>
              </a:extLst>
            </p:cNvPr>
            <p:cNvSpPr/>
            <p:nvPr/>
          </p:nvSpPr>
          <p:spPr>
            <a:xfrm>
              <a:off x="6513513" y="3918449"/>
              <a:ext cx="1333500" cy="13335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grpSp>
      <p:sp>
        <p:nvSpPr>
          <p:cNvPr id="13320" name="Freeform 77">
            <a:extLst>
              <a:ext uri="{FF2B5EF4-FFF2-40B4-BE49-F238E27FC236}">
                <a16:creationId xmlns:a16="http://schemas.microsoft.com/office/drawing/2014/main" id="{D71DBBAF-8AB5-4E7B-B859-5D0DB8479E02}"/>
              </a:ext>
            </a:extLst>
          </p:cNvPr>
          <p:cNvSpPr>
            <a:spLocks noEditPoints="1"/>
          </p:cNvSpPr>
          <p:nvPr/>
        </p:nvSpPr>
        <p:spPr bwMode="auto">
          <a:xfrm>
            <a:off x="1085850" y="2212601"/>
            <a:ext cx="838200" cy="850900"/>
          </a:xfrm>
          <a:custGeom>
            <a:gdLst>
              <a:gd fmla="*/ 2147483647 w 217" name="T0"/>
              <a:gd fmla="*/ 2147483647 h 219" name="T1"/>
              <a:gd fmla="*/ 2147483647 w 217" name="T2"/>
              <a:gd fmla="*/ 2147483647 h 219" name="T3"/>
              <a:gd fmla="*/ 2147483647 w 217" name="T4"/>
              <a:gd fmla="*/ 2147483647 h 219" name="T5"/>
              <a:gd fmla="*/ 2147483647 w 217" name="T6"/>
              <a:gd fmla="*/ 2147483647 h 219" name="T7"/>
              <a:gd fmla="*/ 2147483647 w 217" name="T8"/>
              <a:gd fmla="*/ 2147483647 h 219" name="T9"/>
              <a:gd fmla="*/ 2147483647 w 217" name="T10"/>
              <a:gd fmla="*/ 2147483647 h 219" name="T11"/>
              <a:gd fmla="*/ 2147483647 w 217" name="T12"/>
              <a:gd fmla="*/ 2147483647 h 219" name="T13"/>
              <a:gd fmla="*/ 2147483647 w 217" name="T14"/>
              <a:gd fmla="*/ 2147483647 h 219" name="T15"/>
              <a:gd fmla="*/ 2147483647 w 217" name="T16"/>
              <a:gd fmla="*/ 0 h 219" name="T17"/>
              <a:gd fmla="*/ 2147483647 w 217" name="T18"/>
              <a:gd fmla="*/ 2147483647 h 219" name="T19"/>
              <a:gd fmla="*/ 2147483647 w 217" name="T20"/>
              <a:gd fmla="*/ 2147483647 h 219" name="T21"/>
              <a:gd fmla="*/ 2147483647 w 217" name="T22"/>
              <a:gd fmla="*/ 2147483647 h 219" name="T23"/>
              <a:gd fmla="*/ 2147483647 w 217" name="T24"/>
              <a:gd fmla="*/ 2147483647 h 219" name="T25"/>
              <a:gd fmla="*/ 2147483647 w 217" name="T26"/>
              <a:gd fmla="*/ 2147483647 h 219" name="T27"/>
              <a:gd fmla="*/ 2147483647 w 217" name="T28"/>
              <a:gd fmla="*/ 2147483647 h 219" name="T29"/>
              <a:gd fmla="*/ 2147483647 w 217" name="T30"/>
              <a:gd fmla="*/ 2147483647 h 219" name="T31"/>
              <a:gd fmla="*/ 2147483647 w 217" name="T32"/>
              <a:gd fmla="*/ 2147483647 h 219" name="T33"/>
              <a:gd fmla="*/ 2147483647 w 217" name="T34"/>
              <a:gd fmla="*/ 2147483647 h 219" name="T35"/>
              <a:gd fmla="*/ 2147483647 w 217" name="T36"/>
              <a:gd fmla="*/ 2147483647 h 219" name="T37"/>
              <a:gd fmla="*/ 2147483647 w 217" name="T38"/>
              <a:gd fmla="*/ 2147483647 h 219" name="T39"/>
              <a:gd fmla="*/ 2147483647 w 217" name="T40"/>
              <a:gd fmla="*/ 2147483647 h 219" name="T41"/>
              <a:gd fmla="*/ 2147483647 w 217" name="T42"/>
              <a:gd fmla="*/ 2147483647 h 219" name="T43"/>
              <a:gd fmla="*/ 2147483647 w 217" name="T44"/>
              <a:gd fmla="*/ 2147483647 h 219" name="T45"/>
              <a:gd fmla="*/ 2147483647 w 217" name="T46"/>
              <a:gd fmla="*/ 2147483647 h 219" name="T47"/>
              <a:gd fmla="*/ 2147483647 w 217" name="T48"/>
              <a:gd fmla="*/ 2147483647 h 219" name="T49"/>
              <a:gd fmla="*/ 2147483647 w 217" name="T50"/>
              <a:gd fmla="*/ 2147483647 h 219" name="T51"/>
              <a:gd fmla="*/ 0 60000 65536" name="T52"/>
              <a:gd fmla="*/ 0 60000 65536" name="T53"/>
              <a:gd fmla="*/ 0 60000 65536" name="T54"/>
              <a:gd fmla="*/ 0 60000 65536" name="T55"/>
              <a:gd fmla="*/ 0 60000 65536" name="T56"/>
              <a:gd fmla="*/ 0 60000 65536" name="T57"/>
              <a:gd fmla="*/ 0 60000 65536" name="T58"/>
              <a:gd fmla="*/ 0 60000 65536" name="T59"/>
              <a:gd fmla="*/ 0 60000 65536" name="T60"/>
              <a:gd fmla="*/ 0 60000 65536" name="T61"/>
              <a:gd fmla="*/ 0 60000 65536" name="T62"/>
              <a:gd fmla="*/ 0 60000 65536" name="T63"/>
              <a:gd fmla="*/ 0 60000 65536" name="T64"/>
              <a:gd fmla="*/ 0 60000 65536" name="T65"/>
              <a:gd fmla="*/ 0 60000 65536" name="T66"/>
              <a:gd fmla="*/ 0 60000 65536" name="T67"/>
              <a:gd fmla="*/ 0 60000 65536" name="T68"/>
              <a:gd fmla="*/ 0 60000 65536" name="T69"/>
              <a:gd fmla="*/ 0 60000 65536" name="T70"/>
              <a:gd fmla="*/ 0 60000 65536" name="T71"/>
              <a:gd fmla="*/ 0 60000 65536" name="T72"/>
              <a:gd fmla="*/ 0 60000 65536" name="T73"/>
              <a:gd fmla="*/ 0 60000 65536" name="T74"/>
              <a:gd fmla="*/ 0 60000 65536" name="T75"/>
              <a:gd fmla="*/ 0 60000 65536" name="T76"/>
              <a:gd fmla="*/ 0 60000 65536" name="T77"/>
            </a:gd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b="b" l="0" r="r" t="0"/>
            <a:pathLst>
              <a:path h="219" w="216">
                <a:moveTo>
                  <a:pt x="139" y="105"/>
                </a:moveTo>
                <a:cubicBezTo>
                  <a:pt x="139" y="105"/>
                  <a:pt x="134" y="103"/>
                  <a:pt x="134" y="93"/>
                </a:cubicBezTo>
                <a:cubicBezTo>
                  <a:pt x="134" y="84"/>
                  <a:pt x="134" y="52"/>
                  <a:pt x="134" y="42"/>
                </a:cubicBezTo>
                <a:cubicBezTo>
                  <a:pt x="137" y="40"/>
                  <a:pt x="139" y="37"/>
                  <a:pt x="139" y="35"/>
                </a:cubicBezTo>
                <a:cubicBezTo>
                  <a:pt x="141" y="35"/>
                  <a:pt x="141" y="35"/>
                  <a:pt x="141" y="35"/>
                </a:cubicBezTo>
                <a:cubicBezTo>
                  <a:pt x="141" y="12"/>
                  <a:pt x="141" y="12"/>
                  <a:pt x="141" y="12"/>
                </a:cubicBezTo>
                <a:cubicBezTo>
                  <a:pt x="139" y="12"/>
                  <a:pt x="139" y="12"/>
                  <a:pt x="139" y="12"/>
                </a:cubicBezTo>
                <a:cubicBezTo>
                  <a:pt x="139" y="12"/>
                  <a:pt x="139" y="12"/>
                  <a:pt x="139" y="12"/>
                </a:cubicBezTo>
                <a:cubicBezTo>
                  <a:pt x="139" y="5"/>
                  <a:pt x="126" y="0"/>
                  <a:pt x="108" y="0"/>
                </a:cubicBezTo>
                <a:cubicBezTo>
                  <a:pt x="91" y="0"/>
                  <a:pt x="77" y="5"/>
                  <a:pt x="77" y="12"/>
                </a:cubicBezTo>
                <a:cubicBezTo>
                  <a:pt x="77" y="12"/>
                  <a:pt x="77" y="12"/>
                  <a:pt x="77" y="12"/>
                </a:cubicBezTo>
                <a:cubicBezTo>
                  <a:pt x="77" y="12"/>
                  <a:pt x="77" y="12"/>
                  <a:pt x="77" y="12"/>
                </a:cubicBezTo>
                <a:cubicBezTo>
                  <a:pt x="77" y="35"/>
                  <a:pt x="77" y="35"/>
                  <a:pt x="77" y="35"/>
                </a:cubicBezTo>
                <a:cubicBezTo>
                  <a:pt x="77" y="35"/>
                  <a:pt x="77" y="35"/>
                  <a:pt x="77" y="35"/>
                </a:cubicBezTo>
                <a:cubicBezTo>
                  <a:pt x="78" y="38"/>
                  <a:pt x="80" y="40"/>
                  <a:pt x="86" y="42"/>
                </a:cubicBezTo>
                <a:cubicBezTo>
                  <a:pt x="86" y="53"/>
                  <a:pt x="86" y="85"/>
                  <a:pt x="86" y="93"/>
                </a:cubicBezTo>
                <a:cubicBezTo>
                  <a:pt x="86" y="103"/>
                  <a:pt x="79" y="105"/>
                  <a:pt x="79" y="105"/>
                </a:cubicBezTo>
                <a:cubicBezTo>
                  <a:pt x="68" y="112"/>
                  <a:pt x="0" y="180"/>
                  <a:pt x="30" y="200"/>
                </a:cubicBezTo>
                <a:cubicBezTo>
                  <a:pt x="56" y="219"/>
                  <a:pt x="100" y="218"/>
                  <a:pt x="109" y="218"/>
                </a:cubicBezTo>
                <a:cubicBezTo>
                  <a:pt x="118" y="218"/>
                  <a:pt x="161" y="219"/>
                  <a:pt x="188" y="200"/>
                </a:cubicBezTo>
                <a:cubicBezTo>
                  <a:pt x="217" y="180"/>
                  <a:pt x="151" y="112"/>
                  <a:pt x="139" y="105"/>
                </a:cubicBezTo>
                <a:close/>
                <a:moveTo>
                  <a:pt x="137" y="201"/>
                </a:moveTo>
                <a:cubicBezTo>
                  <a:pt x="137" y="201"/>
                  <a:pt x="171" y="195"/>
                  <a:pt x="172" y="177"/>
                </a:cubicBezTo>
                <a:cubicBezTo>
                  <a:pt x="174" y="159"/>
                  <a:pt x="142" y="126"/>
                  <a:pt x="142" y="126"/>
                </a:cubicBezTo>
                <a:cubicBezTo>
                  <a:pt x="142" y="126"/>
                  <a:pt x="183" y="158"/>
                  <a:pt x="183" y="179"/>
                </a:cubicBezTo>
                <a:cubicBezTo>
                  <a:pt x="183" y="201"/>
                  <a:pt x="137" y="201"/>
                  <a:pt x="137" y="201"/>
                </a:cubicBezTo>
                <a:close/>
              </a:path>
            </a:pathLst>
          </a:custGeom>
          <a:solidFill>
            <a:srgbClr val="F2F2F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grpSp>
        <p:nvGrpSpPr>
          <p:cNvPr id="13321" name="组合 12">
            <a:extLst>
              <a:ext uri="{FF2B5EF4-FFF2-40B4-BE49-F238E27FC236}">
                <a16:creationId xmlns:a16="http://schemas.microsoft.com/office/drawing/2014/main" id="{B57955DF-D131-4BAE-811F-5A611F7406B4}"/>
              </a:ext>
            </a:extLst>
          </p:cNvPr>
          <p:cNvGrpSpPr/>
          <p:nvPr/>
        </p:nvGrpSpPr>
        <p:grpSpPr>
          <a:xfrm>
            <a:off x="3046413" y="2226889"/>
            <a:ext cx="422275" cy="822325"/>
            <a:chOff x="4230688" y="1919288"/>
            <a:chExt cx="198437" cy="385763"/>
          </a:xfrm>
        </p:grpSpPr>
        <p:sp>
          <p:nvSpPr>
            <p:cNvPr id="13360" name="Freeform 91">
              <a:extLst>
                <a:ext uri="{FF2B5EF4-FFF2-40B4-BE49-F238E27FC236}">
                  <a16:creationId xmlns:a16="http://schemas.microsoft.com/office/drawing/2014/main" id="{E4BEDD93-611E-407B-ADD5-2FB21CF08790}"/>
                </a:ext>
              </a:extLst>
            </p:cNvPr>
            <p:cNvSpPr/>
            <p:nvPr/>
          </p:nvSpPr>
          <p:spPr bwMode="auto">
            <a:xfrm>
              <a:off x="4235450" y="1974851"/>
              <a:ext cx="69850" cy="296863"/>
            </a:xfrm>
            <a:custGeom>
              <a:gdLst>
                <a:gd fmla="*/ 2147483647 w 44" name="T0"/>
                <a:gd fmla="*/ 2147483647 h 187" name="T1"/>
                <a:gd fmla="*/ 2147483647 w 44" name="T2"/>
                <a:gd fmla="*/ 2147483647 h 187" name="T3"/>
                <a:gd fmla="*/ 2147483647 w 44" name="T4"/>
                <a:gd fmla="*/ 2147483647 h 187" name="T5"/>
                <a:gd fmla="*/ 0 w 44" name="T6"/>
                <a:gd fmla="*/ 2147483647 h 187" name="T7"/>
                <a:gd fmla="*/ 0 w 44" name="T8"/>
                <a:gd fmla="*/ 0 h 187" name="T9"/>
                <a:gd fmla="*/ 2147483647 w 44" name="T10"/>
                <a:gd fmla="*/ 0 h 187" name="T11"/>
                <a:gd fmla="*/ 2147483647 w 44" name="T12"/>
                <a:gd fmla="*/ 2147483647 h 187" name="T13"/>
                <a:gd fmla="*/ 0 60000 65536" name="T14"/>
                <a:gd fmla="*/ 0 60000 65536" name="T15"/>
                <a:gd fmla="*/ 0 60000 65536" name="T16"/>
                <a:gd fmla="*/ 0 60000 65536" name="T17"/>
                <a:gd fmla="*/ 0 60000 65536" name="T18"/>
                <a:gd fmla="*/ 0 60000 65536" name="T19"/>
                <a:gd fmla="*/ 0 60000 65536" name="T20"/>
              </a:gdLst>
              <a:cxnLst>
                <a:cxn ang="T14">
                  <a:pos x="T0" y="T1"/>
                </a:cxn>
                <a:cxn ang="T15">
                  <a:pos x="T2" y="T3"/>
                </a:cxn>
                <a:cxn ang="T16">
                  <a:pos x="T4" y="T5"/>
                </a:cxn>
                <a:cxn ang="T17">
                  <a:pos x="T6" y="T7"/>
                </a:cxn>
                <a:cxn ang="T18">
                  <a:pos x="T8" y="T9"/>
                </a:cxn>
                <a:cxn ang="T19">
                  <a:pos x="T10" y="T11"/>
                </a:cxn>
                <a:cxn ang="T20">
                  <a:pos x="T12" y="T13"/>
                </a:cxn>
              </a:cxnLst>
              <a:rect b="b" l="0" r="r" t="0"/>
              <a:pathLst>
                <a:path h="187" w="44">
                  <a:moveTo>
                    <a:pt x="44" y="150"/>
                  </a:moveTo>
                  <a:lnTo>
                    <a:pt x="30" y="187"/>
                  </a:lnTo>
                  <a:lnTo>
                    <a:pt x="13" y="187"/>
                  </a:lnTo>
                  <a:lnTo>
                    <a:pt x="0" y="150"/>
                  </a:lnTo>
                  <a:lnTo>
                    <a:pt x="0" y="0"/>
                  </a:lnTo>
                  <a:lnTo>
                    <a:pt x="44" y="0"/>
                  </a:lnTo>
                  <a:lnTo>
                    <a:pt x="44" y="150"/>
                  </a:lnTo>
                  <a:close/>
                </a:path>
              </a:pathLst>
            </a:custGeom>
            <a:solidFill>
              <a:srgbClr val="F2F2F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3361" name="Freeform 92">
              <a:extLst>
                <a:ext uri="{FF2B5EF4-FFF2-40B4-BE49-F238E27FC236}">
                  <a16:creationId xmlns:a16="http://schemas.microsoft.com/office/drawing/2014/main" id="{652A89BD-840C-4F13-A70C-8AEE8C626DBB}"/>
                </a:ext>
              </a:extLst>
            </p:cNvPr>
            <p:cNvSpPr/>
            <p:nvPr/>
          </p:nvSpPr>
          <p:spPr bwMode="auto">
            <a:xfrm>
              <a:off x="4235450" y="1919288"/>
              <a:ext cx="69850" cy="85725"/>
            </a:xfrm>
            <a:custGeom>
              <a:gdLst>
                <a:gd fmla="*/ 2147483647 w 44" name="T0"/>
                <a:gd fmla="*/ 2147483647 h 54" name="T1"/>
                <a:gd fmla="*/ 2147483647 w 44" name="T2"/>
                <a:gd fmla="*/ 2147483647 h 54" name="T3"/>
                <a:gd fmla="*/ 2147483647 w 44" name="T4"/>
                <a:gd fmla="*/ 2147483647 h 54" name="T5"/>
                <a:gd fmla="*/ 0 w 44" name="T6"/>
                <a:gd fmla="*/ 2147483647 h 54" name="T7"/>
                <a:gd fmla="*/ 0 w 44" name="T8"/>
                <a:gd fmla="*/ 2147483647 h 54" name="T9"/>
                <a:gd fmla="*/ 2147483647 w 44" name="T10"/>
                <a:gd fmla="*/ 2147483647 h 54" name="T11"/>
                <a:gd fmla="*/ 2147483647 w 44" name="T12"/>
                <a:gd fmla="*/ 2147483647 h 54" name="T13"/>
                <a:gd fmla="*/ 2147483647 w 44" name="T14"/>
                <a:gd fmla="*/ 2147483647 h 54" name="T15"/>
                <a:gd fmla="*/ 2147483647 w 44" name="T16"/>
                <a:gd fmla="*/ 2147483647 h 54" name="T17"/>
                <a:gd fmla="*/ 0 60000 65536" name="T18"/>
                <a:gd fmla="*/ 0 60000 65536" name="T19"/>
                <a:gd fmla="*/ 0 60000 65536" name="T20"/>
                <a:gd fmla="*/ 0 60000 65536" name="T21"/>
                <a:gd fmla="*/ 0 60000 65536" name="T22"/>
                <a:gd fmla="*/ 0 60000 65536" name="T23"/>
                <a:gd fmla="*/ 0 60000 65536" name="T24"/>
                <a:gd fmla="*/ 0 60000 65536" name="T25"/>
                <a:gd fmla="*/ 0 60000 65536" name="T26"/>
              </a:gd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b="b" l="0" r="r" t="0"/>
              <a:pathLst>
                <a:path h="54" w="44">
                  <a:moveTo>
                    <a:pt x="44" y="32"/>
                  </a:moveTo>
                  <a:cubicBezTo>
                    <a:pt x="44" y="44"/>
                    <a:pt x="34" y="54"/>
                    <a:pt x="22" y="54"/>
                  </a:cubicBezTo>
                  <a:cubicBezTo>
                    <a:pt x="21" y="54"/>
                    <a:pt x="21" y="54"/>
                    <a:pt x="21" y="54"/>
                  </a:cubicBezTo>
                  <a:cubicBezTo>
                    <a:pt x="9" y="54"/>
                    <a:pt x="0" y="44"/>
                    <a:pt x="0" y="32"/>
                  </a:cubicBezTo>
                  <a:cubicBezTo>
                    <a:pt x="0" y="12"/>
                    <a:pt x="0" y="12"/>
                    <a:pt x="0" y="12"/>
                  </a:cubicBezTo>
                  <a:cubicBezTo>
                    <a:pt x="0" y="0"/>
                    <a:pt x="9" y="3"/>
                    <a:pt x="21" y="3"/>
                  </a:cubicBezTo>
                  <a:cubicBezTo>
                    <a:pt x="22" y="3"/>
                    <a:pt x="22" y="3"/>
                    <a:pt x="22" y="3"/>
                  </a:cubicBezTo>
                  <a:cubicBezTo>
                    <a:pt x="34" y="3"/>
                    <a:pt x="44" y="0"/>
                    <a:pt x="44" y="12"/>
                  </a:cubicBezTo>
                  <a:lnTo>
                    <a:pt x="44" y="32"/>
                  </a:lnTo>
                  <a:close/>
                </a:path>
              </a:pathLst>
            </a:custGeom>
            <a:solidFill>
              <a:srgbClr val="F2F2F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3362" name="Rectangle 93">
              <a:extLst>
                <a:ext uri="{FF2B5EF4-FFF2-40B4-BE49-F238E27FC236}">
                  <a16:creationId xmlns:a16="http://schemas.microsoft.com/office/drawing/2014/main" id="{AE088BC2-3210-47E2-9F48-800BF7874114}"/>
                </a:ext>
              </a:extLst>
            </p:cNvPr>
            <p:cNvSpPr>
              <a:spLocks noChangeArrowheads="1"/>
            </p:cNvSpPr>
            <p:nvPr/>
          </p:nvSpPr>
          <p:spPr bwMode="auto">
            <a:xfrm>
              <a:off x="4230688" y="1954213"/>
              <a:ext cx="77787" cy="74613"/>
            </a:xfrm>
            <a:prstGeom prst="rect">
              <a:avLst/>
            </a:prstGeom>
            <a:solidFill>
              <a:srgbClr val="F2F2F2"/>
            </a:solidFill>
            <a:ln>
              <a:noFill/>
            </a:ln>
            <a:extLst>
              <a:ext uri="{91240B29-F687-4F45-9708-019B960494DF}">
                <a14:hiddenLine w="9525">
                  <a:solidFill>
                    <a:srgbClr val="000000"/>
                  </a:solidFill>
                  <a:miter lim="800000"/>
                  <a:headEnd/>
                  <a:tailEnd/>
                </a14:hiddenLine>
              </a:ext>
            </a:extLst>
          </p:spPr>
          <p:txBody>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3363" name="Freeform 94">
              <a:extLst>
                <a:ext uri="{FF2B5EF4-FFF2-40B4-BE49-F238E27FC236}">
                  <a16:creationId xmlns:a16="http://schemas.microsoft.com/office/drawing/2014/main" id="{863DE08C-5757-4ECF-B739-419FCC394A61}"/>
                </a:ext>
              </a:extLst>
            </p:cNvPr>
            <p:cNvSpPr/>
            <p:nvPr/>
          </p:nvSpPr>
          <p:spPr bwMode="auto">
            <a:xfrm>
              <a:off x="4256088" y="2262188"/>
              <a:ext cx="26987" cy="42863"/>
            </a:xfrm>
            <a:custGeom>
              <a:gdLst>
                <a:gd fmla="*/ 0 w 17" name="T0"/>
                <a:gd fmla="*/ 2147483647 h 27" name="T1"/>
                <a:gd fmla="*/ 2147483647 w 17" name="T2"/>
                <a:gd fmla="*/ 2147483647 h 27" name="T3"/>
                <a:gd fmla="*/ 2147483647 w 17" name="T4"/>
                <a:gd fmla="*/ 2147483647 h 27" name="T5"/>
                <a:gd fmla="*/ 0 w 17" name="T6"/>
                <a:gd fmla="*/ 2147483647 h 27" name="T7"/>
                <a:gd fmla="*/ 0 60000 65536" name="T8"/>
                <a:gd fmla="*/ 0 60000 65536" name="T9"/>
                <a:gd fmla="*/ 0 60000 65536" name="T10"/>
                <a:gd fmla="*/ 0 60000 65536" name="T11"/>
              </a:gdLst>
              <a:cxnLst>
                <a:cxn ang="T8">
                  <a:pos x="T0" y="T1"/>
                </a:cxn>
                <a:cxn ang="T9">
                  <a:pos x="T2" y="T3"/>
                </a:cxn>
                <a:cxn ang="T10">
                  <a:pos x="T4" y="T5"/>
                </a:cxn>
                <a:cxn ang="T11">
                  <a:pos x="T6" y="T7"/>
                </a:cxn>
              </a:cxnLst>
              <a:rect b="b" l="0" r="r" t="0"/>
              <a:pathLst>
                <a:path h="27" w="17">
                  <a:moveTo>
                    <a:pt x="0" y="5"/>
                  </a:moveTo>
                  <a:cubicBezTo>
                    <a:pt x="0" y="5"/>
                    <a:pt x="4" y="17"/>
                    <a:pt x="6" y="21"/>
                  </a:cubicBezTo>
                  <a:cubicBezTo>
                    <a:pt x="8" y="24"/>
                    <a:pt x="10" y="27"/>
                    <a:pt x="17" y="6"/>
                  </a:cubicBezTo>
                  <a:cubicBezTo>
                    <a:pt x="17" y="6"/>
                    <a:pt x="10" y="0"/>
                    <a:pt x="0" y="5"/>
                  </a:cubicBezTo>
                  <a:close/>
                </a:path>
              </a:pathLst>
            </a:custGeom>
            <a:solidFill>
              <a:srgbClr val="F2F2F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3364" name="Freeform 103">
              <a:extLst>
                <a:ext uri="{FF2B5EF4-FFF2-40B4-BE49-F238E27FC236}">
                  <a16:creationId xmlns:a16="http://schemas.microsoft.com/office/drawing/2014/main" id="{AB218B63-FA16-4BBD-8947-694A4B1A8060}"/>
                </a:ext>
              </a:extLst>
            </p:cNvPr>
            <p:cNvSpPr/>
            <p:nvPr/>
          </p:nvSpPr>
          <p:spPr bwMode="auto">
            <a:xfrm>
              <a:off x="4340225" y="1974851"/>
              <a:ext cx="69850" cy="296863"/>
            </a:xfrm>
            <a:custGeom>
              <a:gdLst>
                <a:gd fmla="*/ 2147483647 w 44" name="T0"/>
                <a:gd fmla="*/ 2147483647 h 187" name="T1"/>
                <a:gd fmla="*/ 2147483647 w 44" name="T2"/>
                <a:gd fmla="*/ 2147483647 h 187" name="T3"/>
                <a:gd fmla="*/ 2147483647 w 44" name="T4"/>
                <a:gd fmla="*/ 2147483647 h 187" name="T5"/>
                <a:gd fmla="*/ 0 w 44" name="T6"/>
                <a:gd fmla="*/ 2147483647 h 187" name="T7"/>
                <a:gd fmla="*/ 0 w 44" name="T8"/>
                <a:gd fmla="*/ 0 h 187" name="T9"/>
                <a:gd fmla="*/ 2147483647 w 44" name="T10"/>
                <a:gd fmla="*/ 0 h 187" name="T11"/>
                <a:gd fmla="*/ 2147483647 w 44" name="T12"/>
                <a:gd fmla="*/ 2147483647 h 187" name="T13"/>
                <a:gd fmla="*/ 0 60000 65536" name="T14"/>
                <a:gd fmla="*/ 0 60000 65536" name="T15"/>
                <a:gd fmla="*/ 0 60000 65536" name="T16"/>
                <a:gd fmla="*/ 0 60000 65536" name="T17"/>
                <a:gd fmla="*/ 0 60000 65536" name="T18"/>
                <a:gd fmla="*/ 0 60000 65536" name="T19"/>
                <a:gd fmla="*/ 0 60000 65536" name="T20"/>
              </a:gdLst>
              <a:cxnLst>
                <a:cxn ang="T14">
                  <a:pos x="T0" y="T1"/>
                </a:cxn>
                <a:cxn ang="T15">
                  <a:pos x="T2" y="T3"/>
                </a:cxn>
                <a:cxn ang="T16">
                  <a:pos x="T4" y="T5"/>
                </a:cxn>
                <a:cxn ang="T17">
                  <a:pos x="T6" y="T7"/>
                </a:cxn>
                <a:cxn ang="T18">
                  <a:pos x="T8" y="T9"/>
                </a:cxn>
                <a:cxn ang="T19">
                  <a:pos x="T10" y="T11"/>
                </a:cxn>
                <a:cxn ang="T20">
                  <a:pos x="T12" y="T13"/>
                </a:cxn>
              </a:cxnLst>
              <a:rect b="b" l="0" r="r" t="0"/>
              <a:pathLst>
                <a:path h="187" w="44">
                  <a:moveTo>
                    <a:pt x="44" y="150"/>
                  </a:moveTo>
                  <a:lnTo>
                    <a:pt x="30" y="187"/>
                  </a:lnTo>
                  <a:lnTo>
                    <a:pt x="14" y="187"/>
                  </a:lnTo>
                  <a:lnTo>
                    <a:pt x="0" y="150"/>
                  </a:lnTo>
                  <a:lnTo>
                    <a:pt x="0" y="0"/>
                  </a:lnTo>
                  <a:lnTo>
                    <a:pt x="44" y="0"/>
                  </a:lnTo>
                  <a:lnTo>
                    <a:pt x="44" y="150"/>
                  </a:lnTo>
                  <a:close/>
                </a:path>
              </a:pathLst>
            </a:custGeom>
            <a:solidFill>
              <a:srgbClr val="F2F2F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3365" name="Freeform 104">
              <a:extLst>
                <a:ext uri="{FF2B5EF4-FFF2-40B4-BE49-F238E27FC236}">
                  <a16:creationId xmlns:a16="http://schemas.microsoft.com/office/drawing/2014/main" id="{D2CE058D-D4B9-4ACD-B91B-9CB0564654BE}"/>
                </a:ext>
              </a:extLst>
            </p:cNvPr>
            <p:cNvSpPr/>
            <p:nvPr/>
          </p:nvSpPr>
          <p:spPr bwMode="auto">
            <a:xfrm>
              <a:off x="4340225" y="1919288"/>
              <a:ext cx="69850" cy="85725"/>
            </a:xfrm>
            <a:custGeom>
              <a:gdLst>
                <a:gd fmla="*/ 2147483647 w 44" name="T0"/>
                <a:gd fmla="*/ 2147483647 h 54" name="T1"/>
                <a:gd fmla="*/ 2147483647 w 44" name="T2"/>
                <a:gd fmla="*/ 2147483647 h 54" name="T3"/>
                <a:gd fmla="*/ 2147483647 w 44" name="T4"/>
                <a:gd fmla="*/ 2147483647 h 54" name="T5"/>
                <a:gd fmla="*/ 0 w 44" name="T6"/>
                <a:gd fmla="*/ 2147483647 h 54" name="T7"/>
                <a:gd fmla="*/ 0 w 44" name="T8"/>
                <a:gd fmla="*/ 2147483647 h 54" name="T9"/>
                <a:gd fmla="*/ 2147483647 w 44" name="T10"/>
                <a:gd fmla="*/ 2147483647 h 54" name="T11"/>
                <a:gd fmla="*/ 2147483647 w 44" name="T12"/>
                <a:gd fmla="*/ 2147483647 h 54" name="T13"/>
                <a:gd fmla="*/ 2147483647 w 44" name="T14"/>
                <a:gd fmla="*/ 2147483647 h 54" name="T15"/>
                <a:gd fmla="*/ 2147483647 w 44" name="T16"/>
                <a:gd fmla="*/ 2147483647 h 54" name="T17"/>
                <a:gd fmla="*/ 0 60000 65536" name="T18"/>
                <a:gd fmla="*/ 0 60000 65536" name="T19"/>
                <a:gd fmla="*/ 0 60000 65536" name="T20"/>
                <a:gd fmla="*/ 0 60000 65536" name="T21"/>
                <a:gd fmla="*/ 0 60000 65536" name="T22"/>
                <a:gd fmla="*/ 0 60000 65536" name="T23"/>
                <a:gd fmla="*/ 0 60000 65536" name="T24"/>
                <a:gd fmla="*/ 0 60000 65536" name="T25"/>
                <a:gd fmla="*/ 0 60000 65536" name="T26"/>
              </a:gd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b="b" l="0" r="r" t="0"/>
              <a:pathLst>
                <a:path h="54" w="44">
                  <a:moveTo>
                    <a:pt x="44" y="32"/>
                  </a:moveTo>
                  <a:cubicBezTo>
                    <a:pt x="44" y="44"/>
                    <a:pt x="34" y="54"/>
                    <a:pt x="22" y="54"/>
                  </a:cubicBezTo>
                  <a:cubicBezTo>
                    <a:pt x="22" y="54"/>
                    <a:pt x="22" y="54"/>
                    <a:pt x="22" y="54"/>
                  </a:cubicBezTo>
                  <a:cubicBezTo>
                    <a:pt x="9" y="54"/>
                    <a:pt x="0" y="44"/>
                    <a:pt x="0" y="32"/>
                  </a:cubicBezTo>
                  <a:cubicBezTo>
                    <a:pt x="0" y="12"/>
                    <a:pt x="0" y="12"/>
                    <a:pt x="0" y="12"/>
                  </a:cubicBezTo>
                  <a:cubicBezTo>
                    <a:pt x="0" y="0"/>
                    <a:pt x="9" y="3"/>
                    <a:pt x="22" y="3"/>
                  </a:cubicBezTo>
                  <a:cubicBezTo>
                    <a:pt x="22" y="3"/>
                    <a:pt x="22" y="3"/>
                    <a:pt x="22" y="3"/>
                  </a:cubicBezTo>
                  <a:cubicBezTo>
                    <a:pt x="34" y="3"/>
                    <a:pt x="44" y="0"/>
                    <a:pt x="44" y="12"/>
                  </a:cubicBezTo>
                  <a:lnTo>
                    <a:pt x="44" y="32"/>
                  </a:lnTo>
                  <a:close/>
                </a:path>
              </a:pathLst>
            </a:custGeom>
            <a:solidFill>
              <a:srgbClr val="F2F2F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3366" name="Rectangle 105">
              <a:extLst>
                <a:ext uri="{FF2B5EF4-FFF2-40B4-BE49-F238E27FC236}">
                  <a16:creationId xmlns:a16="http://schemas.microsoft.com/office/drawing/2014/main" id="{069CCFDB-2C26-40FA-9A92-CC7013AD04C7}"/>
                </a:ext>
              </a:extLst>
            </p:cNvPr>
            <p:cNvSpPr>
              <a:spLocks noChangeArrowheads="1"/>
            </p:cNvSpPr>
            <p:nvPr/>
          </p:nvSpPr>
          <p:spPr bwMode="auto">
            <a:xfrm>
              <a:off x="4335463" y="1954213"/>
              <a:ext cx="77787" cy="74613"/>
            </a:xfrm>
            <a:prstGeom prst="rect">
              <a:avLst/>
            </a:prstGeom>
            <a:solidFill>
              <a:srgbClr val="F2F2F2"/>
            </a:solidFill>
            <a:ln>
              <a:noFill/>
            </a:ln>
            <a:extLst>
              <a:ext uri="{91240B29-F687-4F45-9708-019B960494DF}">
                <a14:hiddenLine w="9525">
                  <a:solidFill>
                    <a:srgbClr val="000000"/>
                  </a:solidFill>
                  <a:miter lim="800000"/>
                  <a:headEnd/>
                  <a:tailEnd/>
                </a14:hiddenLine>
              </a:ext>
            </a:extLst>
          </p:spPr>
          <p:txBody>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3367" name="Freeform 106">
              <a:extLst>
                <a:ext uri="{FF2B5EF4-FFF2-40B4-BE49-F238E27FC236}">
                  <a16:creationId xmlns:a16="http://schemas.microsoft.com/office/drawing/2014/main" id="{AA76EE91-146E-452A-8800-09158EA60AD9}"/>
                </a:ext>
              </a:extLst>
            </p:cNvPr>
            <p:cNvSpPr/>
            <p:nvPr/>
          </p:nvSpPr>
          <p:spPr bwMode="auto">
            <a:xfrm>
              <a:off x="4360863" y="2262188"/>
              <a:ext cx="26987" cy="42863"/>
            </a:xfrm>
            <a:custGeom>
              <a:gdLst>
                <a:gd fmla="*/ 0 w 17" name="T0"/>
                <a:gd fmla="*/ 2147483647 h 27" name="T1"/>
                <a:gd fmla="*/ 2147483647 w 17" name="T2"/>
                <a:gd fmla="*/ 2147483647 h 27" name="T3"/>
                <a:gd fmla="*/ 2147483647 w 17" name="T4"/>
                <a:gd fmla="*/ 2147483647 h 27" name="T5"/>
                <a:gd fmla="*/ 0 w 17" name="T6"/>
                <a:gd fmla="*/ 2147483647 h 27" name="T7"/>
                <a:gd fmla="*/ 0 60000 65536" name="T8"/>
                <a:gd fmla="*/ 0 60000 65536" name="T9"/>
                <a:gd fmla="*/ 0 60000 65536" name="T10"/>
                <a:gd fmla="*/ 0 60000 65536" name="T11"/>
              </a:gdLst>
              <a:cxnLst>
                <a:cxn ang="T8">
                  <a:pos x="T0" y="T1"/>
                </a:cxn>
                <a:cxn ang="T9">
                  <a:pos x="T2" y="T3"/>
                </a:cxn>
                <a:cxn ang="T10">
                  <a:pos x="T4" y="T5"/>
                </a:cxn>
                <a:cxn ang="T11">
                  <a:pos x="T6" y="T7"/>
                </a:cxn>
              </a:cxnLst>
              <a:rect b="b" l="0" r="r" t="0"/>
              <a:pathLst>
                <a:path h="27" w="17">
                  <a:moveTo>
                    <a:pt x="0" y="5"/>
                  </a:moveTo>
                  <a:cubicBezTo>
                    <a:pt x="0" y="5"/>
                    <a:pt x="4" y="17"/>
                    <a:pt x="6" y="21"/>
                  </a:cubicBezTo>
                  <a:cubicBezTo>
                    <a:pt x="8" y="24"/>
                    <a:pt x="10" y="27"/>
                    <a:pt x="17" y="6"/>
                  </a:cubicBezTo>
                  <a:cubicBezTo>
                    <a:pt x="17" y="6"/>
                    <a:pt x="10" y="0"/>
                    <a:pt x="0" y="5"/>
                  </a:cubicBezTo>
                  <a:close/>
                </a:path>
              </a:pathLst>
            </a:custGeom>
            <a:solidFill>
              <a:srgbClr val="F2F2F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3368" name="Freeform 107">
              <a:extLst>
                <a:ext uri="{FF2B5EF4-FFF2-40B4-BE49-F238E27FC236}">
                  <a16:creationId xmlns:a16="http://schemas.microsoft.com/office/drawing/2014/main" id="{4BAE8B00-B736-4EBC-AAC1-80B537CE045B}"/>
                </a:ext>
              </a:extLst>
            </p:cNvPr>
            <p:cNvSpPr/>
            <p:nvPr/>
          </p:nvSpPr>
          <p:spPr bwMode="auto">
            <a:xfrm>
              <a:off x="4405313" y="1968501"/>
              <a:ext cx="23812" cy="150813"/>
            </a:xfrm>
            <a:custGeom>
              <a:gdLst>
                <a:gd fmla="*/ 0 w 15" name="T0"/>
                <a:gd fmla="*/ 0 h 94" name="T1"/>
                <a:gd fmla="*/ 2147483647 w 15" name="T2"/>
                <a:gd fmla="*/ 2147483647 h 94" name="T3"/>
                <a:gd fmla="*/ 2147483647 w 15" name="T4"/>
                <a:gd fmla="*/ 2147483647 h 94" name="T5"/>
                <a:gd fmla="*/ 2147483647 w 15" name="T6"/>
                <a:gd fmla="*/ 2147483647 h 94" name="T7"/>
                <a:gd fmla="*/ 2147483647 w 15" name="T8"/>
                <a:gd fmla="*/ 2147483647 h 94" name="T9"/>
                <a:gd fmla="*/ 2147483647 w 15" name="T10"/>
                <a:gd fmla="*/ 2147483647 h 94" name="T11"/>
                <a:gd fmla="*/ 0 w 15" name="T12"/>
                <a:gd fmla="*/ 0 h 94" name="T13"/>
                <a:gd fmla="*/ 0 60000 65536" name="T14"/>
                <a:gd fmla="*/ 0 60000 65536" name="T15"/>
                <a:gd fmla="*/ 0 60000 65536" name="T16"/>
                <a:gd fmla="*/ 0 60000 65536" name="T17"/>
                <a:gd fmla="*/ 0 60000 65536" name="T18"/>
                <a:gd fmla="*/ 0 60000 65536" name="T19"/>
                <a:gd fmla="*/ 0 60000 65536" name="T20"/>
              </a:gdLst>
              <a:cxnLst>
                <a:cxn ang="T14">
                  <a:pos x="T0" y="T1"/>
                </a:cxn>
                <a:cxn ang="T15">
                  <a:pos x="T2" y="T3"/>
                </a:cxn>
                <a:cxn ang="T16">
                  <a:pos x="T4" y="T5"/>
                </a:cxn>
                <a:cxn ang="T17">
                  <a:pos x="T6" y="T7"/>
                </a:cxn>
                <a:cxn ang="T18">
                  <a:pos x="T8" y="T9"/>
                </a:cxn>
                <a:cxn ang="T19">
                  <a:pos x="T10" y="T11"/>
                </a:cxn>
                <a:cxn ang="T20">
                  <a:pos x="T12" y="T13"/>
                </a:cxn>
              </a:cxnLst>
              <a:rect b="b" l="0" r="r" t="0"/>
              <a:pathLst>
                <a:path h="94" w="15">
                  <a:moveTo>
                    <a:pt x="0" y="0"/>
                  </a:moveTo>
                  <a:cubicBezTo>
                    <a:pt x="0" y="0"/>
                    <a:pt x="12" y="6"/>
                    <a:pt x="13" y="11"/>
                  </a:cubicBezTo>
                  <a:cubicBezTo>
                    <a:pt x="14" y="15"/>
                    <a:pt x="14" y="89"/>
                    <a:pt x="14" y="89"/>
                  </a:cubicBezTo>
                  <a:cubicBezTo>
                    <a:pt x="14" y="89"/>
                    <a:pt x="15" y="94"/>
                    <a:pt x="9" y="94"/>
                  </a:cubicBezTo>
                  <a:cubicBezTo>
                    <a:pt x="9" y="33"/>
                    <a:pt x="9" y="33"/>
                    <a:pt x="9" y="33"/>
                  </a:cubicBezTo>
                  <a:cubicBezTo>
                    <a:pt x="4" y="26"/>
                    <a:pt x="4" y="26"/>
                    <a:pt x="4" y="26"/>
                  </a:cubicBezTo>
                  <a:cubicBezTo>
                    <a:pt x="0" y="0"/>
                    <a:pt x="0" y="0"/>
                    <a:pt x="0" y="0"/>
                  </a:cubicBezTo>
                </a:path>
              </a:pathLst>
            </a:custGeom>
            <a:solidFill>
              <a:srgbClr val="F2F2F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grpSp>
      <p:grpSp>
        <p:nvGrpSpPr>
          <p:cNvPr id="13322" name="组合 22">
            <a:extLst>
              <a:ext uri="{FF2B5EF4-FFF2-40B4-BE49-F238E27FC236}">
                <a16:creationId xmlns:a16="http://schemas.microsoft.com/office/drawing/2014/main" id="{E29B01BE-F462-47C6-BCF9-8BA38FEA9861}"/>
              </a:ext>
            </a:extLst>
          </p:cNvPr>
          <p:cNvGrpSpPr/>
          <p:nvPr/>
        </p:nvGrpSpPr>
        <p:grpSpPr>
          <a:xfrm>
            <a:off x="4719638" y="2206251"/>
            <a:ext cx="582612" cy="865188"/>
            <a:chOff x="5057775" y="2416176"/>
            <a:chExt cx="274637" cy="407988"/>
          </a:xfrm>
        </p:grpSpPr>
        <p:sp>
          <p:nvSpPr>
            <p:cNvPr id="13355" name="Oval 114">
              <a:extLst>
                <a:ext uri="{FF2B5EF4-FFF2-40B4-BE49-F238E27FC236}">
                  <a16:creationId xmlns:a16="http://schemas.microsoft.com/office/drawing/2014/main" id="{574212AE-FFC6-4881-A745-A189E21E07FE}"/>
                </a:ext>
              </a:extLst>
            </p:cNvPr>
            <p:cNvSpPr>
              <a:spLocks noChangeArrowheads="1"/>
            </p:cNvSpPr>
            <p:nvPr/>
          </p:nvSpPr>
          <p:spPr bwMode="auto">
            <a:xfrm>
              <a:off x="5153025" y="2451101"/>
              <a:ext cx="92075" cy="93663"/>
            </a:xfrm>
            <a:prstGeom prst="ellipse">
              <a:avLst/>
            </a:prstGeom>
            <a:solidFill>
              <a:srgbClr val="F2F2F2"/>
            </a:solidFill>
            <a:ln>
              <a:noFill/>
            </a:ln>
            <a:extLst>
              <a:ext uri="{91240B29-F687-4F45-9708-019B960494DF}">
                <a14:hiddenLine w="9525">
                  <a:solidFill>
                    <a:srgbClr val="000000"/>
                  </a:solidFill>
                  <a:round/>
                  <a:headEnd/>
                  <a:tailEnd/>
                </a14:hiddenLine>
              </a:ext>
            </a:extLst>
          </p:spPr>
          <p:txBody>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3356" name="Freeform 115">
              <a:extLst>
                <a:ext uri="{FF2B5EF4-FFF2-40B4-BE49-F238E27FC236}">
                  <a16:creationId xmlns:a16="http://schemas.microsoft.com/office/drawing/2014/main" id="{0D060399-F20D-46A5-A6B7-D7CE036B1DD1}"/>
                </a:ext>
              </a:extLst>
            </p:cNvPr>
            <p:cNvSpPr/>
            <p:nvPr/>
          </p:nvSpPr>
          <p:spPr bwMode="auto">
            <a:xfrm>
              <a:off x="5184775" y="2520951"/>
              <a:ext cx="147637" cy="303213"/>
            </a:xfrm>
            <a:custGeom>
              <a:gdLst>
                <a:gd fmla="*/ 0 w 92" name="T0"/>
                <a:gd fmla="*/ 2147483647 h 191" name="T1"/>
                <a:gd fmla="*/ 2147483647 w 92" name="T2"/>
                <a:gd fmla="*/ 2147483647 h 191" name="T3"/>
                <a:gd fmla="*/ 2147483647 w 92" name="T4"/>
                <a:gd fmla="*/ 2147483647 h 191" name="T5"/>
                <a:gd fmla="*/ 2147483647 w 92" name="T6"/>
                <a:gd fmla="*/ 0 h 191" name="T7"/>
                <a:gd fmla="*/ 0 w 92" name="T8"/>
                <a:gd fmla="*/ 2147483647 h 191" name="T9"/>
                <a:gd fmla="*/ 0 60000 65536" name="T10"/>
                <a:gd fmla="*/ 0 60000 65536" name="T11"/>
                <a:gd fmla="*/ 0 60000 65536" name="T12"/>
                <a:gd fmla="*/ 0 60000 65536" name="T13"/>
                <a:gd fmla="*/ 0 60000 65536" name="T14"/>
              </a:gdLst>
              <a:cxnLst>
                <a:cxn ang="T10">
                  <a:pos x="T0" y="T1"/>
                </a:cxn>
                <a:cxn ang="T11">
                  <a:pos x="T2" y="T3"/>
                </a:cxn>
                <a:cxn ang="T12">
                  <a:pos x="T4" y="T5"/>
                </a:cxn>
                <a:cxn ang="T13">
                  <a:pos x="T6" y="T7"/>
                </a:cxn>
                <a:cxn ang="T14">
                  <a:pos x="T8" y="T9"/>
                </a:cxn>
              </a:cxnLst>
              <a:rect b="b" l="0" r="r" t="0"/>
              <a:pathLst>
                <a:path h="191" w="92">
                  <a:moveTo>
                    <a:pt x="0" y="5"/>
                  </a:moveTo>
                  <a:cubicBezTo>
                    <a:pt x="0" y="6"/>
                    <a:pt x="61" y="165"/>
                    <a:pt x="61" y="165"/>
                  </a:cubicBezTo>
                  <a:cubicBezTo>
                    <a:pt x="61" y="165"/>
                    <a:pt x="86" y="191"/>
                    <a:pt x="89" y="191"/>
                  </a:cubicBezTo>
                  <a:cubicBezTo>
                    <a:pt x="92" y="191"/>
                    <a:pt x="20" y="0"/>
                    <a:pt x="20" y="0"/>
                  </a:cubicBezTo>
                  <a:lnTo>
                    <a:pt x="0" y="5"/>
                  </a:lnTo>
                  <a:close/>
                </a:path>
              </a:pathLst>
            </a:custGeom>
            <a:solidFill>
              <a:srgbClr val="F2F2F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3357" name="Freeform 116">
              <a:extLst>
                <a:ext uri="{FF2B5EF4-FFF2-40B4-BE49-F238E27FC236}">
                  <a16:creationId xmlns:a16="http://schemas.microsoft.com/office/drawing/2014/main" id="{5E36AB31-B9D6-4B59-BA29-F8FE9C91BD79}"/>
                </a:ext>
              </a:extLst>
            </p:cNvPr>
            <p:cNvSpPr/>
            <p:nvPr/>
          </p:nvSpPr>
          <p:spPr bwMode="auto">
            <a:xfrm>
              <a:off x="5057775" y="2520951"/>
              <a:ext cx="155575" cy="298450"/>
            </a:xfrm>
            <a:custGeom>
              <a:gdLst>
                <a:gd fmla="*/ 2147483647 w 98" name="T0"/>
                <a:gd fmla="*/ 2147483647 h 188" name="T1"/>
                <a:gd fmla="*/ 2147483647 w 98" name="T2"/>
                <a:gd fmla="*/ 2147483647 h 188" name="T3"/>
                <a:gd fmla="*/ 0 w 98" name="T4"/>
                <a:gd fmla="*/ 2147483647 h 188" name="T5"/>
                <a:gd fmla="*/ 2147483647 w 98" name="T6"/>
                <a:gd fmla="*/ 2147483647 h 188" name="T7"/>
                <a:gd fmla="*/ 2147483647 w 98" name="T8"/>
                <a:gd fmla="*/ 0 h 188" name="T9"/>
                <a:gd fmla="*/ 2147483647 w 98" name="T10"/>
                <a:gd fmla="*/ 2147483647 h 188" name="T11"/>
                <a:gd fmla="*/ 2147483647 w 98" name="T12"/>
                <a:gd fmla="*/ 2147483647 h 188" name="T13"/>
                <a:gd fmla="*/ 0 60000 65536" name="T14"/>
                <a:gd fmla="*/ 0 60000 65536" name="T15"/>
                <a:gd fmla="*/ 0 60000 65536" name="T16"/>
                <a:gd fmla="*/ 0 60000 65536" name="T17"/>
                <a:gd fmla="*/ 0 60000 65536" name="T18"/>
                <a:gd fmla="*/ 0 60000 65536" name="T19"/>
                <a:gd fmla="*/ 0 60000 65536" name="T20"/>
              </a:gdLst>
              <a:cxnLst>
                <a:cxn ang="T14">
                  <a:pos x="T0" y="T1"/>
                </a:cxn>
                <a:cxn ang="T15">
                  <a:pos x="T2" y="T3"/>
                </a:cxn>
                <a:cxn ang="T16">
                  <a:pos x="T4" y="T5"/>
                </a:cxn>
                <a:cxn ang="T17">
                  <a:pos x="T6" y="T7"/>
                </a:cxn>
                <a:cxn ang="T18">
                  <a:pos x="T8" y="T9"/>
                </a:cxn>
                <a:cxn ang="T19">
                  <a:pos x="T10" y="T11"/>
                </a:cxn>
                <a:cxn ang="T20">
                  <a:pos x="T12" y="T13"/>
                </a:cxn>
              </a:cxnLst>
              <a:rect b="b" l="0" r="r" t="0"/>
              <a:pathLst>
                <a:path h="188" w="98">
                  <a:moveTo>
                    <a:pt x="97" y="9"/>
                  </a:moveTo>
                  <a:lnTo>
                    <a:pt x="26" y="162"/>
                  </a:lnTo>
                  <a:lnTo>
                    <a:pt x="0" y="188"/>
                  </a:lnTo>
                  <a:lnTo>
                    <a:pt x="7" y="153"/>
                  </a:lnTo>
                  <a:lnTo>
                    <a:pt x="76" y="0"/>
                  </a:lnTo>
                  <a:lnTo>
                    <a:pt x="98" y="7"/>
                  </a:lnTo>
                  <a:lnTo>
                    <a:pt x="97" y="9"/>
                  </a:lnTo>
                  <a:close/>
                </a:path>
              </a:pathLst>
            </a:custGeom>
            <a:solidFill>
              <a:srgbClr val="F2F2F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3358" name="Freeform 117">
              <a:extLst>
                <a:ext uri="{FF2B5EF4-FFF2-40B4-BE49-F238E27FC236}">
                  <a16:creationId xmlns:a16="http://schemas.microsoft.com/office/drawing/2014/main" id="{05E13402-BE57-4E0A-87CA-7D66D4B10A43}"/>
                </a:ext>
              </a:extLst>
            </p:cNvPr>
            <p:cNvSpPr/>
            <p:nvPr/>
          </p:nvSpPr>
          <p:spPr bwMode="auto">
            <a:xfrm>
              <a:off x="5057775" y="2520951"/>
              <a:ext cx="155575" cy="298450"/>
            </a:xfrm>
            <a:custGeom>
              <a:gdLst>
                <a:gd fmla="*/ 2147483647 w 98" name="T0"/>
                <a:gd fmla="*/ 2147483647 h 188" name="T1"/>
                <a:gd fmla="*/ 2147483647 w 98" name="T2"/>
                <a:gd fmla="*/ 2147483647 h 188" name="T3"/>
                <a:gd fmla="*/ 0 w 98" name="T4"/>
                <a:gd fmla="*/ 2147483647 h 188" name="T5"/>
                <a:gd fmla="*/ 2147483647 w 98" name="T6"/>
                <a:gd fmla="*/ 2147483647 h 188" name="T7"/>
                <a:gd fmla="*/ 2147483647 w 98" name="T8"/>
                <a:gd fmla="*/ 0 h 188" name="T9"/>
                <a:gd fmla="*/ 2147483647 w 98" name="T10"/>
                <a:gd fmla="*/ 2147483647 h 188" name="T11"/>
                <a:gd fmla="*/ 0 60000 65536" name="T12"/>
                <a:gd fmla="*/ 0 60000 65536" name="T13"/>
                <a:gd fmla="*/ 0 60000 65536" name="T14"/>
                <a:gd fmla="*/ 0 60000 65536" name="T15"/>
                <a:gd fmla="*/ 0 60000 65536" name="T16"/>
                <a:gd fmla="*/ 0 60000 65536" name="T17"/>
              </a:gdLst>
              <a:cxnLst>
                <a:cxn ang="T12">
                  <a:pos x="T0" y="T1"/>
                </a:cxn>
                <a:cxn ang="T13">
                  <a:pos x="T2" y="T3"/>
                </a:cxn>
                <a:cxn ang="T14">
                  <a:pos x="T4" y="T5"/>
                </a:cxn>
                <a:cxn ang="T15">
                  <a:pos x="T6" y="T7"/>
                </a:cxn>
                <a:cxn ang="T16">
                  <a:pos x="T8" y="T9"/>
                </a:cxn>
                <a:cxn ang="T17">
                  <a:pos x="T10" y="T11"/>
                </a:cxn>
              </a:cxnLst>
              <a:rect b="b" l="0" r="r" t="0"/>
              <a:pathLst>
                <a:path h="188" w="98">
                  <a:moveTo>
                    <a:pt x="97" y="9"/>
                  </a:moveTo>
                  <a:lnTo>
                    <a:pt x="26" y="162"/>
                  </a:lnTo>
                  <a:lnTo>
                    <a:pt x="0" y="188"/>
                  </a:lnTo>
                  <a:lnTo>
                    <a:pt x="7" y="153"/>
                  </a:lnTo>
                  <a:lnTo>
                    <a:pt x="76" y="0"/>
                  </a:lnTo>
                  <a:lnTo>
                    <a:pt x="98" y="7"/>
                  </a:lnTo>
                </a:path>
              </a:pathLst>
            </a:custGeom>
            <a:noFill/>
            <a:ln>
              <a:noFill/>
            </a:ln>
            <a:extLst>
              <a:ext uri="{909E8E84-426E-40DD-AFC4-6F175D3DCCD1}">
                <a14:hiddenFill>
                  <a:solidFill>
                    <a:srgbClr val="FFFFFF"/>
                  </a:solidFill>
                </a14:hiddenFill>
              </a:ex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3359" name="Freeform 118">
              <a:extLst>
                <a:ext uri="{FF2B5EF4-FFF2-40B4-BE49-F238E27FC236}">
                  <a16:creationId xmlns:a16="http://schemas.microsoft.com/office/drawing/2014/main" id="{4C1EE21E-FF0A-4E9B-9750-9C6AABC7CBBC}"/>
                </a:ext>
              </a:extLst>
            </p:cNvPr>
            <p:cNvSpPr/>
            <p:nvPr/>
          </p:nvSpPr>
          <p:spPr bwMode="auto">
            <a:xfrm>
              <a:off x="5194300" y="2416176"/>
              <a:ext cx="20637" cy="50800"/>
            </a:xfrm>
            <a:custGeom>
              <a:gdLst>
                <a:gd fmla="*/ 2147483647 w 13" name="T0"/>
                <a:gd fmla="*/ 2147483647 h 32" name="T1"/>
                <a:gd fmla="*/ 2147483647 w 13" name="T2"/>
                <a:gd fmla="*/ 2147483647 h 32" name="T3"/>
                <a:gd fmla="*/ 2147483647 w 13" name="T4"/>
                <a:gd fmla="*/ 2147483647 h 32" name="T5"/>
                <a:gd fmla="*/ 0 w 13" name="T6"/>
                <a:gd fmla="*/ 2147483647 h 32" name="T7"/>
                <a:gd fmla="*/ 0 w 13" name="T8"/>
                <a:gd fmla="*/ 2147483647 h 32" name="T9"/>
                <a:gd fmla="*/ 2147483647 w 13" name="T10"/>
                <a:gd fmla="*/ 0 h 32" name="T11"/>
                <a:gd fmla="*/ 2147483647 w 13" name="T12"/>
                <a:gd fmla="*/ 0 h 32" name="T13"/>
                <a:gd fmla="*/ 2147483647 w 13" name="T14"/>
                <a:gd fmla="*/ 2147483647 h 32" name="T15"/>
                <a:gd fmla="*/ 2147483647 w 13" name="T16"/>
                <a:gd fmla="*/ 2147483647 h 32" name="T17"/>
                <a:gd fmla="*/ 0 60000 65536" name="T18"/>
                <a:gd fmla="*/ 0 60000 65536" name="T19"/>
                <a:gd fmla="*/ 0 60000 65536" name="T20"/>
                <a:gd fmla="*/ 0 60000 65536" name="T21"/>
                <a:gd fmla="*/ 0 60000 65536" name="T22"/>
                <a:gd fmla="*/ 0 60000 65536" name="T23"/>
                <a:gd fmla="*/ 0 60000 65536" name="T24"/>
                <a:gd fmla="*/ 0 60000 65536" name="T25"/>
                <a:gd fmla="*/ 0 60000 65536" name="T26"/>
              </a:gd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b="b" l="0" r="r" t="0"/>
              <a:pathLst>
                <a:path h="32" w="13">
                  <a:moveTo>
                    <a:pt x="13" y="27"/>
                  </a:moveTo>
                  <a:cubicBezTo>
                    <a:pt x="13" y="30"/>
                    <a:pt x="11" y="32"/>
                    <a:pt x="8" y="32"/>
                  </a:cubicBezTo>
                  <a:cubicBezTo>
                    <a:pt x="6" y="32"/>
                    <a:pt x="6" y="32"/>
                    <a:pt x="6" y="32"/>
                  </a:cubicBezTo>
                  <a:cubicBezTo>
                    <a:pt x="3" y="32"/>
                    <a:pt x="0" y="30"/>
                    <a:pt x="0" y="27"/>
                  </a:cubicBezTo>
                  <a:cubicBezTo>
                    <a:pt x="0" y="6"/>
                    <a:pt x="0" y="6"/>
                    <a:pt x="0" y="6"/>
                  </a:cubicBezTo>
                  <a:cubicBezTo>
                    <a:pt x="0" y="3"/>
                    <a:pt x="3" y="0"/>
                    <a:pt x="6" y="0"/>
                  </a:cubicBezTo>
                  <a:cubicBezTo>
                    <a:pt x="8" y="0"/>
                    <a:pt x="8" y="0"/>
                    <a:pt x="8" y="0"/>
                  </a:cubicBezTo>
                  <a:cubicBezTo>
                    <a:pt x="11" y="0"/>
                    <a:pt x="13" y="3"/>
                    <a:pt x="13" y="6"/>
                  </a:cubicBezTo>
                  <a:lnTo>
                    <a:pt x="13" y="27"/>
                  </a:lnTo>
                  <a:close/>
                </a:path>
              </a:pathLst>
            </a:custGeom>
            <a:solidFill>
              <a:srgbClr val="F2F2F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grpSp>
      <p:grpSp>
        <p:nvGrpSpPr>
          <p:cNvPr id="13323" name="组合 2">
            <a:extLst>
              <a:ext uri="{FF2B5EF4-FFF2-40B4-BE49-F238E27FC236}">
                <a16:creationId xmlns:a16="http://schemas.microsoft.com/office/drawing/2014/main" id="{70878F58-65CB-4892-A379-F370E304DCC8}"/>
              </a:ext>
            </a:extLst>
          </p:cNvPr>
          <p:cNvGrpSpPr/>
          <p:nvPr/>
        </p:nvGrpSpPr>
        <p:grpSpPr>
          <a:xfrm>
            <a:off x="6321425" y="2244351"/>
            <a:ext cx="882650" cy="788988"/>
            <a:chOff x="8716962" y="2763801"/>
            <a:chExt cx="666750" cy="595313"/>
          </a:xfrm>
        </p:grpSpPr>
        <p:sp>
          <p:nvSpPr>
            <p:cNvPr id="13353" name="Freeform 83">
              <a:extLst>
                <a:ext uri="{FF2B5EF4-FFF2-40B4-BE49-F238E27FC236}">
                  <a16:creationId xmlns:a16="http://schemas.microsoft.com/office/drawing/2014/main" id="{D1299F27-DEFE-4C2B-9E38-2518B83FA4B9}"/>
                </a:ext>
              </a:extLst>
            </p:cNvPr>
            <p:cNvSpPr>
              <a:spLocks noEditPoints="1"/>
            </p:cNvSpPr>
            <p:nvPr/>
          </p:nvSpPr>
          <p:spPr bwMode="auto">
            <a:xfrm>
              <a:off x="8753475" y="2763801"/>
              <a:ext cx="593725" cy="595313"/>
            </a:xfrm>
            <a:custGeom>
              <a:gdLst>
                <a:gd fmla="*/ 2147483647 w 373" name="T0"/>
                <a:gd fmla="*/ 0 h 374" name="T1"/>
                <a:gd fmla="*/ 0 w 373" name="T2"/>
                <a:gd fmla="*/ 2147483647 h 374" name="T3"/>
                <a:gd fmla="*/ 2147483647 w 373" name="T4"/>
                <a:gd fmla="*/ 2147483647 h 374" name="T5"/>
                <a:gd fmla="*/ 2147483647 w 373" name="T6"/>
                <a:gd fmla="*/ 2147483647 h 374" name="T7"/>
                <a:gd fmla="*/ 2147483647 w 373" name="T8"/>
                <a:gd fmla="*/ 0 h 374" name="T9"/>
                <a:gd fmla="*/ 2147483647 w 373" name="T10"/>
                <a:gd fmla="*/ 2147483647 h 374" name="T11"/>
                <a:gd fmla="*/ 2147483647 w 373" name="T12"/>
                <a:gd fmla="*/ 2147483647 h 374" name="T13"/>
                <a:gd fmla="*/ 2147483647 w 373" name="T14"/>
                <a:gd fmla="*/ 2147483647 h 374" name="T15"/>
                <a:gd fmla="*/ 2147483647 w 373" name="T16"/>
                <a:gd fmla="*/ 2147483647 h 374" name="T17"/>
                <a:gd fmla="*/ 2147483647 w 373" name="T18"/>
                <a:gd fmla="*/ 2147483647 h 374" name="T19"/>
                <a:gd fmla="*/ 0 60000 65536" name="T20"/>
                <a:gd fmla="*/ 0 60000 65536" name="T21"/>
                <a:gd fmla="*/ 0 60000 65536" name="T22"/>
                <a:gd fmla="*/ 0 60000 65536" name="T23"/>
                <a:gd fmla="*/ 0 60000 65536" name="T24"/>
                <a:gd fmla="*/ 0 60000 65536" name="T25"/>
                <a:gd fmla="*/ 0 60000 65536" name="T26"/>
                <a:gd fmla="*/ 0 60000 65536" name="T27"/>
                <a:gd fmla="*/ 0 60000 65536" name="T28"/>
                <a:gd fmla="*/ 0 60000 65536" name="T29"/>
              </a:gd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b="b" l="0" r="r" t="0"/>
              <a:pathLst>
                <a:path h="374" w="373">
                  <a:moveTo>
                    <a:pt x="187" y="0"/>
                  </a:moveTo>
                  <a:cubicBezTo>
                    <a:pt x="83" y="0"/>
                    <a:pt x="0" y="84"/>
                    <a:pt x="0" y="187"/>
                  </a:cubicBezTo>
                  <a:cubicBezTo>
                    <a:pt x="0" y="290"/>
                    <a:pt x="83" y="374"/>
                    <a:pt x="187" y="374"/>
                  </a:cubicBezTo>
                  <a:cubicBezTo>
                    <a:pt x="290" y="374"/>
                    <a:pt x="373" y="290"/>
                    <a:pt x="373" y="187"/>
                  </a:cubicBezTo>
                  <a:cubicBezTo>
                    <a:pt x="373" y="84"/>
                    <a:pt x="290" y="0"/>
                    <a:pt x="187" y="0"/>
                  </a:cubicBezTo>
                  <a:close/>
                  <a:moveTo>
                    <a:pt x="187" y="365"/>
                  </a:moveTo>
                  <a:cubicBezTo>
                    <a:pt x="88" y="365"/>
                    <a:pt x="8" y="286"/>
                    <a:pt x="8" y="187"/>
                  </a:cubicBezTo>
                  <a:cubicBezTo>
                    <a:pt x="8" y="89"/>
                    <a:pt x="88" y="9"/>
                    <a:pt x="187" y="9"/>
                  </a:cubicBezTo>
                  <a:cubicBezTo>
                    <a:pt x="285" y="9"/>
                    <a:pt x="365" y="89"/>
                    <a:pt x="365" y="187"/>
                  </a:cubicBezTo>
                  <a:cubicBezTo>
                    <a:pt x="365" y="286"/>
                    <a:pt x="285" y="365"/>
                    <a:pt x="187" y="365"/>
                  </a:cubicBezTo>
                  <a:close/>
                </a:path>
              </a:pathLst>
            </a:custGeom>
            <a:solidFill>
              <a:srgbClr val="F2F2F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3354" name="Freeform 84">
              <a:extLst>
                <a:ext uri="{FF2B5EF4-FFF2-40B4-BE49-F238E27FC236}">
                  <a16:creationId xmlns:a16="http://schemas.microsoft.com/office/drawing/2014/main" id="{2F1C8F79-578A-4E39-8674-D736FB40ABD5}"/>
                </a:ext>
              </a:extLst>
            </p:cNvPr>
            <p:cNvSpPr/>
            <p:nvPr/>
          </p:nvSpPr>
          <p:spPr bwMode="auto">
            <a:xfrm>
              <a:off x="8716962" y="2768563"/>
              <a:ext cx="666750" cy="585788"/>
            </a:xfrm>
            <a:custGeom>
              <a:gdLst>
                <a:gd fmla="*/ 2147483647 w 419" name="T0"/>
                <a:gd fmla="*/ 2147483647 h 368" name="T1"/>
                <a:gd fmla="*/ 2147483647 w 419" name="T2"/>
                <a:gd fmla="*/ 2147483647 h 368" name="T3"/>
                <a:gd fmla="*/ 2147483647 w 419" name="T4"/>
                <a:gd fmla="*/ 2147483647 h 368" name="T5"/>
                <a:gd fmla="*/ 2147483647 w 419" name="T6"/>
                <a:gd fmla="*/ 2147483647 h 368" name="T7"/>
                <a:gd fmla="*/ 2147483647 w 419" name="T8"/>
                <a:gd fmla="*/ 2147483647 h 368" name="T9"/>
                <a:gd fmla="*/ 2147483647 w 419" name="T10"/>
                <a:gd fmla="*/ 2147483647 h 368" name="T11"/>
                <a:gd fmla="*/ 2147483647 w 419" name="T12"/>
                <a:gd fmla="*/ 2147483647 h 368" name="T13"/>
                <a:gd fmla="*/ 2147483647 w 419" name="T14"/>
                <a:gd fmla="*/ 2147483647 h 368" name="T15"/>
                <a:gd fmla="*/ 2147483647 w 419" name="T16"/>
                <a:gd fmla="*/ 2147483647 h 368" name="T17"/>
                <a:gd fmla="*/ 2147483647 w 419" name="T18"/>
                <a:gd fmla="*/ 2147483647 h 368" name="T19"/>
                <a:gd fmla="*/ 2147483647 w 419" name="T20"/>
                <a:gd fmla="*/ 2147483647 h 368" name="T21"/>
                <a:gd fmla="*/ 2147483647 w 419" name="T22"/>
                <a:gd fmla="*/ 2147483647 h 368" name="T23"/>
                <a:gd fmla="*/ 2147483647 w 419" name="T24"/>
                <a:gd fmla="*/ 2147483647 h 368" name="T25"/>
                <a:gd fmla="*/ 2147483647 w 419" name="T26"/>
                <a:gd fmla="*/ 2147483647 h 368" name="T27"/>
                <a:gd fmla="*/ 2147483647 w 419" name="T28"/>
                <a:gd fmla="*/ 2147483647 h 368" name="T29"/>
                <a:gd fmla="*/ 2147483647 w 419" name="T30"/>
                <a:gd fmla="*/ 2147483647 h 368" name="T31"/>
                <a:gd fmla="*/ 2147483647 w 419" name="T32"/>
                <a:gd fmla="*/ 2147483647 h 368" name="T33"/>
                <a:gd fmla="*/ 2147483647 w 419" name="T34"/>
                <a:gd fmla="*/ 2147483647 h 368" name="T35"/>
                <a:gd fmla="*/ 2147483647 w 419" name="T36"/>
                <a:gd fmla="*/ 2147483647 h 368" name="T37"/>
                <a:gd fmla="*/ 2147483647 w 419" name="T38"/>
                <a:gd fmla="*/ 2147483647 h 368" name="T39"/>
                <a:gd fmla="*/ 2147483647 w 419" name="T40"/>
                <a:gd fmla="*/ 2147483647 h 368" name="T41"/>
                <a:gd fmla="*/ 2147483647 w 419" name="T42"/>
                <a:gd fmla="*/ 2147483647 h 368" name="T43"/>
                <a:gd fmla="*/ 2147483647 w 419" name="T44"/>
                <a:gd fmla="*/ 2147483647 h 368" name="T45"/>
                <a:gd fmla="*/ 2147483647 w 419" name="T46"/>
                <a:gd fmla="*/ 2147483647 h 368" name="T47"/>
                <a:gd fmla="*/ 2147483647 w 419" name="T48"/>
                <a:gd fmla="*/ 2147483647 h 368" name="T49"/>
                <a:gd fmla="*/ 2147483647 w 419" name="T50"/>
                <a:gd fmla="*/ 2147483647 h 368" name="T51"/>
                <a:gd fmla="*/ 2147483647 w 419" name="T52"/>
                <a:gd fmla="*/ 2147483647 h 368" name="T53"/>
                <a:gd fmla="*/ 2147483647 w 419" name="T54"/>
                <a:gd fmla="*/ 2147483647 h 368" name="T55"/>
                <a:gd fmla="*/ 2147483647 w 419" name="T56"/>
                <a:gd fmla="*/ 2147483647 h 368" name="T57"/>
                <a:gd fmla="*/ 2147483647 w 419" name="T58"/>
                <a:gd fmla="*/ 2147483647 h 368" name="T59"/>
                <a:gd fmla="*/ 2147483647 w 419" name="T60"/>
                <a:gd fmla="*/ 2147483647 h 368" name="T61"/>
                <a:gd fmla="*/ 2147483647 w 419" name="T62"/>
                <a:gd fmla="*/ 2147483647 h 368" name="T63"/>
                <a:gd fmla="*/ 2147483647 w 419" name="T64"/>
                <a:gd fmla="*/ 2147483647 h 368" name="T65"/>
                <a:gd fmla="*/ 2147483647 w 419" name="T66"/>
                <a:gd fmla="*/ 2147483647 h 368" name="T67"/>
                <a:gd fmla="*/ 2147483647 w 419" name="T68"/>
                <a:gd fmla="*/ 2147483647 h 368" name="T69"/>
                <a:gd fmla="*/ 2147483647 w 419" name="T70"/>
                <a:gd fmla="*/ 2147483647 h 368" name="T71"/>
                <a:gd fmla="*/ 2147483647 w 419" name="T72"/>
                <a:gd fmla="*/ 2147483647 h 368" name="T73"/>
                <a:gd fmla="*/ 2147483647 w 419" name="T74"/>
                <a:gd fmla="*/ 2147483647 h 368" name="T75"/>
                <a:gd fmla="*/ 2147483647 w 419" name="T76"/>
                <a:gd fmla="*/ 2147483647 h 368" name="T77"/>
                <a:gd fmla="*/ 2147483647 w 419" name="T78"/>
                <a:gd fmla="*/ 2147483647 h 368" name="T79"/>
                <a:gd fmla="*/ 2147483647 w 419" name="T80"/>
                <a:gd fmla="*/ 2147483647 h 368" name="T81"/>
                <a:gd fmla="*/ 2147483647 w 419" name="T82"/>
                <a:gd fmla="*/ 2147483647 h 368" name="T83"/>
                <a:gd fmla="*/ 2147483647 w 419" name="T84"/>
                <a:gd fmla="*/ 2147483647 h 368" name="T85"/>
                <a:gd fmla="*/ 2147483647 w 419" name="T86"/>
                <a:gd fmla="*/ 2147483647 h 368" name="T87"/>
                <a:gd fmla="*/ 2147483647 w 419" name="T88"/>
                <a:gd fmla="*/ 2147483647 h 368" name="T89"/>
                <a:gd fmla="*/ 2147483647 w 419" name="T90"/>
                <a:gd fmla="*/ 2147483647 h 368" name="T91"/>
                <a:gd fmla="*/ 2147483647 w 419" name="T92"/>
                <a:gd fmla="*/ 2147483647 h 368" name="T93"/>
                <a:gd fmla="*/ 2147483647 w 419" name="T94"/>
                <a:gd fmla="*/ 2147483647 h 368" name="T95"/>
                <a:gd fmla="*/ 2147483647 w 419" name="T96"/>
                <a:gd fmla="*/ 2147483647 h 368" name="T97"/>
                <a:gd fmla="*/ 2147483647 w 419" name="T98"/>
                <a:gd fmla="*/ 2147483647 h 368" name="T99"/>
                <a:gd fmla="*/ 2147483647 w 419" name="T100"/>
                <a:gd fmla="*/ 2147483647 h 368" name="T101"/>
                <a:gd fmla="*/ 2147483647 w 419" name="T102"/>
                <a:gd fmla="*/ 2147483647 h 368" name="T103"/>
                <a:gd fmla="*/ 2147483647 w 419" name="T104"/>
                <a:gd fmla="*/ 2147483647 h 368" name="T105"/>
                <a:gd fmla="*/ 2147483647 w 419" name="T106"/>
                <a:gd fmla="*/ 2147483647 h 368" name="T107"/>
                <a:gd fmla="*/ 2147483647 w 419" name="T108"/>
                <a:gd fmla="*/ 2147483647 h 368" name="T109"/>
                <a:gd fmla="*/ 2147483647 w 419" name="T110"/>
                <a:gd fmla="*/ 2147483647 h 368" name="T111"/>
                <a:gd fmla="*/ 2147483647 w 419" name="T112"/>
                <a:gd fmla="*/ 2147483647 h 368" name="T113"/>
                <a:gd fmla="*/ 2147483647 w 419" name="T114"/>
                <a:gd fmla="*/ 2147483647 h 368" name="T115"/>
                <a:gd fmla="*/ 2147483647 w 419" name="T116"/>
                <a:gd fmla="*/ 2147483647 h 368" name="T117"/>
                <a:gd fmla="*/ 2147483647 w 419" name="T118"/>
                <a:gd fmla="*/ 2147483647 h 368" name="T119"/>
                <a:gd fmla="*/ 2147483647 w 419" name="T120"/>
                <a:gd fmla="*/ 2147483647 h 368" name="T121"/>
                <a:gd fmla="*/ 2147483647 w 419" name="T122"/>
                <a:gd fmla="*/ 2147483647 h 368"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 fmla="*/ 0 60000 65536" name="T168"/>
                <a:gd fmla="*/ 0 60000 65536" name="T169"/>
                <a:gd fmla="*/ 0 60000 65536" name="T170"/>
                <a:gd fmla="*/ 0 60000 65536" name="T171"/>
                <a:gd fmla="*/ 0 60000 65536" name="T172"/>
                <a:gd fmla="*/ 0 60000 65536" name="T173"/>
                <a:gd fmla="*/ 0 60000 65536" name="T174"/>
                <a:gd fmla="*/ 0 60000 65536" name="T175"/>
                <a:gd fmla="*/ 0 60000 65536" name="T176"/>
                <a:gd fmla="*/ 0 60000 65536" name="T177"/>
                <a:gd fmla="*/ 0 60000 65536" name="T178"/>
                <a:gd fmla="*/ 0 60000 65536" name="T179"/>
                <a:gd fmla="*/ 0 60000 65536" name="T180"/>
                <a:gd fmla="*/ 0 60000 65536" name="T181"/>
                <a:gd fmla="*/ 0 60000 65536" name="T182"/>
                <a:gd fmla="*/ 0 60000 65536" name="T183"/>
                <a:gd fmla="*/ 0 60000 65536" name="T184"/>
                <a:gd fmla="*/ 0 60000 65536" name="T185"/>
              </a:gd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b="b" l="0" r="r" t="0"/>
              <a:pathLst>
                <a:path h="368" w="419">
                  <a:moveTo>
                    <a:pt x="170" y="2"/>
                  </a:moveTo>
                  <a:cubicBezTo>
                    <a:pt x="170" y="2"/>
                    <a:pt x="107" y="10"/>
                    <a:pt x="64" y="59"/>
                  </a:cubicBezTo>
                  <a:cubicBezTo>
                    <a:pt x="64" y="59"/>
                    <a:pt x="97" y="25"/>
                    <a:pt x="117" y="25"/>
                  </a:cubicBezTo>
                  <a:cubicBezTo>
                    <a:pt x="122" y="27"/>
                    <a:pt x="122" y="27"/>
                    <a:pt x="122" y="27"/>
                  </a:cubicBezTo>
                  <a:cubicBezTo>
                    <a:pt x="122" y="27"/>
                    <a:pt x="121" y="29"/>
                    <a:pt x="121" y="29"/>
                  </a:cubicBezTo>
                  <a:cubicBezTo>
                    <a:pt x="120" y="30"/>
                    <a:pt x="117" y="33"/>
                    <a:pt x="117" y="34"/>
                  </a:cubicBezTo>
                  <a:cubicBezTo>
                    <a:pt x="117" y="35"/>
                    <a:pt x="118" y="38"/>
                    <a:pt x="118" y="38"/>
                  </a:cubicBezTo>
                  <a:cubicBezTo>
                    <a:pt x="116" y="40"/>
                    <a:pt x="116" y="40"/>
                    <a:pt x="116" y="40"/>
                  </a:cubicBezTo>
                  <a:cubicBezTo>
                    <a:pt x="116" y="40"/>
                    <a:pt x="115" y="40"/>
                    <a:pt x="114" y="41"/>
                  </a:cubicBezTo>
                  <a:cubicBezTo>
                    <a:pt x="114" y="42"/>
                    <a:pt x="113" y="42"/>
                    <a:pt x="113" y="43"/>
                  </a:cubicBezTo>
                  <a:cubicBezTo>
                    <a:pt x="113" y="45"/>
                    <a:pt x="113" y="47"/>
                    <a:pt x="113" y="47"/>
                  </a:cubicBezTo>
                  <a:cubicBezTo>
                    <a:pt x="114" y="51"/>
                    <a:pt x="114" y="51"/>
                    <a:pt x="114" y="51"/>
                  </a:cubicBezTo>
                  <a:cubicBezTo>
                    <a:pt x="112" y="53"/>
                    <a:pt x="112" y="53"/>
                    <a:pt x="112" y="53"/>
                  </a:cubicBezTo>
                  <a:cubicBezTo>
                    <a:pt x="110" y="54"/>
                    <a:pt x="110" y="54"/>
                    <a:pt x="110" y="54"/>
                  </a:cubicBezTo>
                  <a:cubicBezTo>
                    <a:pt x="110" y="54"/>
                    <a:pt x="106" y="55"/>
                    <a:pt x="105" y="54"/>
                  </a:cubicBezTo>
                  <a:cubicBezTo>
                    <a:pt x="104" y="54"/>
                    <a:pt x="103" y="51"/>
                    <a:pt x="103" y="51"/>
                  </a:cubicBezTo>
                  <a:cubicBezTo>
                    <a:pt x="107" y="49"/>
                    <a:pt x="107" y="49"/>
                    <a:pt x="107" y="49"/>
                  </a:cubicBezTo>
                  <a:cubicBezTo>
                    <a:pt x="107" y="49"/>
                    <a:pt x="108" y="48"/>
                    <a:pt x="106" y="48"/>
                  </a:cubicBezTo>
                  <a:cubicBezTo>
                    <a:pt x="105" y="47"/>
                    <a:pt x="106" y="45"/>
                    <a:pt x="104" y="45"/>
                  </a:cubicBezTo>
                  <a:cubicBezTo>
                    <a:pt x="102" y="46"/>
                    <a:pt x="99" y="48"/>
                    <a:pt x="99" y="48"/>
                  </a:cubicBezTo>
                  <a:cubicBezTo>
                    <a:pt x="96" y="50"/>
                    <a:pt x="96" y="50"/>
                    <a:pt x="96" y="50"/>
                  </a:cubicBezTo>
                  <a:cubicBezTo>
                    <a:pt x="96" y="50"/>
                    <a:pt x="94" y="54"/>
                    <a:pt x="95" y="54"/>
                  </a:cubicBezTo>
                  <a:cubicBezTo>
                    <a:pt x="95" y="54"/>
                    <a:pt x="97" y="55"/>
                    <a:pt x="97" y="55"/>
                  </a:cubicBezTo>
                  <a:cubicBezTo>
                    <a:pt x="97" y="55"/>
                    <a:pt x="97" y="56"/>
                    <a:pt x="97" y="57"/>
                  </a:cubicBezTo>
                  <a:cubicBezTo>
                    <a:pt x="97" y="58"/>
                    <a:pt x="96" y="61"/>
                    <a:pt x="96" y="61"/>
                  </a:cubicBezTo>
                  <a:cubicBezTo>
                    <a:pt x="96" y="61"/>
                    <a:pt x="96" y="62"/>
                    <a:pt x="94" y="61"/>
                  </a:cubicBezTo>
                  <a:cubicBezTo>
                    <a:pt x="91" y="61"/>
                    <a:pt x="90" y="60"/>
                    <a:pt x="88" y="60"/>
                  </a:cubicBezTo>
                  <a:cubicBezTo>
                    <a:pt x="87" y="60"/>
                    <a:pt x="86" y="59"/>
                    <a:pt x="84" y="59"/>
                  </a:cubicBezTo>
                  <a:cubicBezTo>
                    <a:pt x="83" y="60"/>
                    <a:pt x="83" y="60"/>
                    <a:pt x="82" y="61"/>
                  </a:cubicBezTo>
                  <a:cubicBezTo>
                    <a:pt x="82" y="61"/>
                    <a:pt x="78" y="64"/>
                    <a:pt x="78" y="64"/>
                  </a:cubicBezTo>
                  <a:cubicBezTo>
                    <a:pt x="78" y="64"/>
                    <a:pt x="76" y="65"/>
                    <a:pt x="76" y="66"/>
                  </a:cubicBezTo>
                  <a:cubicBezTo>
                    <a:pt x="76" y="66"/>
                    <a:pt x="75" y="70"/>
                    <a:pt x="75" y="70"/>
                  </a:cubicBezTo>
                  <a:cubicBezTo>
                    <a:pt x="75" y="70"/>
                    <a:pt x="74" y="71"/>
                    <a:pt x="71" y="72"/>
                  </a:cubicBezTo>
                  <a:cubicBezTo>
                    <a:pt x="68" y="72"/>
                    <a:pt x="67" y="73"/>
                    <a:pt x="67" y="73"/>
                  </a:cubicBezTo>
                  <a:cubicBezTo>
                    <a:pt x="66" y="76"/>
                    <a:pt x="66" y="76"/>
                    <a:pt x="66" y="76"/>
                  </a:cubicBezTo>
                  <a:cubicBezTo>
                    <a:pt x="66" y="76"/>
                    <a:pt x="64" y="78"/>
                    <a:pt x="62" y="80"/>
                  </a:cubicBezTo>
                  <a:cubicBezTo>
                    <a:pt x="61" y="82"/>
                    <a:pt x="56" y="85"/>
                    <a:pt x="56" y="85"/>
                  </a:cubicBezTo>
                  <a:cubicBezTo>
                    <a:pt x="55" y="85"/>
                    <a:pt x="53" y="87"/>
                    <a:pt x="53" y="89"/>
                  </a:cubicBezTo>
                  <a:cubicBezTo>
                    <a:pt x="52" y="91"/>
                    <a:pt x="52" y="93"/>
                    <a:pt x="51" y="94"/>
                  </a:cubicBezTo>
                  <a:cubicBezTo>
                    <a:pt x="51" y="95"/>
                    <a:pt x="50" y="97"/>
                    <a:pt x="50" y="99"/>
                  </a:cubicBezTo>
                  <a:cubicBezTo>
                    <a:pt x="50" y="101"/>
                    <a:pt x="48" y="103"/>
                    <a:pt x="48" y="104"/>
                  </a:cubicBezTo>
                  <a:cubicBezTo>
                    <a:pt x="47" y="104"/>
                    <a:pt x="45" y="106"/>
                    <a:pt x="45" y="106"/>
                  </a:cubicBezTo>
                  <a:cubicBezTo>
                    <a:pt x="44" y="106"/>
                    <a:pt x="40" y="107"/>
                    <a:pt x="39" y="108"/>
                  </a:cubicBezTo>
                  <a:cubicBezTo>
                    <a:pt x="38" y="109"/>
                    <a:pt x="37" y="111"/>
                    <a:pt x="37" y="112"/>
                  </a:cubicBezTo>
                  <a:cubicBezTo>
                    <a:pt x="37" y="112"/>
                    <a:pt x="39" y="114"/>
                    <a:pt x="40" y="114"/>
                  </a:cubicBezTo>
                  <a:cubicBezTo>
                    <a:pt x="40" y="114"/>
                    <a:pt x="42" y="115"/>
                    <a:pt x="42" y="115"/>
                  </a:cubicBezTo>
                  <a:cubicBezTo>
                    <a:pt x="42" y="115"/>
                    <a:pt x="42" y="118"/>
                    <a:pt x="42" y="119"/>
                  </a:cubicBezTo>
                  <a:cubicBezTo>
                    <a:pt x="42" y="119"/>
                    <a:pt x="41" y="122"/>
                    <a:pt x="42" y="122"/>
                  </a:cubicBezTo>
                  <a:cubicBezTo>
                    <a:pt x="44" y="122"/>
                    <a:pt x="46" y="123"/>
                    <a:pt x="46" y="123"/>
                  </a:cubicBezTo>
                  <a:cubicBezTo>
                    <a:pt x="49" y="124"/>
                    <a:pt x="49" y="124"/>
                    <a:pt x="49" y="124"/>
                  </a:cubicBezTo>
                  <a:cubicBezTo>
                    <a:pt x="52" y="126"/>
                    <a:pt x="52" y="126"/>
                    <a:pt x="52" y="126"/>
                  </a:cubicBezTo>
                  <a:cubicBezTo>
                    <a:pt x="54" y="127"/>
                    <a:pt x="54" y="127"/>
                    <a:pt x="54" y="127"/>
                  </a:cubicBezTo>
                  <a:cubicBezTo>
                    <a:pt x="54" y="127"/>
                    <a:pt x="53" y="129"/>
                    <a:pt x="53" y="130"/>
                  </a:cubicBezTo>
                  <a:cubicBezTo>
                    <a:pt x="53" y="130"/>
                    <a:pt x="52" y="132"/>
                    <a:pt x="51" y="131"/>
                  </a:cubicBezTo>
                  <a:cubicBezTo>
                    <a:pt x="50" y="131"/>
                    <a:pt x="51" y="131"/>
                    <a:pt x="50" y="130"/>
                  </a:cubicBezTo>
                  <a:cubicBezTo>
                    <a:pt x="49" y="128"/>
                    <a:pt x="50" y="128"/>
                    <a:pt x="48" y="127"/>
                  </a:cubicBezTo>
                  <a:cubicBezTo>
                    <a:pt x="47" y="127"/>
                    <a:pt x="45" y="128"/>
                    <a:pt x="44" y="128"/>
                  </a:cubicBezTo>
                  <a:cubicBezTo>
                    <a:pt x="44" y="127"/>
                    <a:pt x="43" y="127"/>
                    <a:pt x="42" y="126"/>
                  </a:cubicBezTo>
                  <a:cubicBezTo>
                    <a:pt x="41" y="125"/>
                    <a:pt x="40" y="127"/>
                    <a:pt x="41" y="125"/>
                  </a:cubicBezTo>
                  <a:cubicBezTo>
                    <a:pt x="41" y="123"/>
                    <a:pt x="42" y="122"/>
                    <a:pt x="41" y="122"/>
                  </a:cubicBezTo>
                  <a:cubicBezTo>
                    <a:pt x="41" y="121"/>
                    <a:pt x="39" y="119"/>
                    <a:pt x="39" y="119"/>
                  </a:cubicBezTo>
                  <a:cubicBezTo>
                    <a:pt x="38" y="119"/>
                    <a:pt x="39" y="121"/>
                    <a:pt x="38" y="119"/>
                  </a:cubicBezTo>
                  <a:cubicBezTo>
                    <a:pt x="36" y="117"/>
                    <a:pt x="36" y="116"/>
                    <a:pt x="35" y="117"/>
                  </a:cubicBezTo>
                  <a:cubicBezTo>
                    <a:pt x="34" y="117"/>
                    <a:pt x="33" y="117"/>
                    <a:pt x="33" y="116"/>
                  </a:cubicBezTo>
                  <a:cubicBezTo>
                    <a:pt x="33" y="115"/>
                    <a:pt x="34" y="113"/>
                    <a:pt x="34" y="112"/>
                  </a:cubicBezTo>
                  <a:cubicBezTo>
                    <a:pt x="34" y="111"/>
                    <a:pt x="35" y="109"/>
                    <a:pt x="35" y="108"/>
                  </a:cubicBezTo>
                  <a:cubicBezTo>
                    <a:pt x="35" y="107"/>
                    <a:pt x="36" y="102"/>
                    <a:pt x="36" y="102"/>
                  </a:cubicBezTo>
                  <a:cubicBezTo>
                    <a:pt x="36" y="102"/>
                    <a:pt x="30" y="113"/>
                    <a:pt x="28" y="122"/>
                  </a:cubicBezTo>
                  <a:cubicBezTo>
                    <a:pt x="28" y="122"/>
                    <a:pt x="30" y="122"/>
                    <a:pt x="30" y="123"/>
                  </a:cubicBezTo>
                  <a:cubicBezTo>
                    <a:pt x="30" y="124"/>
                    <a:pt x="31" y="126"/>
                    <a:pt x="30" y="127"/>
                  </a:cubicBezTo>
                  <a:cubicBezTo>
                    <a:pt x="30" y="129"/>
                    <a:pt x="30" y="128"/>
                    <a:pt x="30" y="133"/>
                  </a:cubicBezTo>
                  <a:cubicBezTo>
                    <a:pt x="30" y="138"/>
                    <a:pt x="31" y="139"/>
                    <a:pt x="31" y="140"/>
                  </a:cubicBezTo>
                  <a:cubicBezTo>
                    <a:pt x="30" y="142"/>
                    <a:pt x="29" y="144"/>
                    <a:pt x="29" y="145"/>
                  </a:cubicBezTo>
                  <a:cubicBezTo>
                    <a:pt x="29" y="147"/>
                    <a:pt x="30" y="151"/>
                    <a:pt x="31" y="152"/>
                  </a:cubicBezTo>
                  <a:cubicBezTo>
                    <a:pt x="31" y="153"/>
                    <a:pt x="31" y="153"/>
                    <a:pt x="32" y="154"/>
                  </a:cubicBezTo>
                  <a:cubicBezTo>
                    <a:pt x="33" y="155"/>
                    <a:pt x="31" y="158"/>
                    <a:pt x="33" y="155"/>
                  </a:cubicBezTo>
                  <a:cubicBezTo>
                    <a:pt x="35" y="152"/>
                    <a:pt x="36" y="150"/>
                    <a:pt x="36" y="150"/>
                  </a:cubicBezTo>
                  <a:cubicBezTo>
                    <a:pt x="38" y="148"/>
                    <a:pt x="38" y="148"/>
                    <a:pt x="38" y="148"/>
                  </a:cubicBezTo>
                  <a:cubicBezTo>
                    <a:pt x="38" y="148"/>
                    <a:pt x="38" y="146"/>
                    <a:pt x="40" y="147"/>
                  </a:cubicBezTo>
                  <a:cubicBezTo>
                    <a:pt x="43" y="147"/>
                    <a:pt x="44" y="147"/>
                    <a:pt x="44" y="148"/>
                  </a:cubicBezTo>
                  <a:cubicBezTo>
                    <a:pt x="45" y="149"/>
                    <a:pt x="43" y="152"/>
                    <a:pt x="45" y="152"/>
                  </a:cubicBezTo>
                  <a:cubicBezTo>
                    <a:pt x="46" y="152"/>
                    <a:pt x="50" y="150"/>
                    <a:pt x="52" y="151"/>
                  </a:cubicBezTo>
                  <a:cubicBezTo>
                    <a:pt x="53" y="151"/>
                    <a:pt x="54" y="151"/>
                    <a:pt x="55" y="153"/>
                  </a:cubicBezTo>
                  <a:cubicBezTo>
                    <a:pt x="55" y="155"/>
                    <a:pt x="56" y="158"/>
                    <a:pt x="57" y="159"/>
                  </a:cubicBezTo>
                  <a:cubicBezTo>
                    <a:pt x="58" y="159"/>
                    <a:pt x="58" y="162"/>
                    <a:pt x="59" y="164"/>
                  </a:cubicBezTo>
                  <a:cubicBezTo>
                    <a:pt x="59" y="165"/>
                    <a:pt x="63" y="166"/>
                    <a:pt x="64" y="166"/>
                  </a:cubicBezTo>
                  <a:cubicBezTo>
                    <a:pt x="65" y="166"/>
                    <a:pt x="69" y="167"/>
                    <a:pt x="70" y="168"/>
                  </a:cubicBezTo>
                  <a:cubicBezTo>
                    <a:pt x="71" y="168"/>
                    <a:pt x="70" y="170"/>
                    <a:pt x="72" y="171"/>
                  </a:cubicBezTo>
                  <a:cubicBezTo>
                    <a:pt x="75" y="171"/>
                    <a:pt x="75" y="176"/>
                    <a:pt x="75" y="176"/>
                  </a:cubicBezTo>
                  <a:cubicBezTo>
                    <a:pt x="75" y="176"/>
                    <a:pt x="76" y="180"/>
                    <a:pt x="76" y="181"/>
                  </a:cubicBezTo>
                  <a:cubicBezTo>
                    <a:pt x="75" y="182"/>
                    <a:pt x="75" y="184"/>
                    <a:pt x="77" y="184"/>
                  </a:cubicBezTo>
                  <a:cubicBezTo>
                    <a:pt x="78" y="185"/>
                    <a:pt x="82" y="185"/>
                    <a:pt x="82" y="185"/>
                  </a:cubicBezTo>
                  <a:cubicBezTo>
                    <a:pt x="82" y="185"/>
                    <a:pt x="80" y="188"/>
                    <a:pt x="83" y="189"/>
                  </a:cubicBezTo>
                  <a:cubicBezTo>
                    <a:pt x="86" y="190"/>
                    <a:pt x="89" y="191"/>
                    <a:pt x="90" y="192"/>
                  </a:cubicBezTo>
                  <a:cubicBezTo>
                    <a:pt x="91" y="193"/>
                    <a:pt x="88" y="195"/>
                    <a:pt x="92" y="195"/>
                  </a:cubicBezTo>
                  <a:cubicBezTo>
                    <a:pt x="96" y="195"/>
                    <a:pt x="99" y="194"/>
                    <a:pt x="101" y="195"/>
                  </a:cubicBezTo>
                  <a:cubicBezTo>
                    <a:pt x="102" y="197"/>
                    <a:pt x="101" y="199"/>
                    <a:pt x="106" y="201"/>
                  </a:cubicBezTo>
                  <a:cubicBezTo>
                    <a:pt x="110" y="204"/>
                    <a:pt x="112" y="205"/>
                    <a:pt x="113" y="205"/>
                  </a:cubicBezTo>
                  <a:cubicBezTo>
                    <a:pt x="114" y="206"/>
                    <a:pt x="116" y="206"/>
                    <a:pt x="116" y="209"/>
                  </a:cubicBezTo>
                  <a:cubicBezTo>
                    <a:pt x="115" y="213"/>
                    <a:pt x="114" y="215"/>
                    <a:pt x="113" y="216"/>
                  </a:cubicBezTo>
                  <a:cubicBezTo>
                    <a:pt x="111" y="218"/>
                    <a:pt x="109" y="222"/>
                    <a:pt x="108" y="224"/>
                  </a:cubicBezTo>
                  <a:cubicBezTo>
                    <a:pt x="106" y="225"/>
                    <a:pt x="105" y="228"/>
                    <a:pt x="106" y="230"/>
                  </a:cubicBezTo>
                  <a:cubicBezTo>
                    <a:pt x="108" y="232"/>
                    <a:pt x="109" y="235"/>
                    <a:pt x="109" y="236"/>
                  </a:cubicBezTo>
                  <a:cubicBezTo>
                    <a:pt x="109" y="238"/>
                    <a:pt x="110" y="242"/>
                    <a:pt x="109" y="244"/>
                  </a:cubicBezTo>
                  <a:cubicBezTo>
                    <a:pt x="108" y="245"/>
                    <a:pt x="106" y="249"/>
                    <a:pt x="106" y="249"/>
                  </a:cubicBezTo>
                  <a:cubicBezTo>
                    <a:pt x="106" y="249"/>
                    <a:pt x="109" y="251"/>
                    <a:pt x="107" y="253"/>
                  </a:cubicBezTo>
                  <a:cubicBezTo>
                    <a:pt x="105" y="256"/>
                    <a:pt x="101" y="258"/>
                    <a:pt x="100" y="259"/>
                  </a:cubicBezTo>
                  <a:cubicBezTo>
                    <a:pt x="98" y="259"/>
                    <a:pt x="94" y="263"/>
                    <a:pt x="94" y="263"/>
                  </a:cubicBezTo>
                  <a:cubicBezTo>
                    <a:pt x="94" y="263"/>
                    <a:pt x="95" y="270"/>
                    <a:pt x="94" y="271"/>
                  </a:cubicBezTo>
                  <a:cubicBezTo>
                    <a:pt x="94" y="273"/>
                    <a:pt x="88" y="284"/>
                    <a:pt x="90" y="286"/>
                  </a:cubicBezTo>
                  <a:cubicBezTo>
                    <a:pt x="92" y="289"/>
                    <a:pt x="92" y="292"/>
                    <a:pt x="92" y="294"/>
                  </a:cubicBezTo>
                  <a:cubicBezTo>
                    <a:pt x="91" y="295"/>
                    <a:pt x="90" y="295"/>
                    <a:pt x="90" y="296"/>
                  </a:cubicBezTo>
                  <a:cubicBezTo>
                    <a:pt x="89" y="298"/>
                    <a:pt x="85" y="297"/>
                    <a:pt x="88" y="301"/>
                  </a:cubicBezTo>
                  <a:cubicBezTo>
                    <a:pt x="90" y="305"/>
                    <a:pt x="92" y="306"/>
                    <a:pt x="93" y="308"/>
                  </a:cubicBezTo>
                  <a:cubicBezTo>
                    <a:pt x="94" y="310"/>
                    <a:pt x="94" y="311"/>
                    <a:pt x="95" y="313"/>
                  </a:cubicBezTo>
                  <a:cubicBezTo>
                    <a:pt x="97" y="316"/>
                    <a:pt x="98" y="318"/>
                    <a:pt x="100" y="320"/>
                  </a:cubicBezTo>
                  <a:cubicBezTo>
                    <a:pt x="102" y="321"/>
                    <a:pt x="104" y="322"/>
                    <a:pt x="104" y="324"/>
                  </a:cubicBezTo>
                  <a:cubicBezTo>
                    <a:pt x="104" y="326"/>
                    <a:pt x="108" y="331"/>
                    <a:pt x="103" y="328"/>
                  </a:cubicBezTo>
                  <a:cubicBezTo>
                    <a:pt x="98" y="324"/>
                    <a:pt x="103" y="327"/>
                    <a:pt x="96" y="322"/>
                  </a:cubicBezTo>
                  <a:cubicBezTo>
                    <a:pt x="90" y="316"/>
                    <a:pt x="88" y="319"/>
                    <a:pt x="85" y="315"/>
                  </a:cubicBezTo>
                  <a:cubicBezTo>
                    <a:pt x="82" y="312"/>
                    <a:pt x="86" y="324"/>
                    <a:pt x="81" y="310"/>
                  </a:cubicBezTo>
                  <a:cubicBezTo>
                    <a:pt x="76" y="295"/>
                    <a:pt x="74" y="297"/>
                    <a:pt x="73" y="294"/>
                  </a:cubicBezTo>
                  <a:cubicBezTo>
                    <a:pt x="71" y="291"/>
                    <a:pt x="72" y="294"/>
                    <a:pt x="68" y="287"/>
                  </a:cubicBezTo>
                  <a:cubicBezTo>
                    <a:pt x="64" y="280"/>
                    <a:pt x="68" y="285"/>
                    <a:pt x="64" y="280"/>
                  </a:cubicBezTo>
                  <a:cubicBezTo>
                    <a:pt x="61" y="275"/>
                    <a:pt x="61" y="282"/>
                    <a:pt x="59" y="273"/>
                  </a:cubicBezTo>
                  <a:cubicBezTo>
                    <a:pt x="57" y="265"/>
                    <a:pt x="57" y="271"/>
                    <a:pt x="55" y="261"/>
                  </a:cubicBezTo>
                  <a:cubicBezTo>
                    <a:pt x="52" y="252"/>
                    <a:pt x="56" y="251"/>
                    <a:pt x="51" y="247"/>
                  </a:cubicBezTo>
                  <a:cubicBezTo>
                    <a:pt x="46" y="242"/>
                    <a:pt x="46" y="245"/>
                    <a:pt x="45" y="241"/>
                  </a:cubicBezTo>
                  <a:cubicBezTo>
                    <a:pt x="43" y="238"/>
                    <a:pt x="45" y="241"/>
                    <a:pt x="41" y="233"/>
                  </a:cubicBezTo>
                  <a:cubicBezTo>
                    <a:pt x="36" y="225"/>
                    <a:pt x="30" y="222"/>
                    <a:pt x="30" y="208"/>
                  </a:cubicBezTo>
                  <a:cubicBezTo>
                    <a:pt x="30" y="195"/>
                    <a:pt x="30" y="192"/>
                    <a:pt x="30" y="192"/>
                  </a:cubicBezTo>
                  <a:cubicBezTo>
                    <a:pt x="30" y="192"/>
                    <a:pt x="24" y="187"/>
                    <a:pt x="26" y="179"/>
                  </a:cubicBezTo>
                  <a:cubicBezTo>
                    <a:pt x="28" y="171"/>
                    <a:pt x="29" y="174"/>
                    <a:pt x="28" y="171"/>
                  </a:cubicBezTo>
                  <a:cubicBezTo>
                    <a:pt x="27" y="168"/>
                    <a:pt x="27" y="169"/>
                    <a:pt x="24" y="166"/>
                  </a:cubicBezTo>
                  <a:cubicBezTo>
                    <a:pt x="22" y="163"/>
                    <a:pt x="22" y="163"/>
                    <a:pt x="21" y="161"/>
                  </a:cubicBezTo>
                  <a:cubicBezTo>
                    <a:pt x="21" y="159"/>
                    <a:pt x="20" y="155"/>
                    <a:pt x="20" y="155"/>
                  </a:cubicBezTo>
                  <a:cubicBezTo>
                    <a:pt x="18" y="156"/>
                    <a:pt x="18" y="156"/>
                    <a:pt x="18" y="156"/>
                  </a:cubicBezTo>
                  <a:cubicBezTo>
                    <a:pt x="18" y="156"/>
                    <a:pt x="0" y="336"/>
                    <a:pt x="179" y="363"/>
                  </a:cubicBezTo>
                  <a:cubicBezTo>
                    <a:pt x="179" y="363"/>
                    <a:pt x="138" y="354"/>
                    <a:pt x="134" y="346"/>
                  </a:cubicBezTo>
                  <a:cubicBezTo>
                    <a:pt x="134" y="346"/>
                    <a:pt x="134" y="338"/>
                    <a:pt x="135" y="338"/>
                  </a:cubicBezTo>
                  <a:cubicBezTo>
                    <a:pt x="137" y="338"/>
                    <a:pt x="140" y="339"/>
                    <a:pt x="142" y="337"/>
                  </a:cubicBezTo>
                  <a:cubicBezTo>
                    <a:pt x="145" y="335"/>
                    <a:pt x="148" y="333"/>
                    <a:pt x="148" y="333"/>
                  </a:cubicBezTo>
                  <a:cubicBezTo>
                    <a:pt x="148" y="336"/>
                    <a:pt x="148" y="336"/>
                    <a:pt x="148" y="336"/>
                  </a:cubicBezTo>
                  <a:cubicBezTo>
                    <a:pt x="148" y="336"/>
                    <a:pt x="146" y="336"/>
                    <a:pt x="154" y="335"/>
                  </a:cubicBezTo>
                  <a:cubicBezTo>
                    <a:pt x="162" y="334"/>
                    <a:pt x="162" y="335"/>
                    <a:pt x="165" y="333"/>
                  </a:cubicBezTo>
                  <a:cubicBezTo>
                    <a:pt x="168" y="332"/>
                    <a:pt x="171" y="326"/>
                    <a:pt x="173" y="330"/>
                  </a:cubicBezTo>
                  <a:cubicBezTo>
                    <a:pt x="175" y="333"/>
                    <a:pt x="171" y="332"/>
                    <a:pt x="175" y="333"/>
                  </a:cubicBezTo>
                  <a:cubicBezTo>
                    <a:pt x="179" y="335"/>
                    <a:pt x="186" y="333"/>
                    <a:pt x="186" y="333"/>
                  </a:cubicBezTo>
                  <a:cubicBezTo>
                    <a:pt x="186" y="333"/>
                    <a:pt x="198" y="333"/>
                    <a:pt x="200" y="332"/>
                  </a:cubicBezTo>
                  <a:cubicBezTo>
                    <a:pt x="201" y="331"/>
                    <a:pt x="201" y="329"/>
                    <a:pt x="203" y="329"/>
                  </a:cubicBezTo>
                  <a:cubicBezTo>
                    <a:pt x="205" y="330"/>
                    <a:pt x="206" y="333"/>
                    <a:pt x="206" y="333"/>
                  </a:cubicBezTo>
                  <a:cubicBezTo>
                    <a:pt x="200" y="337"/>
                    <a:pt x="200" y="337"/>
                    <a:pt x="200" y="337"/>
                  </a:cubicBezTo>
                  <a:cubicBezTo>
                    <a:pt x="193" y="342"/>
                    <a:pt x="193" y="342"/>
                    <a:pt x="193" y="342"/>
                  </a:cubicBezTo>
                  <a:cubicBezTo>
                    <a:pt x="193" y="342"/>
                    <a:pt x="190" y="342"/>
                    <a:pt x="193" y="344"/>
                  </a:cubicBezTo>
                  <a:cubicBezTo>
                    <a:pt x="195" y="345"/>
                    <a:pt x="197" y="345"/>
                    <a:pt x="200" y="345"/>
                  </a:cubicBezTo>
                  <a:cubicBezTo>
                    <a:pt x="203" y="345"/>
                    <a:pt x="210" y="351"/>
                    <a:pt x="212" y="348"/>
                  </a:cubicBezTo>
                  <a:cubicBezTo>
                    <a:pt x="213" y="344"/>
                    <a:pt x="214" y="344"/>
                    <a:pt x="215" y="342"/>
                  </a:cubicBezTo>
                  <a:cubicBezTo>
                    <a:pt x="216" y="339"/>
                    <a:pt x="216" y="337"/>
                    <a:pt x="219" y="337"/>
                  </a:cubicBezTo>
                  <a:cubicBezTo>
                    <a:pt x="222" y="337"/>
                    <a:pt x="225" y="338"/>
                    <a:pt x="225" y="338"/>
                  </a:cubicBezTo>
                  <a:cubicBezTo>
                    <a:pt x="222" y="343"/>
                    <a:pt x="222" y="343"/>
                    <a:pt x="222" y="343"/>
                  </a:cubicBezTo>
                  <a:cubicBezTo>
                    <a:pt x="222" y="343"/>
                    <a:pt x="227" y="343"/>
                    <a:pt x="229" y="343"/>
                  </a:cubicBezTo>
                  <a:cubicBezTo>
                    <a:pt x="232" y="343"/>
                    <a:pt x="232" y="346"/>
                    <a:pt x="235" y="343"/>
                  </a:cubicBezTo>
                  <a:cubicBezTo>
                    <a:pt x="238" y="340"/>
                    <a:pt x="238" y="340"/>
                    <a:pt x="241" y="340"/>
                  </a:cubicBezTo>
                  <a:cubicBezTo>
                    <a:pt x="244" y="339"/>
                    <a:pt x="249" y="338"/>
                    <a:pt x="250" y="339"/>
                  </a:cubicBezTo>
                  <a:cubicBezTo>
                    <a:pt x="251" y="339"/>
                    <a:pt x="254" y="339"/>
                    <a:pt x="255" y="339"/>
                  </a:cubicBezTo>
                  <a:cubicBezTo>
                    <a:pt x="256" y="339"/>
                    <a:pt x="263" y="344"/>
                    <a:pt x="264" y="343"/>
                  </a:cubicBezTo>
                  <a:cubicBezTo>
                    <a:pt x="265" y="342"/>
                    <a:pt x="273" y="343"/>
                    <a:pt x="273" y="343"/>
                  </a:cubicBezTo>
                  <a:cubicBezTo>
                    <a:pt x="273" y="343"/>
                    <a:pt x="252" y="362"/>
                    <a:pt x="208" y="363"/>
                  </a:cubicBezTo>
                  <a:cubicBezTo>
                    <a:pt x="208" y="363"/>
                    <a:pt x="307" y="368"/>
                    <a:pt x="363" y="271"/>
                  </a:cubicBezTo>
                  <a:cubicBezTo>
                    <a:pt x="419" y="174"/>
                    <a:pt x="380" y="49"/>
                    <a:pt x="252" y="6"/>
                  </a:cubicBezTo>
                  <a:cubicBezTo>
                    <a:pt x="252" y="6"/>
                    <a:pt x="348" y="41"/>
                    <a:pt x="373" y="133"/>
                  </a:cubicBezTo>
                  <a:cubicBezTo>
                    <a:pt x="372" y="134"/>
                    <a:pt x="372" y="134"/>
                    <a:pt x="372" y="134"/>
                  </a:cubicBezTo>
                  <a:cubicBezTo>
                    <a:pt x="370" y="132"/>
                    <a:pt x="370" y="133"/>
                    <a:pt x="368" y="129"/>
                  </a:cubicBezTo>
                  <a:cubicBezTo>
                    <a:pt x="366" y="125"/>
                    <a:pt x="367" y="125"/>
                    <a:pt x="366" y="122"/>
                  </a:cubicBezTo>
                  <a:cubicBezTo>
                    <a:pt x="364" y="119"/>
                    <a:pt x="364" y="122"/>
                    <a:pt x="362" y="119"/>
                  </a:cubicBezTo>
                  <a:cubicBezTo>
                    <a:pt x="360" y="116"/>
                    <a:pt x="360" y="116"/>
                    <a:pt x="358" y="114"/>
                  </a:cubicBezTo>
                  <a:cubicBezTo>
                    <a:pt x="356" y="113"/>
                    <a:pt x="354" y="107"/>
                    <a:pt x="353" y="105"/>
                  </a:cubicBezTo>
                  <a:cubicBezTo>
                    <a:pt x="352" y="104"/>
                    <a:pt x="348" y="103"/>
                    <a:pt x="346" y="103"/>
                  </a:cubicBezTo>
                  <a:cubicBezTo>
                    <a:pt x="345" y="102"/>
                    <a:pt x="345" y="100"/>
                    <a:pt x="345" y="102"/>
                  </a:cubicBezTo>
                  <a:cubicBezTo>
                    <a:pt x="344" y="104"/>
                    <a:pt x="347" y="108"/>
                    <a:pt x="347" y="108"/>
                  </a:cubicBezTo>
                  <a:cubicBezTo>
                    <a:pt x="347" y="115"/>
                    <a:pt x="347" y="115"/>
                    <a:pt x="347" y="115"/>
                  </a:cubicBezTo>
                  <a:cubicBezTo>
                    <a:pt x="347" y="115"/>
                    <a:pt x="350" y="121"/>
                    <a:pt x="350" y="123"/>
                  </a:cubicBezTo>
                  <a:cubicBezTo>
                    <a:pt x="350" y="125"/>
                    <a:pt x="348" y="129"/>
                    <a:pt x="348" y="129"/>
                  </a:cubicBezTo>
                  <a:cubicBezTo>
                    <a:pt x="348" y="129"/>
                    <a:pt x="347" y="134"/>
                    <a:pt x="345" y="135"/>
                  </a:cubicBezTo>
                  <a:cubicBezTo>
                    <a:pt x="343" y="136"/>
                    <a:pt x="333" y="138"/>
                    <a:pt x="333" y="138"/>
                  </a:cubicBezTo>
                  <a:cubicBezTo>
                    <a:pt x="333" y="138"/>
                    <a:pt x="330" y="134"/>
                    <a:pt x="329" y="131"/>
                  </a:cubicBezTo>
                  <a:cubicBezTo>
                    <a:pt x="327" y="128"/>
                    <a:pt x="322" y="128"/>
                    <a:pt x="321" y="126"/>
                  </a:cubicBezTo>
                  <a:cubicBezTo>
                    <a:pt x="320" y="125"/>
                    <a:pt x="322" y="122"/>
                    <a:pt x="319" y="119"/>
                  </a:cubicBezTo>
                  <a:cubicBezTo>
                    <a:pt x="317" y="116"/>
                    <a:pt x="319" y="116"/>
                    <a:pt x="316" y="113"/>
                  </a:cubicBezTo>
                  <a:cubicBezTo>
                    <a:pt x="313" y="110"/>
                    <a:pt x="313" y="110"/>
                    <a:pt x="313" y="110"/>
                  </a:cubicBezTo>
                  <a:cubicBezTo>
                    <a:pt x="313" y="110"/>
                    <a:pt x="305" y="108"/>
                    <a:pt x="307" y="112"/>
                  </a:cubicBezTo>
                  <a:cubicBezTo>
                    <a:pt x="310" y="116"/>
                    <a:pt x="307" y="121"/>
                    <a:pt x="309" y="122"/>
                  </a:cubicBezTo>
                  <a:cubicBezTo>
                    <a:pt x="311" y="122"/>
                    <a:pt x="313" y="120"/>
                    <a:pt x="314" y="124"/>
                  </a:cubicBezTo>
                  <a:cubicBezTo>
                    <a:pt x="316" y="128"/>
                    <a:pt x="316" y="130"/>
                    <a:pt x="318" y="131"/>
                  </a:cubicBezTo>
                  <a:cubicBezTo>
                    <a:pt x="319" y="132"/>
                    <a:pt x="319" y="138"/>
                    <a:pt x="321" y="138"/>
                  </a:cubicBezTo>
                  <a:cubicBezTo>
                    <a:pt x="323" y="139"/>
                    <a:pt x="327" y="138"/>
                    <a:pt x="327" y="140"/>
                  </a:cubicBezTo>
                  <a:cubicBezTo>
                    <a:pt x="327" y="143"/>
                    <a:pt x="324" y="146"/>
                    <a:pt x="327" y="146"/>
                  </a:cubicBezTo>
                  <a:cubicBezTo>
                    <a:pt x="330" y="147"/>
                    <a:pt x="330" y="149"/>
                    <a:pt x="332" y="148"/>
                  </a:cubicBezTo>
                  <a:cubicBezTo>
                    <a:pt x="334" y="148"/>
                    <a:pt x="333" y="149"/>
                    <a:pt x="336" y="147"/>
                  </a:cubicBezTo>
                  <a:cubicBezTo>
                    <a:pt x="339" y="146"/>
                    <a:pt x="342" y="146"/>
                    <a:pt x="342" y="146"/>
                  </a:cubicBezTo>
                  <a:cubicBezTo>
                    <a:pt x="342" y="146"/>
                    <a:pt x="346" y="149"/>
                    <a:pt x="346" y="150"/>
                  </a:cubicBezTo>
                  <a:cubicBezTo>
                    <a:pt x="346" y="152"/>
                    <a:pt x="345" y="159"/>
                    <a:pt x="345" y="159"/>
                  </a:cubicBezTo>
                  <a:cubicBezTo>
                    <a:pt x="341" y="166"/>
                    <a:pt x="341" y="166"/>
                    <a:pt x="341" y="166"/>
                  </a:cubicBezTo>
                  <a:cubicBezTo>
                    <a:pt x="341" y="166"/>
                    <a:pt x="342" y="179"/>
                    <a:pt x="339" y="179"/>
                  </a:cubicBezTo>
                  <a:cubicBezTo>
                    <a:pt x="337" y="179"/>
                    <a:pt x="335" y="185"/>
                    <a:pt x="333" y="185"/>
                  </a:cubicBezTo>
                  <a:cubicBezTo>
                    <a:pt x="332" y="186"/>
                    <a:pt x="332" y="195"/>
                    <a:pt x="332" y="195"/>
                  </a:cubicBezTo>
                  <a:cubicBezTo>
                    <a:pt x="328" y="199"/>
                    <a:pt x="328" y="199"/>
                    <a:pt x="328" y="199"/>
                  </a:cubicBezTo>
                  <a:cubicBezTo>
                    <a:pt x="328" y="199"/>
                    <a:pt x="327" y="206"/>
                    <a:pt x="328" y="208"/>
                  </a:cubicBezTo>
                  <a:cubicBezTo>
                    <a:pt x="328" y="209"/>
                    <a:pt x="329" y="216"/>
                    <a:pt x="328" y="220"/>
                  </a:cubicBezTo>
                  <a:cubicBezTo>
                    <a:pt x="327" y="223"/>
                    <a:pt x="323" y="226"/>
                    <a:pt x="323" y="226"/>
                  </a:cubicBezTo>
                  <a:cubicBezTo>
                    <a:pt x="323" y="226"/>
                    <a:pt x="329" y="232"/>
                    <a:pt x="326" y="233"/>
                  </a:cubicBezTo>
                  <a:cubicBezTo>
                    <a:pt x="322" y="234"/>
                    <a:pt x="319" y="239"/>
                    <a:pt x="318" y="241"/>
                  </a:cubicBezTo>
                  <a:cubicBezTo>
                    <a:pt x="317" y="242"/>
                    <a:pt x="318" y="244"/>
                    <a:pt x="316" y="245"/>
                  </a:cubicBezTo>
                  <a:cubicBezTo>
                    <a:pt x="313" y="245"/>
                    <a:pt x="310" y="246"/>
                    <a:pt x="310" y="247"/>
                  </a:cubicBezTo>
                  <a:cubicBezTo>
                    <a:pt x="310" y="248"/>
                    <a:pt x="310" y="253"/>
                    <a:pt x="310" y="253"/>
                  </a:cubicBezTo>
                  <a:cubicBezTo>
                    <a:pt x="303" y="263"/>
                    <a:pt x="303" y="263"/>
                    <a:pt x="303" y="263"/>
                  </a:cubicBezTo>
                  <a:cubicBezTo>
                    <a:pt x="295" y="270"/>
                    <a:pt x="295" y="270"/>
                    <a:pt x="295" y="270"/>
                  </a:cubicBezTo>
                  <a:cubicBezTo>
                    <a:pt x="295" y="270"/>
                    <a:pt x="295" y="275"/>
                    <a:pt x="293" y="275"/>
                  </a:cubicBezTo>
                  <a:cubicBezTo>
                    <a:pt x="290" y="276"/>
                    <a:pt x="282" y="279"/>
                    <a:pt x="280" y="280"/>
                  </a:cubicBezTo>
                  <a:cubicBezTo>
                    <a:pt x="279" y="282"/>
                    <a:pt x="273" y="285"/>
                    <a:pt x="271" y="285"/>
                  </a:cubicBezTo>
                  <a:cubicBezTo>
                    <a:pt x="268" y="285"/>
                    <a:pt x="272" y="291"/>
                    <a:pt x="268" y="285"/>
                  </a:cubicBezTo>
                  <a:cubicBezTo>
                    <a:pt x="265" y="279"/>
                    <a:pt x="268" y="282"/>
                    <a:pt x="265" y="276"/>
                  </a:cubicBezTo>
                  <a:cubicBezTo>
                    <a:pt x="262" y="269"/>
                    <a:pt x="262" y="274"/>
                    <a:pt x="262" y="269"/>
                  </a:cubicBezTo>
                  <a:cubicBezTo>
                    <a:pt x="262" y="264"/>
                    <a:pt x="262" y="268"/>
                    <a:pt x="262" y="264"/>
                  </a:cubicBezTo>
                  <a:cubicBezTo>
                    <a:pt x="261" y="259"/>
                    <a:pt x="263" y="262"/>
                    <a:pt x="260" y="257"/>
                  </a:cubicBezTo>
                  <a:cubicBezTo>
                    <a:pt x="258" y="251"/>
                    <a:pt x="258" y="253"/>
                    <a:pt x="255" y="250"/>
                  </a:cubicBezTo>
                  <a:cubicBezTo>
                    <a:pt x="251" y="246"/>
                    <a:pt x="249" y="250"/>
                    <a:pt x="251" y="244"/>
                  </a:cubicBezTo>
                  <a:cubicBezTo>
                    <a:pt x="253" y="238"/>
                    <a:pt x="252" y="244"/>
                    <a:pt x="253" y="238"/>
                  </a:cubicBezTo>
                  <a:cubicBezTo>
                    <a:pt x="254" y="233"/>
                    <a:pt x="253" y="232"/>
                    <a:pt x="256" y="229"/>
                  </a:cubicBezTo>
                  <a:cubicBezTo>
                    <a:pt x="259" y="227"/>
                    <a:pt x="262" y="226"/>
                    <a:pt x="262" y="223"/>
                  </a:cubicBezTo>
                  <a:cubicBezTo>
                    <a:pt x="262" y="220"/>
                    <a:pt x="262" y="218"/>
                    <a:pt x="261" y="216"/>
                  </a:cubicBezTo>
                  <a:cubicBezTo>
                    <a:pt x="260" y="214"/>
                    <a:pt x="256" y="211"/>
                    <a:pt x="256" y="209"/>
                  </a:cubicBezTo>
                  <a:cubicBezTo>
                    <a:pt x="256" y="208"/>
                    <a:pt x="256" y="209"/>
                    <a:pt x="253" y="205"/>
                  </a:cubicBezTo>
                  <a:cubicBezTo>
                    <a:pt x="250" y="201"/>
                    <a:pt x="249" y="199"/>
                    <a:pt x="249" y="199"/>
                  </a:cubicBezTo>
                  <a:cubicBezTo>
                    <a:pt x="249" y="199"/>
                    <a:pt x="248" y="190"/>
                    <a:pt x="248" y="187"/>
                  </a:cubicBezTo>
                  <a:cubicBezTo>
                    <a:pt x="248" y="183"/>
                    <a:pt x="247" y="189"/>
                    <a:pt x="248" y="183"/>
                  </a:cubicBezTo>
                  <a:cubicBezTo>
                    <a:pt x="249" y="178"/>
                    <a:pt x="250" y="174"/>
                    <a:pt x="250" y="174"/>
                  </a:cubicBezTo>
                  <a:cubicBezTo>
                    <a:pt x="250" y="174"/>
                    <a:pt x="243" y="170"/>
                    <a:pt x="241" y="170"/>
                  </a:cubicBezTo>
                  <a:cubicBezTo>
                    <a:pt x="238" y="171"/>
                    <a:pt x="238" y="175"/>
                    <a:pt x="235" y="172"/>
                  </a:cubicBezTo>
                  <a:cubicBezTo>
                    <a:pt x="231" y="169"/>
                    <a:pt x="232" y="167"/>
                    <a:pt x="230" y="166"/>
                  </a:cubicBezTo>
                  <a:cubicBezTo>
                    <a:pt x="229" y="165"/>
                    <a:pt x="226" y="164"/>
                    <a:pt x="224" y="166"/>
                  </a:cubicBezTo>
                  <a:cubicBezTo>
                    <a:pt x="222" y="168"/>
                    <a:pt x="218" y="168"/>
                    <a:pt x="214" y="170"/>
                  </a:cubicBezTo>
                  <a:cubicBezTo>
                    <a:pt x="210" y="171"/>
                    <a:pt x="209" y="171"/>
                    <a:pt x="203" y="171"/>
                  </a:cubicBezTo>
                  <a:cubicBezTo>
                    <a:pt x="198" y="171"/>
                    <a:pt x="192" y="173"/>
                    <a:pt x="188" y="170"/>
                  </a:cubicBezTo>
                  <a:cubicBezTo>
                    <a:pt x="185" y="168"/>
                    <a:pt x="184" y="171"/>
                    <a:pt x="182" y="167"/>
                  </a:cubicBezTo>
                  <a:cubicBezTo>
                    <a:pt x="181" y="163"/>
                    <a:pt x="182" y="163"/>
                    <a:pt x="179" y="161"/>
                  </a:cubicBezTo>
                  <a:cubicBezTo>
                    <a:pt x="175" y="159"/>
                    <a:pt x="174" y="161"/>
                    <a:pt x="173" y="157"/>
                  </a:cubicBezTo>
                  <a:cubicBezTo>
                    <a:pt x="173" y="153"/>
                    <a:pt x="175" y="154"/>
                    <a:pt x="172" y="150"/>
                  </a:cubicBezTo>
                  <a:cubicBezTo>
                    <a:pt x="169" y="147"/>
                    <a:pt x="174" y="152"/>
                    <a:pt x="169" y="147"/>
                  </a:cubicBezTo>
                  <a:cubicBezTo>
                    <a:pt x="164" y="142"/>
                    <a:pt x="163" y="146"/>
                    <a:pt x="164" y="142"/>
                  </a:cubicBezTo>
                  <a:cubicBezTo>
                    <a:pt x="166" y="137"/>
                    <a:pt x="167" y="140"/>
                    <a:pt x="167" y="135"/>
                  </a:cubicBezTo>
                  <a:cubicBezTo>
                    <a:pt x="167" y="130"/>
                    <a:pt x="175" y="137"/>
                    <a:pt x="170" y="127"/>
                  </a:cubicBezTo>
                  <a:cubicBezTo>
                    <a:pt x="166" y="116"/>
                    <a:pt x="165" y="119"/>
                    <a:pt x="169" y="111"/>
                  </a:cubicBezTo>
                  <a:cubicBezTo>
                    <a:pt x="173" y="103"/>
                    <a:pt x="179" y="101"/>
                    <a:pt x="180" y="99"/>
                  </a:cubicBezTo>
                  <a:cubicBezTo>
                    <a:pt x="181" y="97"/>
                    <a:pt x="182" y="93"/>
                    <a:pt x="184" y="92"/>
                  </a:cubicBezTo>
                  <a:cubicBezTo>
                    <a:pt x="186" y="90"/>
                    <a:pt x="185" y="89"/>
                    <a:pt x="188" y="90"/>
                  </a:cubicBezTo>
                  <a:cubicBezTo>
                    <a:pt x="192" y="90"/>
                    <a:pt x="197" y="88"/>
                    <a:pt x="199" y="86"/>
                  </a:cubicBezTo>
                  <a:cubicBezTo>
                    <a:pt x="202" y="83"/>
                    <a:pt x="205" y="79"/>
                    <a:pt x="207" y="79"/>
                  </a:cubicBezTo>
                  <a:cubicBezTo>
                    <a:pt x="209" y="78"/>
                    <a:pt x="208" y="79"/>
                    <a:pt x="212" y="78"/>
                  </a:cubicBezTo>
                  <a:cubicBezTo>
                    <a:pt x="215" y="78"/>
                    <a:pt x="216" y="77"/>
                    <a:pt x="219" y="77"/>
                  </a:cubicBezTo>
                  <a:cubicBezTo>
                    <a:pt x="221" y="77"/>
                    <a:pt x="216" y="78"/>
                    <a:pt x="223" y="77"/>
                  </a:cubicBezTo>
                  <a:cubicBezTo>
                    <a:pt x="231" y="75"/>
                    <a:pt x="229" y="75"/>
                    <a:pt x="231" y="75"/>
                  </a:cubicBezTo>
                  <a:cubicBezTo>
                    <a:pt x="232" y="75"/>
                    <a:pt x="232" y="76"/>
                    <a:pt x="235" y="76"/>
                  </a:cubicBezTo>
                  <a:cubicBezTo>
                    <a:pt x="238" y="77"/>
                    <a:pt x="237" y="70"/>
                    <a:pt x="238" y="77"/>
                  </a:cubicBezTo>
                  <a:cubicBezTo>
                    <a:pt x="238" y="83"/>
                    <a:pt x="235" y="86"/>
                    <a:pt x="240" y="87"/>
                  </a:cubicBezTo>
                  <a:cubicBezTo>
                    <a:pt x="245" y="87"/>
                    <a:pt x="240" y="87"/>
                    <a:pt x="245" y="87"/>
                  </a:cubicBezTo>
                  <a:cubicBezTo>
                    <a:pt x="250" y="87"/>
                    <a:pt x="249" y="88"/>
                    <a:pt x="252" y="89"/>
                  </a:cubicBezTo>
                  <a:cubicBezTo>
                    <a:pt x="254" y="90"/>
                    <a:pt x="256" y="92"/>
                    <a:pt x="259" y="92"/>
                  </a:cubicBezTo>
                  <a:cubicBezTo>
                    <a:pt x="263" y="92"/>
                    <a:pt x="258" y="98"/>
                    <a:pt x="263" y="92"/>
                  </a:cubicBezTo>
                  <a:cubicBezTo>
                    <a:pt x="269" y="87"/>
                    <a:pt x="259" y="86"/>
                    <a:pt x="269" y="87"/>
                  </a:cubicBezTo>
                  <a:cubicBezTo>
                    <a:pt x="279" y="87"/>
                    <a:pt x="280" y="90"/>
                    <a:pt x="282" y="89"/>
                  </a:cubicBezTo>
                  <a:cubicBezTo>
                    <a:pt x="283" y="88"/>
                    <a:pt x="284" y="90"/>
                    <a:pt x="288" y="87"/>
                  </a:cubicBezTo>
                  <a:cubicBezTo>
                    <a:pt x="292" y="85"/>
                    <a:pt x="293" y="85"/>
                    <a:pt x="295" y="86"/>
                  </a:cubicBezTo>
                  <a:cubicBezTo>
                    <a:pt x="296" y="87"/>
                    <a:pt x="296" y="91"/>
                    <a:pt x="298" y="87"/>
                  </a:cubicBezTo>
                  <a:cubicBezTo>
                    <a:pt x="300" y="83"/>
                    <a:pt x="303" y="84"/>
                    <a:pt x="298" y="82"/>
                  </a:cubicBezTo>
                  <a:cubicBezTo>
                    <a:pt x="293" y="79"/>
                    <a:pt x="291" y="82"/>
                    <a:pt x="290" y="79"/>
                  </a:cubicBezTo>
                  <a:cubicBezTo>
                    <a:pt x="289" y="75"/>
                    <a:pt x="295" y="76"/>
                    <a:pt x="289" y="75"/>
                  </a:cubicBezTo>
                  <a:cubicBezTo>
                    <a:pt x="284" y="75"/>
                    <a:pt x="285" y="75"/>
                    <a:pt x="281" y="73"/>
                  </a:cubicBezTo>
                  <a:cubicBezTo>
                    <a:pt x="277" y="72"/>
                    <a:pt x="274" y="77"/>
                    <a:pt x="272" y="73"/>
                  </a:cubicBezTo>
                  <a:cubicBezTo>
                    <a:pt x="271" y="69"/>
                    <a:pt x="264" y="76"/>
                    <a:pt x="271" y="69"/>
                  </a:cubicBezTo>
                  <a:cubicBezTo>
                    <a:pt x="278" y="63"/>
                    <a:pt x="275" y="60"/>
                    <a:pt x="280" y="62"/>
                  </a:cubicBezTo>
                  <a:cubicBezTo>
                    <a:pt x="285" y="63"/>
                    <a:pt x="283" y="67"/>
                    <a:pt x="286" y="65"/>
                  </a:cubicBezTo>
                  <a:cubicBezTo>
                    <a:pt x="289" y="62"/>
                    <a:pt x="295" y="60"/>
                    <a:pt x="289" y="57"/>
                  </a:cubicBezTo>
                  <a:cubicBezTo>
                    <a:pt x="284" y="53"/>
                    <a:pt x="288" y="54"/>
                    <a:pt x="282" y="52"/>
                  </a:cubicBezTo>
                  <a:cubicBezTo>
                    <a:pt x="277" y="49"/>
                    <a:pt x="271" y="62"/>
                    <a:pt x="269" y="60"/>
                  </a:cubicBezTo>
                  <a:cubicBezTo>
                    <a:pt x="266" y="58"/>
                    <a:pt x="265" y="57"/>
                    <a:pt x="263" y="58"/>
                  </a:cubicBezTo>
                  <a:cubicBezTo>
                    <a:pt x="262" y="59"/>
                    <a:pt x="262" y="63"/>
                    <a:pt x="261" y="67"/>
                  </a:cubicBezTo>
                  <a:cubicBezTo>
                    <a:pt x="261" y="70"/>
                    <a:pt x="264" y="71"/>
                    <a:pt x="259" y="69"/>
                  </a:cubicBezTo>
                  <a:cubicBezTo>
                    <a:pt x="253" y="66"/>
                    <a:pt x="265" y="67"/>
                    <a:pt x="252" y="63"/>
                  </a:cubicBezTo>
                  <a:cubicBezTo>
                    <a:pt x="240" y="58"/>
                    <a:pt x="235" y="59"/>
                    <a:pt x="234" y="61"/>
                  </a:cubicBezTo>
                  <a:cubicBezTo>
                    <a:pt x="232" y="63"/>
                    <a:pt x="229" y="62"/>
                    <a:pt x="228" y="63"/>
                  </a:cubicBezTo>
                  <a:cubicBezTo>
                    <a:pt x="227" y="65"/>
                    <a:pt x="232" y="68"/>
                    <a:pt x="227" y="65"/>
                  </a:cubicBezTo>
                  <a:cubicBezTo>
                    <a:pt x="222" y="62"/>
                    <a:pt x="217" y="66"/>
                    <a:pt x="217" y="66"/>
                  </a:cubicBezTo>
                  <a:cubicBezTo>
                    <a:pt x="217" y="66"/>
                    <a:pt x="215" y="66"/>
                    <a:pt x="213" y="67"/>
                  </a:cubicBezTo>
                  <a:cubicBezTo>
                    <a:pt x="211" y="69"/>
                    <a:pt x="206" y="70"/>
                    <a:pt x="204" y="69"/>
                  </a:cubicBezTo>
                  <a:cubicBezTo>
                    <a:pt x="201" y="69"/>
                    <a:pt x="196" y="70"/>
                    <a:pt x="200" y="64"/>
                  </a:cubicBezTo>
                  <a:cubicBezTo>
                    <a:pt x="205" y="58"/>
                    <a:pt x="202" y="62"/>
                    <a:pt x="209" y="59"/>
                  </a:cubicBezTo>
                  <a:cubicBezTo>
                    <a:pt x="216" y="56"/>
                    <a:pt x="227" y="55"/>
                    <a:pt x="218" y="53"/>
                  </a:cubicBezTo>
                  <a:cubicBezTo>
                    <a:pt x="208" y="51"/>
                    <a:pt x="223" y="51"/>
                    <a:pt x="210" y="45"/>
                  </a:cubicBezTo>
                  <a:cubicBezTo>
                    <a:pt x="198" y="39"/>
                    <a:pt x="197" y="47"/>
                    <a:pt x="198" y="39"/>
                  </a:cubicBezTo>
                  <a:cubicBezTo>
                    <a:pt x="198" y="31"/>
                    <a:pt x="197" y="30"/>
                    <a:pt x="194" y="31"/>
                  </a:cubicBezTo>
                  <a:cubicBezTo>
                    <a:pt x="192" y="31"/>
                    <a:pt x="184" y="33"/>
                    <a:pt x="181" y="33"/>
                  </a:cubicBezTo>
                  <a:cubicBezTo>
                    <a:pt x="178" y="34"/>
                    <a:pt x="182" y="36"/>
                    <a:pt x="176" y="33"/>
                  </a:cubicBezTo>
                  <a:cubicBezTo>
                    <a:pt x="170" y="30"/>
                    <a:pt x="168" y="35"/>
                    <a:pt x="170" y="30"/>
                  </a:cubicBezTo>
                  <a:cubicBezTo>
                    <a:pt x="173" y="24"/>
                    <a:pt x="173" y="24"/>
                    <a:pt x="176" y="21"/>
                  </a:cubicBezTo>
                  <a:cubicBezTo>
                    <a:pt x="180" y="18"/>
                    <a:pt x="179" y="6"/>
                    <a:pt x="188" y="11"/>
                  </a:cubicBezTo>
                  <a:cubicBezTo>
                    <a:pt x="196" y="15"/>
                    <a:pt x="193" y="14"/>
                    <a:pt x="200" y="14"/>
                  </a:cubicBezTo>
                  <a:cubicBezTo>
                    <a:pt x="206" y="15"/>
                    <a:pt x="209" y="13"/>
                    <a:pt x="209" y="12"/>
                  </a:cubicBezTo>
                  <a:cubicBezTo>
                    <a:pt x="209" y="11"/>
                    <a:pt x="202" y="7"/>
                    <a:pt x="202" y="7"/>
                  </a:cubicBezTo>
                  <a:cubicBezTo>
                    <a:pt x="202" y="7"/>
                    <a:pt x="199" y="8"/>
                    <a:pt x="200" y="6"/>
                  </a:cubicBezTo>
                  <a:cubicBezTo>
                    <a:pt x="201" y="5"/>
                    <a:pt x="203" y="3"/>
                    <a:pt x="203" y="3"/>
                  </a:cubicBezTo>
                  <a:cubicBezTo>
                    <a:pt x="200" y="0"/>
                    <a:pt x="200" y="0"/>
                    <a:pt x="200" y="0"/>
                  </a:cubicBezTo>
                  <a:cubicBezTo>
                    <a:pt x="200" y="0"/>
                    <a:pt x="176" y="0"/>
                    <a:pt x="170" y="2"/>
                  </a:cubicBezTo>
                  <a:close/>
                </a:path>
              </a:pathLst>
            </a:custGeom>
            <a:solidFill>
              <a:srgbClr val="F2F2F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grpSp>
      <p:grpSp>
        <p:nvGrpSpPr>
          <p:cNvPr id="13324" name="组合 54">
            <a:extLst>
              <a:ext uri="{FF2B5EF4-FFF2-40B4-BE49-F238E27FC236}">
                <a16:creationId xmlns:a16="http://schemas.microsoft.com/office/drawing/2014/main" id="{0113A01D-8B14-4D47-AFE6-1638C5336971}"/>
              </a:ext>
            </a:extLst>
          </p:cNvPr>
          <p:cNvGrpSpPr/>
          <p:nvPr/>
        </p:nvGrpSpPr>
        <p:grpSpPr>
          <a:xfrm>
            <a:off x="8710613" y="4423989"/>
            <a:ext cx="444500" cy="593725"/>
            <a:chOff x="4486275" y="5214938"/>
            <a:chExt cx="377826" cy="503238"/>
          </a:xfrm>
        </p:grpSpPr>
        <p:sp>
          <p:nvSpPr>
            <p:cNvPr id="13347" name="Line 7">
              <a:extLst>
                <a:ext uri="{FF2B5EF4-FFF2-40B4-BE49-F238E27FC236}">
                  <a16:creationId xmlns:a16="http://schemas.microsoft.com/office/drawing/2014/main" id="{9F227AF7-2567-44EC-9395-A7B7CE4147AA}"/>
                </a:ext>
              </a:extLst>
            </p:cNvPr>
            <p:cNvSpPr>
              <a:spLocks noChangeShapeType="1"/>
            </p:cNvSpPr>
            <p:nvPr/>
          </p:nvSpPr>
          <p:spPr bwMode="auto">
            <a:xfrm flipH="1">
              <a:off x="4770438" y="5214938"/>
              <a:ext cx="0" cy="93663"/>
            </a:xfrm>
            <a:prstGeom prst="line">
              <a:avLst/>
            </a:prstGeom>
            <a:noFill/>
            <a:ln cap="rnd" w="34925">
              <a:solidFill>
                <a:srgbClr val="FFFFFF"/>
              </a:solidFill>
              <a:round/>
            </a:ln>
            <a:extLst>
              <a:ext uri="{909E8E84-426E-40DD-AFC4-6F175D3DCCD1}">
                <a14:hiddenFill>
                  <a:noFill/>
                </a14:hiddenFill>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3348" name="Line 8">
              <a:extLst>
                <a:ext uri="{FF2B5EF4-FFF2-40B4-BE49-F238E27FC236}">
                  <a16:creationId xmlns:a16="http://schemas.microsoft.com/office/drawing/2014/main" id="{425CD6B1-7779-4874-974F-3B38238E3153}"/>
                </a:ext>
              </a:extLst>
            </p:cNvPr>
            <p:cNvSpPr>
              <a:spLocks noChangeShapeType="1"/>
            </p:cNvSpPr>
            <p:nvPr/>
          </p:nvSpPr>
          <p:spPr bwMode="auto">
            <a:xfrm flipH="1">
              <a:off x="4770438" y="5308600"/>
              <a:ext cx="93663" cy="0"/>
            </a:xfrm>
            <a:prstGeom prst="line">
              <a:avLst/>
            </a:prstGeom>
            <a:noFill/>
            <a:ln cap="rnd" w="34925">
              <a:solidFill>
                <a:srgbClr val="FFFFFF"/>
              </a:solidFill>
              <a:round/>
            </a:ln>
            <a:extLst>
              <a:ext uri="{909E8E84-426E-40DD-AFC4-6F175D3DCCD1}">
                <a14:hiddenFill>
                  <a:noFill/>
                </a14:hiddenFill>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3349" name="Freeform 9">
              <a:extLst>
                <a:ext uri="{FF2B5EF4-FFF2-40B4-BE49-F238E27FC236}">
                  <a16:creationId xmlns:a16="http://schemas.microsoft.com/office/drawing/2014/main" id="{B9C77549-A270-4F40-808F-7048892E7EE8}"/>
                </a:ext>
              </a:extLst>
            </p:cNvPr>
            <p:cNvSpPr/>
            <p:nvPr/>
          </p:nvSpPr>
          <p:spPr bwMode="auto">
            <a:xfrm>
              <a:off x="4486275" y="5214938"/>
              <a:ext cx="377825" cy="503238"/>
            </a:xfrm>
            <a:custGeom>
              <a:gdLst>
                <a:gd fmla="*/ 2147483647 w 238" name="T0"/>
                <a:gd fmla="*/ 0 h 317" name="T1"/>
                <a:gd fmla="*/ 0 w 238" name="T2"/>
                <a:gd fmla="*/ 0 h 317" name="T3"/>
                <a:gd fmla="*/ 0 w 238" name="T4"/>
                <a:gd fmla="*/ 2147483647 h 317" name="T5"/>
                <a:gd fmla="*/ 2147483647 w 238" name="T6"/>
                <a:gd fmla="*/ 2147483647 h 317" name="T7"/>
                <a:gd fmla="*/ 2147483647 w 238" name="T8"/>
                <a:gd fmla="*/ 2147483647 h 317" name="T9"/>
                <a:gd fmla="*/ 2147483647 w 238" name="T10"/>
                <a:gd fmla="*/ 0 h 317" name="T11"/>
                <a:gd fmla="*/ 0 60000 65536" name="T12"/>
                <a:gd fmla="*/ 0 60000 65536" name="T13"/>
                <a:gd fmla="*/ 0 60000 65536" name="T14"/>
                <a:gd fmla="*/ 0 60000 65536" name="T15"/>
                <a:gd fmla="*/ 0 60000 65536" name="T16"/>
                <a:gd fmla="*/ 0 60000 65536" name="T17"/>
              </a:gdLst>
              <a:cxnLst>
                <a:cxn ang="T12">
                  <a:pos x="T0" y="T1"/>
                </a:cxn>
                <a:cxn ang="T13">
                  <a:pos x="T2" y="T3"/>
                </a:cxn>
                <a:cxn ang="T14">
                  <a:pos x="T4" y="T5"/>
                </a:cxn>
                <a:cxn ang="T15">
                  <a:pos x="T6" y="T7"/>
                </a:cxn>
                <a:cxn ang="T16">
                  <a:pos x="T8" y="T9"/>
                </a:cxn>
                <a:cxn ang="T17">
                  <a:pos x="T10" y="T11"/>
                </a:cxn>
              </a:cxnLst>
              <a:rect b="b" l="0" r="r" t="0"/>
              <a:pathLst>
                <a:path h="317" w="238">
                  <a:moveTo>
                    <a:pt x="179" y="0"/>
                  </a:moveTo>
                  <a:lnTo>
                    <a:pt x="0" y="0"/>
                  </a:lnTo>
                  <a:lnTo>
                    <a:pt x="0" y="317"/>
                  </a:lnTo>
                  <a:lnTo>
                    <a:pt x="238" y="317"/>
                  </a:lnTo>
                  <a:lnTo>
                    <a:pt x="238" y="59"/>
                  </a:lnTo>
                  <a:lnTo>
                    <a:pt x="179" y="0"/>
                  </a:lnTo>
                  <a:close/>
                </a:path>
              </a:pathLst>
            </a:custGeom>
            <a:noFill/>
            <a:ln cap="rnd" w="34925">
              <a:solidFill>
                <a:srgbClr val="FFFFFF"/>
              </a:solidFill>
              <a:prstDash val="solid"/>
              <a:round/>
            </a:ln>
            <a:extLst>
              <a:ext uri="{909E8E84-426E-40DD-AFC4-6F175D3DCCD1}">
                <a14:hiddenFill>
                  <a:solidFill>
                    <a:srgbClr val="FFFFFF"/>
                  </a:solidFill>
                </a14:hiddenFill>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3350" name="Line 10">
              <a:extLst>
                <a:ext uri="{FF2B5EF4-FFF2-40B4-BE49-F238E27FC236}">
                  <a16:creationId xmlns:a16="http://schemas.microsoft.com/office/drawing/2014/main" id="{E1BF04A6-56F6-4A7A-AF68-ADE2B0FA2C66}"/>
                </a:ext>
              </a:extLst>
            </p:cNvPr>
            <p:cNvSpPr>
              <a:spLocks noChangeShapeType="1"/>
            </p:cNvSpPr>
            <p:nvPr/>
          </p:nvSpPr>
          <p:spPr bwMode="auto">
            <a:xfrm>
              <a:off x="4581525" y="5372100"/>
              <a:ext cx="188913" cy="0"/>
            </a:xfrm>
            <a:prstGeom prst="line">
              <a:avLst/>
            </a:prstGeom>
            <a:noFill/>
            <a:ln cap="rnd" w="34925">
              <a:solidFill>
                <a:srgbClr val="FFFFFF"/>
              </a:solidFill>
              <a:round/>
            </a:ln>
            <a:extLst>
              <a:ext uri="{909E8E84-426E-40DD-AFC4-6F175D3DCCD1}">
                <a14:hiddenFill>
                  <a:noFill/>
                </a14:hiddenFill>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3351" name="Line 11">
              <a:extLst>
                <a:ext uri="{FF2B5EF4-FFF2-40B4-BE49-F238E27FC236}">
                  <a16:creationId xmlns:a16="http://schemas.microsoft.com/office/drawing/2014/main" id="{EAA67BF0-1A41-46B2-B8EC-988696E03027}"/>
                </a:ext>
              </a:extLst>
            </p:cNvPr>
            <p:cNvSpPr>
              <a:spLocks noChangeShapeType="1"/>
            </p:cNvSpPr>
            <p:nvPr/>
          </p:nvSpPr>
          <p:spPr bwMode="auto">
            <a:xfrm>
              <a:off x="4581525" y="5434013"/>
              <a:ext cx="188913" cy="0"/>
            </a:xfrm>
            <a:prstGeom prst="line">
              <a:avLst/>
            </a:prstGeom>
            <a:noFill/>
            <a:ln cap="rnd" w="34925">
              <a:solidFill>
                <a:srgbClr val="FFFFFF"/>
              </a:solidFill>
              <a:round/>
            </a:ln>
            <a:extLst>
              <a:ext uri="{909E8E84-426E-40DD-AFC4-6F175D3DCCD1}">
                <a14:hiddenFill>
                  <a:noFill/>
                </a14:hiddenFill>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3352" name="Line 12">
              <a:extLst>
                <a:ext uri="{FF2B5EF4-FFF2-40B4-BE49-F238E27FC236}">
                  <a16:creationId xmlns:a16="http://schemas.microsoft.com/office/drawing/2014/main" id="{FA0B2753-563F-4136-AF1B-A486A3178078}"/>
                </a:ext>
              </a:extLst>
            </p:cNvPr>
            <p:cNvSpPr>
              <a:spLocks noChangeShapeType="1"/>
            </p:cNvSpPr>
            <p:nvPr/>
          </p:nvSpPr>
          <p:spPr bwMode="auto">
            <a:xfrm>
              <a:off x="4581525" y="5497513"/>
              <a:ext cx="188913" cy="0"/>
            </a:xfrm>
            <a:prstGeom prst="line">
              <a:avLst/>
            </a:prstGeom>
            <a:noFill/>
            <a:ln cap="rnd" w="34925">
              <a:solidFill>
                <a:srgbClr val="FFFFFF"/>
              </a:solidFill>
              <a:round/>
            </a:ln>
            <a:extLst>
              <a:ext uri="{909E8E84-426E-40DD-AFC4-6F175D3DCCD1}">
                <a14:hiddenFill>
                  <a:noFill/>
                </a14:hiddenFill>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grpSp>
      <p:grpSp>
        <p:nvGrpSpPr>
          <p:cNvPr id="13325" name="组合 56">
            <a:extLst>
              <a:ext uri="{FF2B5EF4-FFF2-40B4-BE49-F238E27FC236}">
                <a16:creationId xmlns:a16="http://schemas.microsoft.com/office/drawing/2014/main" id="{7FEE1E35-C2DB-4257-8E9C-5B07FF1E5C84}"/>
              </a:ext>
            </a:extLst>
          </p:cNvPr>
          <p:cNvGrpSpPr/>
          <p:nvPr/>
        </p:nvGrpSpPr>
        <p:grpSpPr>
          <a:xfrm>
            <a:off x="6986588" y="4309689"/>
            <a:ext cx="388937" cy="823912"/>
            <a:chOff x="4541838" y="4130675"/>
            <a:chExt cx="263525" cy="558800"/>
          </a:xfrm>
        </p:grpSpPr>
        <p:sp>
          <p:nvSpPr>
            <p:cNvPr id="13344" name="Freeform 24">
              <a:extLst>
                <a:ext uri="{FF2B5EF4-FFF2-40B4-BE49-F238E27FC236}">
                  <a16:creationId xmlns:a16="http://schemas.microsoft.com/office/drawing/2014/main" id="{7FBD9C5A-53C1-416A-8339-18573E40B6C7}"/>
                </a:ext>
              </a:extLst>
            </p:cNvPr>
            <p:cNvSpPr/>
            <p:nvPr/>
          </p:nvSpPr>
          <p:spPr bwMode="auto">
            <a:xfrm>
              <a:off x="4541838" y="4181475"/>
              <a:ext cx="263525" cy="492125"/>
            </a:xfrm>
            <a:custGeom>
              <a:gdLst>
                <a:gd fmla="*/ 2147483647 w 302" name="T0"/>
                <a:gd fmla="*/ 2147483647 h 563" name="T1"/>
                <a:gd fmla="*/ 2147483647 w 302" name="T2"/>
                <a:gd fmla="*/ 2147483647 h 563" name="T3"/>
                <a:gd fmla="*/ 2147483647 w 302" name="T4"/>
                <a:gd fmla="*/ 2147483647 h 563" name="T5"/>
                <a:gd fmla="*/ 2147483647 w 302" name="T6"/>
                <a:gd fmla="*/ 2147483647 h 563" name="T7"/>
                <a:gd fmla="*/ 2147483647 w 302" name="T8"/>
                <a:gd fmla="*/ 2147483647 h 563" name="T9"/>
                <a:gd fmla="*/ 0 60000 65536" name="T10"/>
                <a:gd fmla="*/ 0 60000 65536" name="T11"/>
                <a:gd fmla="*/ 0 60000 65536" name="T12"/>
                <a:gd fmla="*/ 0 60000 65536" name="T13"/>
                <a:gd fmla="*/ 0 60000 65536" name="T14"/>
              </a:gdLst>
              <a:cxnLst>
                <a:cxn ang="T10">
                  <a:pos x="T0" y="T1"/>
                </a:cxn>
                <a:cxn ang="T11">
                  <a:pos x="T2" y="T3"/>
                </a:cxn>
                <a:cxn ang="T12">
                  <a:pos x="T4" y="T5"/>
                </a:cxn>
                <a:cxn ang="T13">
                  <a:pos x="T6" y="T7"/>
                </a:cxn>
                <a:cxn ang="T14">
                  <a:pos x="T8" y="T9"/>
                </a:cxn>
              </a:cxnLst>
              <a:rect b="b" l="0" r="r" t="0"/>
              <a:pathLst>
                <a:path h="563" w="302">
                  <a:moveTo>
                    <a:pt x="241" y="243"/>
                  </a:moveTo>
                  <a:cubicBezTo>
                    <a:pt x="180" y="390"/>
                    <a:pt x="74" y="563"/>
                    <a:pt x="37" y="548"/>
                  </a:cubicBezTo>
                  <a:cubicBezTo>
                    <a:pt x="0" y="532"/>
                    <a:pt x="47" y="335"/>
                    <a:pt x="108" y="188"/>
                  </a:cubicBezTo>
                  <a:cubicBezTo>
                    <a:pt x="169" y="41"/>
                    <a:pt x="221" y="0"/>
                    <a:pt x="257" y="16"/>
                  </a:cubicBezTo>
                  <a:cubicBezTo>
                    <a:pt x="294" y="31"/>
                    <a:pt x="302" y="96"/>
                    <a:pt x="241" y="243"/>
                  </a:cubicBezTo>
                  <a:close/>
                </a:path>
              </a:pathLst>
            </a:custGeom>
            <a:noFill/>
            <a:ln cap="rnd" w="34925">
              <a:solidFill>
                <a:srgbClr val="FFFFFF"/>
              </a:solidFill>
              <a:prstDash val="solid"/>
              <a:round/>
            </a:ln>
            <a:extLst>
              <a:ext uri="{909E8E84-426E-40DD-AFC4-6F175D3DCCD1}">
                <a14:hiddenFill>
                  <a:solidFill>
                    <a:srgbClr val="FFFFFF"/>
                  </a:solidFill>
                </a14:hiddenFill>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3345" name="Line 25">
              <a:extLst>
                <a:ext uri="{FF2B5EF4-FFF2-40B4-BE49-F238E27FC236}">
                  <a16:creationId xmlns:a16="http://schemas.microsoft.com/office/drawing/2014/main" id="{AAEABADE-597E-476D-8625-859FEB03F9BC}"/>
                </a:ext>
              </a:extLst>
            </p:cNvPr>
            <p:cNvSpPr>
              <a:spLocks noChangeShapeType="1"/>
            </p:cNvSpPr>
            <p:nvPr/>
          </p:nvSpPr>
          <p:spPr bwMode="auto">
            <a:xfrm flipH="1">
              <a:off x="4560888" y="4660900"/>
              <a:ext cx="12700" cy="28575"/>
            </a:xfrm>
            <a:prstGeom prst="line">
              <a:avLst/>
            </a:prstGeom>
            <a:noFill/>
            <a:ln cap="rnd" w="11113">
              <a:solidFill>
                <a:srgbClr val="FFFFFF"/>
              </a:solidFill>
              <a:round/>
            </a:ln>
            <a:extLst>
              <a:ext uri="{909E8E84-426E-40DD-AFC4-6F175D3DCCD1}">
                <a14:hiddenFill>
                  <a:noFill/>
                </a14:hiddenFill>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3346" name="Freeform 26">
              <a:extLst>
                <a:ext uri="{FF2B5EF4-FFF2-40B4-BE49-F238E27FC236}">
                  <a16:creationId xmlns:a16="http://schemas.microsoft.com/office/drawing/2014/main" id="{4F2F66DA-C2B6-4FB7-9AD9-DA755C3B3E0B}"/>
                </a:ext>
              </a:extLst>
            </p:cNvPr>
            <p:cNvSpPr/>
            <p:nvPr/>
          </p:nvSpPr>
          <p:spPr bwMode="auto">
            <a:xfrm>
              <a:off x="4729163" y="4130675"/>
              <a:ext cx="76200" cy="92075"/>
            </a:xfrm>
            <a:custGeom>
              <a:gdLst>
                <a:gd fmla="*/ 2147483647 w 87" name="T0"/>
                <a:gd fmla="*/ 2147483647 h 107" name="T1"/>
                <a:gd fmla="*/ 2147483647 w 87" name="T2"/>
                <a:gd fmla="*/ 2147483647 h 107" name="T3"/>
                <a:gd fmla="*/ 2147483647 w 87" name="T4"/>
                <a:gd fmla="*/ 2147483647 h 107" name="T5"/>
                <a:gd fmla="*/ 2147483647 w 87" name="T6"/>
                <a:gd fmla="*/ 2147483647 h 107" name="T7"/>
                <a:gd fmla="*/ 2147483647 w 87" name="T8"/>
                <a:gd fmla="*/ 2147483647 h 107" name="T9"/>
                <a:gd fmla="*/ 0 60000 65536" name="T10"/>
                <a:gd fmla="*/ 0 60000 65536" name="T11"/>
                <a:gd fmla="*/ 0 60000 65536" name="T12"/>
                <a:gd fmla="*/ 0 60000 65536" name="T13"/>
                <a:gd fmla="*/ 0 60000 65536" name="T14"/>
              </a:gdLst>
              <a:cxnLst>
                <a:cxn ang="T10">
                  <a:pos x="T0" y="T1"/>
                </a:cxn>
                <a:cxn ang="T11">
                  <a:pos x="T2" y="T3"/>
                </a:cxn>
                <a:cxn ang="T12">
                  <a:pos x="T4" y="T5"/>
                </a:cxn>
                <a:cxn ang="T13">
                  <a:pos x="T6" y="T7"/>
                </a:cxn>
                <a:cxn ang="T14">
                  <a:pos x="T8" y="T9"/>
                </a:cxn>
              </a:cxnLst>
              <a:rect b="b" l="0" r="r" t="0"/>
              <a:pathLst>
                <a:path h="107" w="87">
                  <a:moveTo>
                    <a:pt x="8" y="61"/>
                  </a:moveTo>
                  <a:cubicBezTo>
                    <a:pt x="0" y="79"/>
                    <a:pt x="23" y="67"/>
                    <a:pt x="41" y="75"/>
                  </a:cubicBezTo>
                  <a:cubicBezTo>
                    <a:pt x="60" y="82"/>
                    <a:pt x="67" y="107"/>
                    <a:pt x="75" y="88"/>
                  </a:cubicBezTo>
                  <a:cubicBezTo>
                    <a:pt x="82" y="70"/>
                    <a:pt x="87" y="16"/>
                    <a:pt x="69" y="8"/>
                  </a:cubicBezTo>
                  <a:cubicBezTo>
                    <a:pt x="51" y="0"/>
                    <a:pt x="16" y="42"/>
                    <a:pt x="8" y="61"/>
                  </a:cubicBezTo>
                  <a:close/>
                </a:path>
              </a:pathLst>
            </a:custGeom>
            <a:noFill/>
            <a:ln cap="flat" w="11113">
              <a:solidFill>
                <a:srgbClr val="FFFFFF"/>
              </a:solidFill>
              <a:prstDash val="solid"/>
              <a:miter lim="800000"/>
            </a:ln>
            <a:extLst>
              <a:ext uri="{909E8E84-426E-40DD-AFC4-6F175D3DCCD1}">
                <a14:hiddenFill>
                  <a:solidFill>
                    <a:srgbClr val="FFFFFF"/>
                  </a:solidFill>
                </a14:hiddenFill>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grpSp>
      <p:grpSp>
        <p:nvGrpSpPr>
          <p:cNvPr id="13326" name="组合 55">
            <a:extLst>
              <a:ext uri="{FF2B5EF4-FFF2-40B4-BE49-F238E27FC236}">
                <a16:creationId xmlns:a16="http://schemas.microsoft.com/office/drawing/2014/main" id="{F8EC813B-4626-43D5-96EF-E84DDE0799B8}"/>
              </a:ext>
            </a:extLst>
          </p:cNvPr>
          <p:cNvGrpSpPr/>
          <p:nvPr/>
        </p:nvGrpSpPr>
        <p:grpSpPr>
          <a:xfrm>
            <a:off x="10372725" y="4485901"/>
            <a:ext cx="625475" cy="471488"/>
            <a:chOff x="3386138" y="4240213"/>
            <a:chExt cx="503238" cy="377825"/>
          </a:xfrm>
        </p:grpSpPr>
        <p:sp>
          <p:nvSpPr>
            <p:cNvPr id="13340" name="Freeform 28">
              <a:extLst>
                <a:ext uri="{FF2B5EF4-FFF2-40B4-BE49-F238E27FC236}">
                  <a16:creationId xmlns:a16="http://schemas.microsoft.com/office/drawing/2014/main" id="{D75789BE-17C7-4599-A4C0-5C6B643656EC}"/>
                </a:ext>
              </a:extLst>
            </p:cNvPr>
            <p:cNvSpPr/>
            <p:nvPr/>
          </p:nvSpPr>
          <p:spPr bwMode="auto">
            <a:xfrm>
              <a:off x="3386138" y="4240213"/>
              <a:ext cx="503238" cy="377825"/>
            </a:xfrm>
            <a:custGeom>
              <a:gdLst>
                <a:gd fmla="*/ 2147483647 w 576" name="T0"/>
                <a:gd fmla="*/ 2147483647 h 432" name="T1"/>
                <a:gd fmla="*/ 2147483647 w 576" name="T2"/>
                <a:gd fmla="*/ 0 h 432" name="T3"/>
                <a:gd fmla="*/ 2147483647 w 576" name="T4"/>
                <a:gd fmla="*/ 0 h 432" name="T5"/>
                <a:gd fmla="*/ 0 w 576" name="T6"/>
                <a:gd fmla="*/ 2147483647 h 432" name="T7"/>
                <a:gd fmla="*/ 0 w 576" name="T8"/>
                <a:gd fmla="*/ 2147483647 h 432" name="T9"/>
                <a:gd fmla="*/ 2147483647 w 576" name="T10"/>
                <a:gd fmla="*/ 2147483647 h 432" name="T11"/>
                <a:gd fmla="*/ 2147483647 w 576" name="T12"/>
                <a:gd fmla="*/ 2147483647 h 432" name="T13"/>
                <a:gd fmla="*/ 2147483647 w 576" name="T14"/>
                <a:gd fmla="*/ 2147483647 h 432" name="T15"/>
                <a:gd fmla="*/ 2147483647 w 576" name="T16"/>
                <a:gd fmla="*/ 2147483647 h 432" name="T17"/>
                <a:gd fmla="*/ 0 60000 65536" name="T18"/>
                <a:gd fmla="*/ 0 60000 65536" name="T19"/>
                <a:gd fmla="*/ 0 60000 65536" name="T20"/>
                <a:gd fmla="*/ 0 60000 65536" name="T21"/>
                <a:gd fmla="*/ 0 60000 65536" name="T22"/>
                <a:gd fmla="*/ 0 60000 65536" name="T23"/>
                <a:gd fmla="*/ 0 60000 65536" name="T24"/>
                <a:gd fmla="*/ 0 60000 65536" name="T25"/>
                <a:gd fmla="*/ 0 60000 65536" name="T26"/>
              </a:gd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b="b" l="0" r="r" t="0"/>
              <a:pathLst>
                <a:path h="432" w="576">
                  <a:moveTo>
                    <a:pt x="576" y="57"/>
                  </a:moveTo>
                  <a:cubicBezTo>
                    <a:pt x="576" y="26"/>
                    <a:pt x="550" y="0"/>
                    <a:pt x="519" y="0"/>
                  </a:cubicBezTo>
                  <a:cubicBezTo>
                    <a:pt x="57" y="0"/>
                    <a:pt x="57" y="0"/>
                    <a:pt x="57" y="0"/>
                  </a:cubicBezTo>
                  <a:cubicBezTo>
                    <a:pt x="26" y="0"/>
                    <a:pt x="0" y="26"/>
                    <a:pt x="0" y="57"/>
                  </a:cubicBezTo>
                  <a:cubicBezTo>
                    <a:pt x="0" y="375"/>
                    <a:pt x="0" y="375"/>
                    <a:pt x="0" y="375"/>
                  </a:cubicBezTo>
                  <a:cubicBezTo>
                    <a:pt x="0" y="406"/>
                    <a:pt x="26" y="432"/>
                    <a:pt x="57" y="432"/>
                  </a:cubicBezTo>
                  <a:cubicBezTo>
                    <a:pt x="519" y="432"/>
                    <a:pt x="519" y="432"/>
                    <a:pt x="519" y="432"/>
                  </a:cubicBezTo>
                  <a:cubicBezTo>
                    <a:pt x="550" y="432"/>
                    <a:pt x="576" y="406"/>
                    <a:pt x="576" y="375"/>
                  </a:cubicBezTo>
                  <a:lnTo>
                    <a:pt x="576" y="57"/>
                  </a:lnTo>
                  <a:close/>
                </a:path>
              </a:pathLst>
            </a:custGeom>
            <a:noFill/>
            <a:ln cap="rnd" w="34925">
              <a:solidFill>
                <a:srgbClr val="FFFFFF"/>
              </a:solidFill>
              <a:prstDash val="solid"/>
              <a:round/>
            </a:ln>
            <a:extLst>
              <a:ext uri="{909E8E84-426E-40DD-AFC4-6F175D3DCCD1}">
                <a14:hiddenFill>
                  <a:solidFill>
                    <a:srgbClr val="FFFFFF"/>
                  </a:solidFill>
                </a14:hiddenFill>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3341" name="Line 29">
              <a:extLst>
                <a:ext uri="{FF2B5EF4-FFF2-40B4-BE49-F238E27FC236}">
                  <a16:creationId xmlns:a16="http://schemas.microsoft.com/office/drawing/2014/main" id="{8335E5A6-1830-4581-8EAD-00D5DFD0578A}"/>
                </a:ext>
              </a:extLst>
            </p:cNvPr>
            <p:cNvSpPr>
              <a:spLocks noChangeShapeType="1"/>
            </p:cNvSpPr>
            <p:nvPr/>
          </p:nvSpPr>
          <p:spPr bwMode="auto">
            <a:xfrm>
              <a:off x="3700463" y="4429125"/>
              <a:ext cx="157163" cy="157163"/>
            </a:xfrm>
            <a:prstGeom prst="line">
              <a:avLst/>
            </a:prstGeom>
            <a:noFill/>
            <a:ln cap="rnd" w="34925">
              <a:solidFill>
                <a:srgbClr val="FFFFFF"/>
              </a:solidFill>
              <a:round/>
            </a:ln>
            <a:extLst>
              <a:ext uri="{909E8E84-426E-40DD-AFC4-6F175D3DCCD1}">
                <a14:hiddenFill>
                  <a:noFill/>
                </a14:hiddenFill>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3342" name="Line 30">
              <a:extLst>
                <a:ext uri="{FF2B5EF4-FFF2-40B4-BE49-F238E27FC236}">
                  <a16:creationId xmlns:a16="http://schemas.microsoft.com/office/drawing/2014/main" id="{A9A1C8A2-58BC-412F-A8C5-0F69C22383E1}"/>
                </a:ext>
              </a:extLst>
            </p:cNvPr>
            <p:cNvSpPr>
              <a:spLocks noChangeShapeType="1"/>
            </p:cNvSpPr>
            <p:nvPr/>
          </p:nvSpPr>
          <p:spPr bwMode="auto">
            <a:xfrm flipV="1">
              <a:off x="3417888" y="4429125"/>
              <a:ext cx="157163" cy="157163"/>
            </a:xfrm>
            <a:prstGeom prst="line">
              <a:avLst/>
            </a:prstGeom>
            <a:noFill/>
            <a:ln cap="rnd" w="34925">
              <a:solidFill>
                <a:srgbClr val="FFFFFF"/>
              </a:solidFill>
              <a:round/>
            </a:ln>
            <a:extLst>
              <a:ext uri="{909E8E84-426E-40DD-AFC4-6F175D3DCCD1}">
                <a14:hiddenFill>
                  <a:noFill/>
                </a14:hiddenFill>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3343" name="Freeform 31">
              <a:extLst>
                <a:ext uri="{FF2B5EF4-FFF2-40B4-BE49-F238E27FC236}">
                  <a16:creationId xmlns:a16="http://schemas.microsoft.com/office/drawing/2014/main" id="{43765CBC-56D6-4835-9B13-08F027CB7EEB}"/>
                </a:ext>
              </a:extLst>
            </p:cNvPr>
            <p:cNvSpPr/>
            <p:nvPr/>
          </p:nvSpPr>
          <p:spPr bwMode="auto">
            <a:xfrm>
              <a:off x="3417888" y="4271963"/>
              <a:ext cx="439738" cy="219075"/>
            </a:xfrm>
            <a:custGeom>
              <a:gdLst>
                <a:gd fmla="*/ 2147483647 w 277" name="T0"/>
                <a:gd fmla="*/ 2147483647 h 138" name="T1"/>
                <a:gd fmla="*/ 2147483647 w 277" name="T2"/>
                <a:gd fmla="*/ 2147483647 h 138" name="T3"/>
                <a:gd fmla="*/ 0 w 277" name="T4"/>
                <a:gd fmla="*/ 0 h 138" name="T5"/>
                <a:gd fmla="*/ 0 60000 65536" name="T6"/>
                <a:gd fmla="*/ 0 60000 65536" name="T7"/>
                <a:gd fmla="*/ 0 60000 65536" name="T8"/>
              </a:gdLst>
              <a:cxnLst>
                <a:cxn ang="T6">
                  <a:pos x="T0" y="T1"/>
                </a:cxn>
                <a:cxn ang="T7">
                  <a:pos x="T2" y="T3"/>
                </a:cxn>
                <a:cxn ang="T8">
                  <a:pos x="T4" y="T5"/>
                </a:cxn>
              </a:cxnLst>
              <a:rect b="b" l="0" r="r" t="0"/>
              <a:pathLst>
                <a:path h="138" w="277">
                  <a:moveTo>
                    <a:pt x="277" y="1"/>
                  </a:moveTo>
                  <a:lnTo>
                    <a:pt x="139" y="138"/>
                  </a:lnTo>
                  <a:lnTo>
                    <a:pt x="0" y="0"/>
                  </a:lnTo>
                </a:path>
              </a:pathLst>
            </a:custGeom>
            <a:noFill/>
            <a:ln cap="rnd" w="34925">
              <a:solidFill>
                <a:srgbClr val="FFFFFF"/>
              </a:solidFill>
              <a:prstDash val="solid"/>
              <a:round/>
            </a:ln>
            <a:extLst>
              <a:ext uri="{909E8E84-426E-40DD-AFC4-6F175D3DCCD1}">
                <a14:hiddenFill>
                  <a:solidFill>
                    <a:srgbClr val="FFFFFF"/>
                  </a:solidFill>
                </a14:hiddenFill>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grpSp>
      <p:grpSp>
        <p:nvGrpSpPr>
          <p:cNvPr id="13327" name="组合 53">
            <a:extLst>
              <a:ext uri="{FF2B5EF4-FFF2-40B4-BE49-F238E27FC236}">
                <a16:creationId xmlns:a16="http://schemas.microsoft.com/office/drawing/2014/main" id="{FB8C97A0-026F-422C-902F-73A6BFAD474B}"/>
              </a:ext>
            </a:extLst>
          </p:cNvPr>
          <p:cNvGrpSpPr/>
          <p:nvPr/>
        </p:nvGrpSpPr>
        <p:grpSpPr>
          <a:xfrm>
            <a:off x="5276850" y="4308101"/>
            <a:ext cx="301625" cy="827088"/>
            <a:chOff x="1473200" y="4184650"/>
            <a:chExt cx="180975" cy="495300"/>
          </a:xfrm>
        </p:grpSpPr>
        <p:sp>
          <p:nvSpPr>
            <p:cNvPr id="13330" name="Freeform 38">
              <a:extLst>
                <a:ext uri="{FF2B5EF4-FFF2-40B4-BE49-F238E27FC236}">
                  <a16:creationId xmlns:a16="http://schemas.microsoft.com/office/drawing/2014/main" id="{1E16D402-61CF-4874-9527-45614BD41F39}"/>
                </a:ext>
              </a:extLst>
            </p:cNvPr>
            <p:cNvSpPr/>
            <p:nvPr/>
          </p:nvSpPr>
          <p:spPr bwMode="auto">
            <a:xfrm>
              <a:off x="1473200" y="4184650"/>
              <a:ext cx="180975" cy="495300"/>
            </a:xfrm>
            <a:custGeom>
              <a:gdLst>
                <a:gd fmla="*/ 2147483647 w 208" name="T0"/>
                <a:gd fmla="*/ 2147483647 h 568" name="T1"/>
                <a:gd fmla="*/ 2147483647 w 208" name="T2"/>
                <a:gd fmla="*/ 2147483647 h 568" name="T3"/>
                <a:gd fmla="*/ 2147483647 w 208" name="T4"/>
                <a:gd fmla="*/ 2147483647 h 568" name="T5"/>
                <a:gd fmla="*/ 2147483647 w 208" name="T6"/>
                <a:gd fmla="*/ 2147483647 h 568" name="T7"/>
                <a:gd fmla="*/ 0 w 208" name="T8"/>
                <a:gd fmla="*/ 2147483647 h 568" name="T9"/>
                <a:gd fmla="*/ 2147483647 w 208" name="T10"/>
                <a:gd fmla="*/ 2147483647 h 568" name="T11"/>
                <a:gd fmla="*/ 2147483647 w 208" name="T12"/>
                <a:gd fmla="*/ 2147483647 h 568" name="T13"/>
                <a:gd fmla="*/ 2147483647 w 208" name="T14"/>
                <a:gd fmla="*/ 0 h 568" name="T15"/>
                <a:gd fmla="*/ 2147483647 w 208" name="T16"/>
                <a:gd fmla="*/ 2147483647 h 568" name="T17"/>
                <a:gd fmla="*/ 0 60000 65536" name="T18"/>
                <a:gd fmla="*/ 0 60000 65536" name="T19"/>
                <a:gd fmla="*/ 0 60000 65536" name="T20"/>
                <a:gd fmla="*/ 0 60000 65536" name="T21"/>
                <a:gd fmla="*/ 0 60000 65536" name="T22"/>
                <a:gd fmla="*/ 0 60000 65536" name="T23"/>
                <a:gd fmla="*/ 0 60000 65536" name="T24"/>
                <a:gd fmla="*/ 0 60000 65536" name="T25"/>
                <a:gd fmla="*/ 0 60000 65536" name="T26"/>
              </a:gd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b="b" l="0" r="r" t="0"/>
              <a:pathLst>
                <a:path h="568" w="208">
                  <a:moveTo>
                    <a:pt x="173" y="72"/>
                  </a:moveTo>
                  <a:cubicBezTo>
                    <a:pt x="173" y="385"/>
                    <a:pt x="173" y="385"/>
                    <a:pt x="173" y="385"/>
                  </a:cubicBezTo>
                  <a:cubicBezTo>
                    <a:pt x="195" y="405"/>
                    <a:pt x="208" y="432"/>
                    <a:pt x="208" y="464"/>
                  </a:cubicBezTo>
                  <a:cubicBezTo>
                    <a:pt x="208" y="521"/>
                    <a:pt x="162" y="568"/>
                    <a:pt x="104" y="568"/>
                  </a:cubicBezTo>
                  <a:cubicBezTo>
                    <a:pt x="46" y="568"/>
                    <a:pt x="0" y="521"/>
                    <a:pt x="0" y="464"/>
                  </a:cubicBezTo>
                  <a:cubicBezTo>
                    <a:pt x="0" y="432"/>
                    <a:pt x="13" y="405"/>
                    <a:pt x="35" y="385"/>
                  </a:cubicBezTo>
                  <a:cubicBezTo>
                    <a:pt x="35" y="72"/>
                    <a:pt x="35" y="72"/>
                    <a:pt x="35" y="72"/>
                  </a:cubicBezTo>
                  <a:cubicBezTo>
                    <a:pt x="35" y="35"/>
                    <a:pt x="64" y="0"/>
                    <a:pt x="102" y="0"/>
                  </a:cubicBezTo>
                  <a:cubicBezTo>
                    <a:pt x="140" y="0"/>
                    <a:pt x="173" y="35"/>
                    <a:pt x="173" y="72"/>
                  </a:cubicBezTo>
                  <a:close/>
                </a:path>
              </a:pathLst>
            </a:custGeom>
            <a:noFill/>
            <a:ln cap="flat" w="11113">
              <a:solidFill>
                <a:srgbClr val="FFFFFF"/>
              </a:solidFill>
              <a:prstDash val="solid"/>
              <a:round/>
            </a:ln>
            <a:extLst>
              <a:ext uri="{909E8E84-426E-40DD-AFC4-6F175D3DCCD1}">
                <a14:hiddenFill>
                  <a:solidFill>
                    <a:srgbClr val="FFFFFF"/>
                  </a:solidFill>
                </a14:hiddenFill>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3331" name="Oval 39">
              <a:extLst>
                <a:ext uri="{FF2B5EF4-FFF2-40B4-BE49-F238E27FC236}">
                  <a16:creationId xmlns:a16="http://schemas.microsoft.com/office/drawing/2014/main" id="{39F5FE14-695F-47EE-83DF-FA49FCD82C08}"/>
                </a:ext>
              </a:extLst>
            </p:cNvPr>
            <p:cNvSpPr>
              <a:spLocks noChangeArrowheads="1"/>
            </p:cNvSpPr>
            <p:nvPr/>
          </p:nvSpPr>
          <p:spPr bwMode="auto">
            <a:xfrm>
              <a:off x="1509713" y="4535488"/>
              <a:ext cx="107950" cy="107950"/>
            </a:xfrm>
            <a:prstGeom prst="ellipse">
              <a:avLst/>
            </a:prstGeom>
            <a:solidFill>
              <a:srgbClr val="FFFFFF"/>
            </a:solidFill>
            <a:ln>
              <a:noFill/>
            </a:ln>
            <a:extLst>
              <a:ext uri="{91240B29-F687-4F45-9708-019B960494DF}">
                <a14:hiddenLine w="9525">
                  <a:solidFill>
                    <a:srgbClr val="000000"/>
                  </a:solidFill>
                  <a:round/>
                  <a:headEnd/>
                  <a:tailEnd/>
                </a14:hiddenLine>
              </a:ext>
            </a:extLst>
          </p:spPr>
          <p:txBody>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3332" name="Line 40">
              <a:extLst>
                <a:ext uri="{FF2B5EF4-FFF2-40B4-BE49-F238E27FC236}">
                  <a16:creationId xmlns:a16="http://schemas.microsoft.com/office/drawing/2014/main" id="{9291091D-4140-4828-89AD-C45978555415}"/>
                </a:ext>
              </a:extLst>
            </p:cNvPr>
            <p:cNvSpPr>
              <a:spLocks noChangeShapeType="1"/>
            </p:cNvSpPr>
            <p:nvPr/>
          </p:nvSpPr>
          <p:spPr bwMode="auto">
            <a:xfrm flipH="1" flipV="1">
              <a:off x="1563688" y="4408488"/>
              <a:ext cx="0" cy="180975"/>
            </a:xfrm>
            <a:prstGeom prst="line">
              <a:avLst/>
            </a:prstGeom>
            <a:noFill/>
            <a:ln cap="rnd" w="34925">
              <a:solidFill>
                <a:srgbClr val="FFFFFF"/>
              </a:solidFill>
              <a:round/>
            </a:ln>
            <a:extLst>
              <a:ext uri="{909E8E84-426E-40DD-AFC4-6F175D3DCCD1}">
                <a14:hiddenFill>
                  <a:noFill/>
                </a14:hiddenFill>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3333" name="Line 41">
              <a:extLst>
                <a:ext uri="{FF2B5EF4-FFF2-40B4-BE49-F238E27FC236}">
                  <a16:creationId xmlns:a16="http://schemas.microsoft.com/office/drawing/2014/main" id="{6C8578E4-7027-455B-8A18-DAF5F38E68FA}"/>
                </a:ext>
              </a:extLst>
            </p:cNvPr>
            <p:cNvSpPr>
              <a:spLocks noChangeShapeType="1"/>
            </p:cNvSpPr>
            <p:nvPr/>
          </p:nvSpPr>
          <p:spPr bwMode="auto">
            <a:xfrm>
              <a:off x="1503363" y="4271963"/>
              <a:ext cx="14288" cy="0"/>
            </a:xfrm>
            <a:prstGeom prst="line">
              <a:avLst/>
            </a:prstGeom>
            <a:noFill/>
            <a:ln cap="rnd" w="11113">
              <a:solidFill>
                <a:srgbClr val="FFFFFF"/>
              </a:solidFill>
              <a:round/>
            </a:ln>
            <a:extLst>
              <a:ext uri="{909E8E84-426E-40DD-AFC4-6F175D3DCCD1}">
                <a14:hiddenFill>
                  <a:noFill/>
                </a14:hiddenFill>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3334" name="Line 42">
              <a:extLst>
                <a:ext uri="{FF2B5EF4-FFF2-40B4-BE49-F238E27FC236}">
                  <a16:creationId xmlns:a16="http://schemas.microsoft.com/office/drawing/2014/main" id="{037E5DB4-5F0F-42FA-9C27-F995E2DAECDE}"/>
                </a:ext>
              </a:extLst>
            </p:cNvPr>
            <p:cNvSpPr>
              <a:spLocks noChangeShapeType="1"/>
            </p:cNvSpPr>
            <p:nvPr/>
          </p:nvSpPr>
          <p:spPr bwMode="auto">
            <a:xfrm>
              <a:off x="1503363" y="4303713"/>
              <a:ext cx="14288" cy="0"/>
            </a:xfrm>
            <a:prstGeom prst="line">
              <a:avLst/>
            </a:prstGeom>
            <a:noFill/>
            <a:ln cap="rnd" w="11113">
              <a:solidFill>
                <a:srgbClr val="FFFFFF"/>
              </a:solidFill>
              <a:round/>
            </a:ln>
            <a:extLst>
              <a:ext uri="{909E8E84-426E-40DD-AFC4-6F175D3DCCD1}">
                <a14:hiddenFill>
                  <a:noFill/>
                </a14:hiddenFill>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3335" name="Line 43">
              <a:extLst>
                <a:ext uri="{FF2B5EF4-FFF2-40B4-BE49-F238E27FC236}">
                  <a16:creationId xmlns:a16="http://schemas.microsoft.com/office/drawing/2014/main" id="{B79317E8-5958-4162-A1E1-18B0D8D045A5}"/>
                </a:ext>
              </a:extLst>
            </p:cNvPr>
            <p:cNvSpPr>
              <a:spLocks noChangeShapeType="1"/>
            </p:cNvSpPr>
            <p:nvPr/>
          </p:nvSpPr>
          <p:spPr bwMode="auto">
            <a:xfrm>
              <a:off x="1503363" y="4333875"/>
              <a:ext cx="28575" cy="0"/>
            </a:xfrm>
            <a:prstGeom prst="line">
              <a:avLst/>
            </a:prstGeom>
            <a:noFill/>
            <a:ln cap="rnd" w="11113">
              <a:solidFill>
                <a:srgbClr val="FFFFFF"/>
              </a:solidFill>
              <a:round/>
            </a:ln>
            <a:extLst>
              <a:ext uri="{909E8E84-426E-40DD-AFC4-6F175D3DCCD1}">
                <a14:hiddenFill>
                  <a:noFill/>
                </a14:hiddenFill>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3336" name="Line 44">
              <a:extLst>
                <a:ext uri="{FF2B5EF4-FFF2-40B4-BE49-F238E27FC236}">
                  <a16:creationId xmlns:a16="http://schemas.microsoft.com/office/drawing/2014/main" id="{C053D658-8097-4DFF-B21D-43DEE2CD3DA5}"/>
                </a:ext>
              </a:extLst>
            </p:cNvPr>
            <p:cNvSpPr>
              <a:spLocks noChangeShapeType="1"/>
            </p:cNvSpPr>
            <p:nvPr/>
          </p:nvSpPr>
          <p:spPr bwMode="auto">
            <a:xfrm>
              <a:off x="1503363" y="4365625"/>
              <a:ext cx="14288" cy="0"/>
            </a:xfrm>
            <a:prstGeom prst="line">
              <a:avLst/>
            </a:prstGeom>
            <a:noFill/>
            <a:ln cap="rnd" w="11113">
              <a:solidFill>
                <a:srgbClr val="FFFFFF"/>
              </a:solidFill>
              <a:round/>
            </a:ln>
            <a:extLst>
              <a:ext uri="{909E8E84-426E-40DD-AFC4-6F175D3DCCD1}">
                <a14:hiddenFill>
                  <a:noFill/>
                </a14:hiddenFill>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3337" name="Line 45">
              <a:extLst>
                <a:ext uri="{FF2B5EF4-FFF2-40B4-BE49-F238E27FC236}">
                  <a16:creationId xmlns:a16="http://schemas.microsoft.com/office/drawing/2014/main" id="{B67B7928-DD01-4AA2-94B9-E9602B3AC584}"/>
                </a:ext>
              </a:extLst>
            </p:cNvPr>
            <p:cNvSpPr>
              <a:spLocks noChangeShapeType="1"/>
            </p:cNvSpPr>
            <p:nvPr/>
          </p:nvSpPr>
          <p:spPr bwMode="auto">
            <a:xfrm>
              <a:off x="1503363" y="4397375"/>
              <a:ext cx="14288" cy="0"/>
            </a:xfrm>
            <a:prstGeom prst="line">
              <a:avLst/>
            </a:prstGeom>
            <a:noFill/>
            <a:ln cap="rnd" w="11113">
              <a:solidFill>
                <a:srgbClr val="FFFFFF"/>
              </a:solidFill>
              <a:round/>
            </a:ln>
            <a:extLst>
              <a:ext uri="{909E8E84-426E-40DD-AFC4-6F175D3DCCD1}">
                <a14:hiddenFill>
                  <a:noFill/>
                </a14:hiddenFill>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3338" name="Line 46">
              <a:extLst>
                <a:ext uri="{FF2B5EF4-FFF2-40B4-BE49-F238E27FC236}">
                  <a16:creationId xmlns:a16="http://schemas.microsoft.com/office/drawing/2014/main" id="{3C5142D5-8FCD-4218-9A19-363255EE9FC3}"/>
                </a:ext>
              </a:extLst>
            </p:cNvPr>
            <p:cNvSpPr>
              <a:spLocks noChangeShapeType="1"/>
            </p:cNvSpPr>
            <p:nvPr/>
          </p:nvSpPr>
          <p:spPr bwMode="auto">
            <a:xfrm>
              <a:off x="1503363" y="4429125"/>
              <a:ext cx="28575" cy="0"/>
            </a:xfrm>
            <a:prstGeom prst="line">
              <a:avLst/>
            </a:prstGeom>
            <a:noFill/>
            <a:ln cap="rnd" w="11113">
              <a:solidFill>
                <a:srgbClr val="FFFFFF"/>
              </a:solidFill>
              <a:round/>
            </a:ln>
            <a:extLst>
              <a:ext uri="{909E8E84-426E-40DD-AFC4-6F175D3DCCD1}">
                <a14:hiddenFill>
                  <a:noFill/>
                </a14:hiddenFill>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3339" name="Line 47">
              <a:extLst>
                <a:ext uri="{FF2B5EF4-FFF2-40B4-BE49-F238E27FC236}">
                  <a16:creationId xmlns:a16="http://schemas.microsoft.com/office/drawing/2014/main" id="{6E554958-8F1D-41A2-B204-52B9186CC5FE}"/>
                </a:ext>
              </a:extLst>
            </p:cNvPr>
            <p:cNvSpPr>
              <a:spLocks noChangeShapeType="1"/>
            </p:cNvSpPr>
            <p:nvPr/>
          </p:nvSpPr>
          <p:spPr bwMode="auto">
            <a:xfrm>
              <a:off x="1503363" y="4460875"/>
              <a:ext cx="14288" cy="0"/>
            </a:xfrm>
            <a:prstGeom prst="line">
              <a:avLst/>
            </a:prstGeom>
            <a:noFill/>
            <a:ln cap="rnd" w="11113">
              <a:solidFill>
                <a:srgbClr val="FFFFFF"/>
              </a:solidFill>
              <a:round/>
            </a:ln>
            <a:extLst>
              <a:ext uri="{909E8E84-426E-40DD-AFC4-6F175D3DCCD1}">
                <a14:hiddenFill>
                  <a:noFill/>
                </a14:hiddenFill>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grpSp>
      <p:sp>
        <p:nvSpPr>
          <p:cNvPr id="13328" name="矩形 57">
            <a:extLst>
              <a:ext uri="{FF2B5EF4-FFF2-40B4-BE49-F238E27FC236}">
                <a16:creationId xmlns:a16="http://schemas.microsoft.com/office/drawing/2014/main" id="{437C5F9E-576F-47D2-ADC5-1166043FDD60}"/>
              </a:ext>
            </a:extLst>
          </p:cNvPr>
          <p:cNvSpPr>
            <a:spLocks noChangeArrowheads="1"/>
          </p:cNvSpPr>
          <p:nvPr/>
        </p:nvSpPr>
        <p:spPr bwMode="auto">
          <a:xfrm>
            <a:off x="923925" y="3700088"/>
            <a:ext cx="3725863" cy="2225041"/>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r>
              <a:rPr altLang="en-US" lang="zh-CN" sz="1400">
                <a:solidFill>
                  <a:schemeClr val="bg2"/>
                </a:solidFill>
                <a:latin charset="-122" panose="020b0400000000000000" pitchFamily="34" typeface="思源黑体"/>
                <a:ea charset="-122" panose="020b0400000000000000" pitchFamily="34" typeface="思源黑体"/>
                <a:sym charset="-122" panose="020b0400000000000000" pitchFamily="34" typeface="思源黑体"/>
              </a:rPr>
              <a:t>Vestibulum ante ipsum primis in faucibus orci luctus et ultrices posuere cubilia Curae; Donec velit neque, auctor sit amet aliquam velante ipsum primis in faucibus orci luctus et ultrices posuere cubilia Curae; Donec velit neque, auctor sit amet aliquam velante ipsum primis in faucibus orci luctus et ultrices posuere cubilia Curae; Donec velit neque, auctor sit amet aliquam vel</a:t>
            </a:r>
          </a:p>
        </p:txBody>
      </p:sp>
      <p:sp>
        <p:nvSpPr>
          <p:cNvPr id="13329" name="矩形 58">
            <a:extLst>
              <a:ext uri="{FF2B5EF4-FFF2-40B4-BE49-F238E27FC236}">
                <a16:creationId xmlns:a16="http://schemas.microsoft.com/office/drawing/2014/main" id="{11BA3F66-68AA-45B8-B8F8-E4CB2FC506BC}"/>
              </a:ext>
            </a:extLst>
          </p:cNvPr>
          <p:cNvSpPr>
            <a:spLocks noChangeArrowheads="1"/>
          </p:cNvSpPr>
          <p:nvPr/>
        </p:nvSpPr>
        <p:spPr bwMode="auto">
          <a:xfrm>
            <a:off x="7678739" y="1944314"/>
            <a:ext cx="3727450" cy="158496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r>
              <a:rPr altLang="en-US" lang="zh-CN" sz="1400">
                <a:solidFill>
                  <a:schemeClr val="bg2"/>
                </a:solidFill>
                <a:latin charset="-122" panose="020b0400000000000000" pitchFamily="34" typeface="思源黑体"/>
                <a:ea charset="-122" panose="020b0400000000000000" pitchFamily="34" typeface="思源黑体"/>
                <a:sym charset="-122" panose="020b0400000000000000" pitchFamily="34" typeface="思源黑体"/>
              </a:rPr>
              <a:t>Estibulum ante ipsum primis in faucibus orci luctus et ultrices posuere cubilia curae; donec velit neque, auctor sit amet aliquam velante ipsum primis in faucibus orci luctus et ultrices posuere cubilia curae; donec velit neque, auctor sit amet aliquam velante ipsum primis in</a:t>
            </a:r>
          </a:p>
        </p:txBody>
      </p:sp>
      <p:grpSp>
        <p:nvGrpSpPr>
          <p:cNvPr id="63" name="组合 62">
            <a:extLst>
              <a:ext uri="{FF2B5EF4-FFF2-40B4-BE49-F238E27FC236}">
                <a16:creationId xmlns:a16="http://schemas.microsoft.com/office/drawing/2014/main" id="{F4ECE000-A32F-4FA8-B841-275BAC4A66E9}"/>
              </a:ext>
            </a:extLst>
          </p:cNvPr>
          <p:cNvGrpSpPr/>
          <p:nvPr/>
        </p:nvGrpSpPr>
        <p:grpSpPr>
          <a:xfrm>
            <a:off x="1208876" y="369288"/>
            <a:ext cx="7658100" cy="735806"/>
            <a:chOff x="1208876" y="369288"/>
            <a:chExt cx="7658100" cy="735806"/>
          </a:xfrm>
        </p:grpSpPr>
        <p:sp>
          <p:nvSpPr>
            <p:cNvPr id="64" name="文本框 63">
              <a:extLst>
                <a:ext uri="{FF2B5EF4-FFF2-40B4-BE49-F238E27FC236}">
                  <a16:creationId xmlns:a16="http://schemas.microsoft.com/office/drawing/2014/main" id="{66DADD7A-EB5B-403C-AA8B-2DF1E53ED01B}"/>
                </a:ext>
              </a:extLst>
            </p:cNvPr>
            <p:cNvSpPr txBox="1"/>
            <p:nvPr/>
          </p:nvSpPr>
          <p:spPr>
            <a:xfrm>
              <a:off x="1208876" y="369288"/>
              <a:ext cx="7658100" cy="457200"/>
            </a:xfrm>
            <a:prstGeom prst="rect">
              <a:avLst/>
            </a:prstGeom>
            <a:noFill/>
          </p:spPr>
          <p:txBody>
            <a:bodyPr rtlCol="0" wrap="square">
              <a:spAutoFit/>
            </a:bodyPr>
            <a:lstStyle/>
            <a:p>
              <a:r>
                <a:rPr altLang="en-US" lang="zh-CN" sz="2400">
                  <a:gradFill>
                    <a:gsLst>
                      <a:gs pos="885">
                        <a:schemeClr val="accent1">
                          <a:alpha val="10000"/>
                        </a:schemeClr>
                      </a:gs>
                      <a:gs pos="75000">
                        <a:schemeClr val="accent1">
                          <a:alpha val="73000"/>
                        </a:schemeClr>
                      </a:gs>
                    </a:gsLst>
                    <a:lin ang="5400000" scaled="1"/>
                  </a:gradFill>
                  <a:latin charset="-122" panose="020b0400000000000000" pitchFamily="34" typeface="思源黑体"/>
                  <a:ea charset="-122" panose="020b0400000000000000" pitchFamily="34" typeface="思源黑体"/>
                  <a:sym charset="-122" panose="020b0400000000000000" pitchFamily="34" typeface="思源黑体"/>
                </a:rPr>
                <a:t>在此输入标题内容</a:t>
              </a:r>
            </a:p>
          </p:txBody>
        </p:sp>
        <p:sp>
          <p:nvSpPr>
            <p:cNvPr id="65" name="文本框 64">
              <a:extLst>
                <a:ext uri="{FF2B5EF4-FFF2-40B4-BE49-F238E27FC236}">
                  <a16:creationId xmlns:a16="http://schemas.microsoft.com/office/drawing/2014/main" id="{9E78DF1A-E3E4-49D5-9504-BDD7518943B4}"/>
                </a:ext>
              </a:extLst>
            </p:cNvPr>
            <p:cNvSpPr txBox="1"/>
            <p:nvPr/>
          </p:nvSpPr>
          <p:spPr>
            <a:xfrm>
              <a:off x="1208876" y="797317"/>
              <a:ext cx="7658100" cy="304800"/>
            </a:xfrm>
            <a:prstGeom prst="rect">
              <a:avLst/>
            </a:prstGeom>
            <a:noFill/>
          </p:spPr>
          <p:txBody>
            <a:bodyPr rtlCol="0" wrap="square">
              <a:spAutoFit/>
            </a:bodyPr>
            <a:lstStyle/>
            <a:p>
              <a:r>
                <a:rPr altLang="zh-CN" lang="en-US" sz="1400">
                  <a:solidFill>
                    <a:schemeClr val="bg2"/>
                  </a:solidFill>
                  <a:latin charset="-122" panose="020b0400000000000000" pitchFamily="34" typeface="思源黑体"/>
                  <a:ea charset="-122" panose="020b0400000000000000" pitchFamily="34" typeface="思源黑体"/>
                  <a:sym charset="-122" panose="020b0400000000000000" pitchFamily="34" typeface="思源黑体"/>
                </a:rPr>
                <a:t>Use "Title Only" Layout</a:t>
              </a:r>
            </a:p>
          </p:txBody>
        </p:sp>
      </p:grpSp>
      <p:grpSp>
        <p:nvGrpSpPr>
          <p:cNvPr id="66" name="组合 65">
            <a:extLst>
              <a:ext uri="{FF2B5EF4-FFF2-40B4-BE49-F238E27FC236}">
                <a16:creationId xmlns:a16="http://schemas.microsoft.com/office/drawing/2014/main" id="{05BE8E5F-EE95-40ED-A836-FF9FF938F362}"/>
              </a:ext>
            </a:extLst>
          </p:cNvPr>
          <p:cNvGrpSpPr/>
          <p:nvPr/>
        </p:nvGrpSpPr>
        <p:grpSpPr>
          <a:xfrm>
            <a:off x="538226" y="153800"/>
            <a:ext cx="811275" cy="1299746"/>
            <a:chOff x="538226" y="153800"/>
            <a:chExt cx="811275" cy="1299746"/>
          </a:xfrm>
        </p:grpSpPr>
        <p:sp>
          <p:nvSpPr>
            <p:cNvPr id="67" name="文本框 66">
              <a:extLst>
                <a:ext uri="{FF2B5EF4-FFF2-40B4-BE49-F238E27FC236}">
                  <a16:creationId xmlns:a16="http://schemas.microsoft.com/office/drawing/2014/main" id="{9622DB56-AF4A-482B-A53D-8B3904B313D0}"/>
                </a:ext>
              </a:extLst>
            </p:cNvPr>
            <p:cNvSpPr txBox="1"/>
            <p:nvPr/>
          </p:nvSpPr>
          <p:spPr>
            <a:xfrm>
              <a:off x="538226" y="153800"/>
              <a:ext cx="567647" cy="1097280"/>
            </a:xfrm>
            <a:prstGeom prst="rect">
              <a:avLst/>
            </a:prstGeom>
            <a:noFill/>
          </p:spPr>
          <p:txBody>
            <a:bodyPr rtlCol="0" wrap="square">
              <a:spAutoFit/>
            </a:bodyPr>
            <a:lstStyle>
              <a:defPPr>
                <a:defRPr lang="en-US"/>
              </a:defPPr>
              <a:lvl1pPr>
                <a:defRPr sz="8000">
                  <a:gradFill>
                    <a:gsLst>
                      <a:gs pos="36000">
                        <a:schemeClr val="bg1"/>
                      </a:gs>
                      <a:gs pos="100000">
                        <a:schemeClr val="tx1">
                          <a:lumMod val="50000"/>
                          <a:lumOff val="50000"/>
                        </a:schemeClr>
                      </a:gs>
                    </a:gsLst>
                    <a:lin ang="5400000" scaled="1"/>
                  </a:gradFill>
                  <a:latin charset="-122" panose="00000500000000000000" pitchFamily="2" typeface="字魂5号-无外润黑体"/>
                  <a:ea charset="-122" panose="00000500000000000000" pitchFamily="2" typeface="字魂5号-无外润黑体"/>
                </a:defRPr>
              </a:lvl1pPr>
            </a:lstStyle>
            <a:p>
              <a:r>
                <a:rPr altLang="zh-CN" lang="en-US" sz="6600">
                  <a:gradFill>
                    <a:gsLst>
                      <a:gs pos="36000">
                        <a:schemeClr val="bg1"/>
                      </a:gs>
                      <a:gs pos="70000">
                        <a:schemeClr val="tx1">
                          <a:lumMod val="50000"/>
                          <a:lumOff val="50000"/>
                          <a:alpha val="0"/>
                        </a:schemeClr>
                      </a:gs>
                    </a:gsLst>
                    <a:lin ang="5400000" scaled="1"/>
                  </a:gradFill>
                  <a:latin charset="-122" panose="020b0300000000000000" pitchFamily="34" typeface="思源黑体 CN Light"/>
                  <a:ea charset="-122" panose="00000500000000000000" pitchFamily="2" typeface="字魂54号-贤黑"/>
                  <a:sym charset="-122" panose="020b0400000000000000" pitchFamily="34" typeface="思源黑体"/>
                </a:rPr>
                <a:t>2</a:t>
              </a:r>
            </a:p>
          </p:txBody>
        </p:sp>
        <p:grpSp>
          <p:nvGrpSpPr>
            <p:cNvPr id="68" name="组合 67">
              <a:extLst>
                <a:ext uri="{FF2B5EF4-FFF2-40B4-BE49-F238E27FC236}">
                  <a16:creationId xmlns:a16="http://schemas.microsoft.com/office/drawing/2014/main" id="{515A6B4B-0D0A-44BF-B41F-7E4BC4EF4695}"/>
                </a:ext>
              </a:extLst>
            </p:cNvPr>
            <p:cNvGrpSpPr/>
            <p:nvPr/>
          </p:nvGrpSpPr>
          <p:grpSpPr>
            <a:xfrm rot="1279383">
              <a:off x="538418" y="260428"/>
              <a:ext cx="811083" cy="1193118"/>
              <a:chOff x="5326021" y="1359499"/>
              <a:chExt cx="2273644" cy="3344573"/>
            </a:xfrm>
          </p:grpSpPr>
          <p:cxnSp>
            <p:nvCxnSpPr>
              <p:cNvPr id="69" name="直接连接符 68">
                <a:extLst>
                  <a:ext uri="{FF2B5EF4-FFF2-40B4-BE49-F238E27FC236}">
                    <a16:creationId xmlns:a16="http://schemas.microsoft.com/office/drawing/2014/main" id="{220A8ABE-423A-4C22-85FD-0B5499067314}"/>
                  </a:ext>
                </a:extLst>
              </p:cNvPr>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70" name="任意多边形: 形状 69">
                <a:extLst>
                  <a:ext uri="{FF2B5EF4-FFF2-40B4-BE49-F238E27FC236}">
                    <a16:creationId xmlns:a16="http://schemas.microsoft.com/office/drawing/2014/main" id="{5DA78D7C-9314-4F76-8D24-D16085F7CB70}"/>
                  </a:ext>
                </a:extLst>
              </p:cNvPr>
              <p:cNvSpPr/>
              <p:nvPr/>
            </p:nvSpPr>
            <p:spPr>
              <a:xfrm rot="2008142">
                <a:off x="5326021" y="3632692"/>
                <a:ext cx="319543" cy="1071380"/>
              </a:xfrm>
              <a:custGeom>
                <a:gdLst>
                  <a:gd fmla="*/ 278285 w 319543" name="connsiteX0"/>
                  <a:gd fmla="*/ 0 h 1071380" name="connsiteY0"/>
                  <a:gd fmla="*/ 319543 w 319543" name="connsiteX1"/>
                  <a:gd fmla="*/ 0 h 1071380" name="connsiteY1"/>
                  <a:gd fmla="*/ 319543 w 319543" name="connsiteX2"/>
                  <a:gd fmla="*/ 601405 h 1071380" name="connsiteY2"/>
                  <a:gd fmla="*/ 0 w 319543" name="connsiteX3"/>
                  <a:gd fmla="*/ 1071380 h 1071380" name="connsiteY3"/>
                  <a:gd fmla="*/ 0 w 319543" name="connsiteX4"/>
                  <a:gd fmla="*/ 409295 h 1071380"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1071380" w="319543">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400"/>
              </a:p>
            </p:txBody>
          </p:sp>
        </p:grpSp>
      </p:grpSp>
    </p:spTree>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afterEffect" presetClass="entr" presetID="10" presetSubtype="0">
                                  <p:stCondLst>
                                    <p:cond delay="0"/>
                                  </p:stCondLst>
                                  <p:childTnLst>
                                    <p:set>
                                      <p:cBhvr>
                                        <p:cTn dur="1" fill="hold" id="6">
                                          <p:stCondLst>
                                            <p:cond delay="0"/>
                                          </p:stCondLst>
                                        </p:cTn>
                                        <p:tgtEl>
                                          <p:spTgt spid="2"/>
                                        </p:tgtEl>
                                        <p:attrNameLst>
                                          <p:attrName>style.visibility</p:attrName>
                                        </p:attrNameLst>
                                      </p:cBhvr>
                                      <p:to>
                                        <p:strVal val="visible"/>
                                      </p:to>
                                    </p:set>
                                    <p:animEffect filter="fade" transition="in">
                                      <p:cBhvr>
                                        <p:cTn dur="500" id="7"/>
                                        <p:tgtEl>
                                          <p:spTgt spid="2"/>
                                        </p:tgtEl>
                                      </p:cBhvr>
                                    </p:animEffect>
                                  </p:childTnLst>
                                </p:cTn>
                              </p:par>
                            </p:childTnLst>
                          </p:cTn>
                        </p:par>
                        <p:par>
                          <p:cTn fill="hold" id="8" nodeType="afterGroup">
                            <p:stCondLst>
                              <p:cond delay="500"/>
                            </p:stCondLst>
                            <p:childTnLst>
                              <p:par>
                                <p:cTn fill="hold" grpId="0" id="9" nodeType="afterEffect" presetClass="entr" presetID="10" presetSubtype="0">
                                  <p:stCondLst>
                                    <p:cond delay="0"/>
                                  </p:stCondLst>
                                  <p:childTnLst>
                                    <p:set>
                                      <p:cBhvr>
                                        <p:cTn dur="1" fill="hold" id="10">
                                          <p:stCondLst>
                                            <p:cond delay="0"/>
                                          </p:stCondLst>
                                        </p:cTn>
                                        <p:tgtEl>
                                          <p:spTgt spid="5"/>
                                        </p:tgtEl>
                                        <p:attrNameLst>
                                          <p:attrName>style.visibility</p:attrName>
                                        </p:attrNameLst>
                                      </p:cBhvr>
                                      <p:to>
                                        <p:strVal val="visible"/>
                                      </p:to>
                                    </p:set>
                                    <p:animEffect filter="fade" transition="in">
                                      <p:cBhvr>
                                        <p:cTn dur="500" id="11"/>
                                        <p:tgtEl>
                                          <p:spTgt spid="5"/>
                                        </p:tgtEl>
                                      </p:cBhvr>
                                    </p:animEffect>
                                  </p:childTnLst>
                                </p:cTn>
                              </p:par>
                            </p:childTnLst>
                          </p:cTn>
                        </p:par>
                        <p:par>
                          <p:cTn fill="hold" id="12" nodeType="afterGroup">
                            <p:stCondLst>
                              <p:cond delay="1000"/>
                            </p:stCondLst>
                            <p:childTnLst>
                              <p:par>
                                <p:cTn fill="hold" grpId="0" id="13" nodeType="afterEffect" presetClass="entr" presetID="10" presetSubtype="0">
                                  <p:stCondLst>
                                    <p:cond delay="0"/>
                                  </p:stCondLst>
                                  <p:childTnLst>
                                    <p:set>
                                      <p:cBhvr>
                                        <p:cTn dur="1" fill="hold" id="14">
                                          <p:stCondLst>
                                            <p:cond delay="0"/>
                                          </p:stCondLst>
                                        </p:cTn>
                                        <p:tgtEl>
                                          <p:spTgt spid="6"/>
                                        </p:tgtEl>
                                        <p:attrNameLst>
                                          <p:attrName>style.visibility</p:attrName>
                                        </p:attrNameLst>
                                      </p:cBhvr>
                                      <p:to>
                                        <p:strVal val="visible"/>
                                      </p:to>
                                    </p:set>
                                    <p:animEffect filter="fade" transition="in">
                                      <p:cBhvr>
                                        <p:cTn dur="500" id="15"/>
                                        <p:tgtEl>
                                          <p:spTgt spid="6"/>
                                        </p:tgtEl>
                                      </p:cBhvr>
                                    </p:animEffect>
                                  </p:childTnLst>
                                </p:cTn>
                              </p:par>
                            </p:childTnLst>
                          </p:cTn>
                        </p:par>
                        <p:par>
                          <p:cTn fill="hold" id="16" nodeType="afterGroup">
                            <p:stCondLst>
                              <p:cond delay="1500"/>
                            </p:stCondLst>
                            <p:childTnLst>
                              <p:par>
                                <p:cTn fill="hold" grpId="0" id="17" nodeType="afterEffect" presetClass="entr" presetID="10" presetSubtype="0">
                                  <p:stCondLst>
                                    <p:cond delay="0"/>
                                  </p:stCondLst>
                                  <p:childTnLst>
                                    <p:set>
                                      <p:cBhvr>
                                        <p:cTn dur="1" fill="hold" id="18">
                                          <p:stCondLst>
                                            <p:cond delay="0"/>
                                          </p:stCondLst>
                                        </p:cTn>
                                        <p:tgtEl>
                                          <p:spTgt spid="7"/>
                                        </p:tgtEl>
                                        <p:attrNameLst>
                                          <p:attrName>style.visibility</p:attrName>
                                        </p:attrNameLst>
                                      </p:cBhvr>
                                      <p:to>
                                        <p:strVal val="visible"/>
                                      </p:to>
                                    </p:set>
                                    <p:animEffect filter="fade" transition="in">
                                      <p:cBhvr>
                                        <p:cTn dur="500" id="19"/>
                                        <p:tgtEl>
                                          <p:spTgt spid="7"/>
                                        </p:tgtEl>
                                      </p:cBhvr>
                                    </p:animEffect>
                                  </p:childTnLst>
                                </p:cTn>
                              </p:par>
                            </p:childTnLst>
                          </p:cTn>
                        </p:par>
                        <p:par>
                          <p:cTn fill="hold" id="20" nodeType="afterGroup">
                            <p:stCondLst>
                              <p:cond delay="2000"/>
                            </p:stCondLst>
                            <p:childTnLst>
                              <p:par>
                                <p:cTn fill="hold" id="21" nodeType="afterEffect" presetClass="entr" presetID="10" presetSubtype="0">
                                  <p:stCondLst>
                                    <p:cond delay="0"/>
                                  </p:stCondLst>
                                  <p:childTnLst>
                                    <p:set>
                                      <p:cBhvr>
                                        <p:cTn dur="1" fill="hold" id="22">
                                          <p:stCondLst>
                                            <p:cond delay="0"/>
                                          </p:stCondLst>
                                        </p:cTn>
                                        <p:tgtEl>
                                          <p:spTgt spid="13319"/>
                                        </p:tgtEl>
                                        <p:attrNameLst>
                                          <p:attrName>style.visibility</p:attrName>
                                        </p:attrNameLst>
                                      </p:cBhvr>
                                      <p:to>
                                        <p:strVal val="visible"/>
                                      </p:to>
                                    </p:set>
                                    <p:animEffect filter="fade" transition="in">
                                      <p:cBhvr>
                                        <p:cTn dur="500" id="23"/>
                                        <p:tgtEl>
                                          <p:spTgt spid="13319"/>
                                        </p:tgtEl>
                                      </p:cBhvr>
                                    </p:animEffect>
                                  </p:childTnLst>
                                </p:cTn>
                              </p:par>
                            </p:childTnLst>
                          </p:cTn>
                        </p:par>
                        <p:par>
                          <p:cTn fill="hold" id="24" nodeType="afterGroup">
                            <p:stCondLst>
                              <p:cond delay="2500"/>
                            </p:stCondLst>
                            <p:childTnLst>
                              <p:par>
                                <p:cTn fill="hold" grpId="0" id="25" nodeType="afterEffect" presetClass="entr" presetID="10" presetSubtype="0">
                                  <p:stCondLst>
                                    <p:cond delay="0"/>
                                  </p:stCondLst>
                                  <p:childTnLst>
                                    <p:set>
                                      <p:cBhvr>
                                        <p:cTn dur="1" fill="hold" id="26">
                                          <p:stCondLst>
                                            <p:cond delay="0"/>
                                          </p:stCondLst>
                                        </p:cTn>
                                        <p:tgtEl>
                                          <p:spTgt spid="13320"/>
                                        </p:tgtEl>
                                        <p:attrNameLst>
                                          <p:attrName>style.visibility</p:attrName>
                                        </p:attrNameLst>
                                      </p:cBhvr>
                                      <p:to>
                                        <p:strVal val="visible"/>
                                      </p:to>
                                    </p:set>
                                    <p:animEffect filter="fade" transition="in">
                                      <p:cBhvr>
                                        <p:cTn dur="500" id="27"/>
                                        <p:tgtEl>
                                          <p:spTgt spid="13320"/>
                                        </p:tgtEl>
                                      </p:cBhvr>
                                    </p:animEffect>
                                  </p:childTnLst>
                                </p:cTn>
                              </p:par>
                            </p:childTnLst>
                          </p:cTn>
                        </p:par>
                        <p:par>
                          <p:cTn fill="hold" id="28" nodeType="afterGroup">
                            <p:stCondLst>
                              <p:cond delay="3000"/>
                            </p:stCondLst>
                            <p:childTnLst>
                              <p:par>
                                <p:cTn fill="hold" id="29" nodeType="afterEffect" presetClass="entr" presetID="10" presetSubtype="0">
                                  <p:stCondLst>
                                    <p:cond delay="0"/>
                                  </p:stCondLst>
                                  <p:childTnLst>
                                    <p:set>
                                      <p:cBhvr>
                                        <p:cTn dur="1" fill="hold" id="30">
                                          <p:stCondLst>
                                            <p:cond delay="0"/>
                                          </p:stCondLst>
                                        </p:cTn>
                                        <p:tgtEl>
                                          <p:spTgt spid="13321"/>
                                        </p:tgtEl>
                                        <p:attrNameLst>
                                          <p:attrName>style.visibility</p:attrName>
                                        </p:attrNameLst>
                                      </p:cBhvr>
                                      <p:to>
                                        <p:strVal val="visible"/>
                                      </p:to>
                                    </p:set>
                                    <p:animEffect filter="fade" transition="in">
                                      <p:cBhvr>
                                        <p:cTn dur="500" id="31"/>
                                        <p:tgtEl>
                                          <p:spTgt spid="13321"/>
                                        </p:tgtEl>
                                      </p:cBhvr>
                                    </p:animEffect>
                                  </p:childTnLst>
                                </p:cTn>
                              </p:par>
                            </p:childTnLst>
                          </p:cTn>
                        </p:par>
                        <p:par>
                          <p:cTn fill="hold" id="32" nodeType="afterGroup">
                            <p:stCondLst>
                              <p:cond delay="3500"/>
                            </p:stCondLst>
                            <p:childTnLst>
                              <p:par>
                                <p:cTn fill="hold" id="33" nodeType="afterEffect" presetClass="entr" presetID="10" presetSubtype="0">
                                  <p:stCondLst>
                                    <p:cond delay="0"/>
                                  </p:stCondLst>
                                  <p:childTnLst>
                                    <p:set>
                                      <p:cBhvr>
                                        <p:cTn dur="1" fill="hold" id="34">
                                          <p:stCondLst>
                                            <p:cond delay="0"/>
                                          </p:stCondLst>
                                        </p:cTn>
                                        <p:tgtEl>
                                          <p:spTgt spid="13322"/>
                                        </p:tgtEl>
                                        <p:attrNameLst>
                                          <p:attrName>style.visibility</p:attrName>
                                        </p:attrNameLst>
                                      </p:cBhvr>
                                      <p:to>
                                        <p:strVal val="visible"/>
                                      </p:to>
                                    </p:set>
                                    <p:animEffect filter="fade" transition="in">
                                      <p:cBhvr>
                                        <p:cTn dur="500" id="35"/>
                                        <p:tgtEl>
                                          <p:spTgt spid="13322"/>
                                        </p:tgtEl>
                                      </p:cBhvr>
                                    </p:animEffect>
                                  </p:childTnLst>
                                </p:cTn>
                              </p:par>
                            </p:childTnLst>
                          </p:cTn>
                        </p:par>
                        <p:par>
                          <p:cTn fill="hold" id="36" nodeType="afterGroup">
                            <p:stCondLst>
                              <p:cond delay="4000"/>
                            </p:stCondLst>
                            <p:childTnLst>
                              <p:par>
                                <p:cTn fill="hold" id="37" nodeType="afterEffect" presetClass="entr" presetID="10" presetSubtype="0">
                                  <p:stCondLst>
                                    <p:cond delay="0"/>
                                  </p:stCondLst>
                                  <p:childTnLst>
                                    <p:set>
                                      <p:cBhvr>
                                        <p:cTn dur="1" fill="hold" id="38">
                                          <p:stCondLst>
                                            <p:cond delay="0"/>
                                          </p:stCondLst>
                                        </p:cTn>
                                        <p:tgtEl>
                                          <p:spTgt spid="13323"/>
                                        </p:tgtEl>
                                        <p:attrNameLst>
                                          <p:attrName>style.visibility</p:attrName>
                                        </p:attrNameLst>
                                      </p:cBhvr>
                                      <p:to>
                                        <p:strVal val="visible"/>
                                      </p:to>
                                    </p:set>
                                    <p:animEffect filter="fade" transition="in">
                                      <p:cBhvr>
                                        <p:cTn dur="500" id="39"/>
                                        <p:tgtEl>
                                          <p:spTgt spid="13323"/>
                                        </p:tgtEl>
                                      </p:cBhvr>
                                    </p:animEffect>
                                  </p:childTnLst>
                                </p:cTn>
                              </p:par>
                            </p:childTnLst>
                          </p:cTn>
                        </p:par>
                        <p:par>
                          <p:cTn fill="hold" id="40" nodeType="afterGroup">
                            <p:stCondLst>
                              <p:cond delay="4500"/>
                            </p:stCondLst>
                            <p:childTnLst>
                              <p:par>
                                <p:cTn fill="hold" id="41" nodeType="afterEffect" presetClass="entr" presetID="10" presetSubtype="0">
                                  <p:stCondLst>
                                    <p:cond delay="0"/>
                                  </p:stCondLst>
                                  <p:childTnLst>
                                    <p:set>
                                      <p:cBhvr>
                                        <p:cTn dur="1" fill="hold" id="42">
                                          <p:stCondLst>
                                            <p:cond delay="0"/>
                                          </p:stCondLst>
                                        </p:cTn>
                                        <p:tgtEl>
                                          <p:spTgt spid="13324"/>
                                        </p:tgtEl>
                                        <p:attrNameLst>
                                          <p:attrName>style.visibility</p:attrName>
                                        </p:attrNameLst>
                                      </p:cBhvr>
                                      <p:to>
                                        <p:strVal val="visible"/>
                                      </p:to>
                                    </p:set>
                                    <p:animEffect filter="fade" transition="in">
                                      <p:cBhvr>
                                        <p:cTn dur="500" id="43"/>
                                        <p:tgtEl>
                                          <p:spTgt spid="13324"/>
                                        </p:tgtEl>
                                      </p:cBhvr>
                                    </p:animEffect>
                                  </p:childTnLst>
                                </p:cTn>
                              </p:par>
                            </p:childTnLst>
                          </p:cTn>
                        </p:par>
                        <p:par>
                          <p:cTn fill="hold" id="44" nodeType="afterGroup">
                            <p:stCondLst>
                              <p:cond delay="5000"/>
                            </p:stCondLst>
                            <p:childTnLst>
                              <p:par>
                                <p:cTn fill="hold" id="45" nodeType="afterEffect" presetClass="entr" presetID="10" presetSubtype="0">
                                  <p:stCondLst>
                                    <p:cond delay="0"/>
                                  </p:stCondLst>
                                  <p:childTnLst>
                                    <p:set>
                                      <p:cBhvr>
                                        <p:cTn dur="1" fill="hold" id="46">
                                          <p:stCondLst>
                                            <p:cond delay="0"/>
                                          </p:stCondLst>
                                        </p:cTn>
                                        <p:tgtEl>
                                          <p:spTgt spid="13325"/>
                                        </p:tgtEl>
                                        <p:attrNameLst>
                                          <p:attrName>style.visibility</p:attrName>
                                        </p:attrNameLst>
                                      </p:cBhvr>
                                      <p:to>
                                        <p:strVal val="visible"/>
                                      </p:to>
                                    </p:set>
                                    <p:animEffect filter="fade" transition="in">
                                      <p:cBhvr>
                                        <p:cTn dur="500" id="47"/>
                                        <p:tgtEl>
                                          <p:spTgt spid="13325"/>
                                        </p:tgtEl>
                                      </p:cBhvr>
                                    </p:animEffect>
                                  </p:childTnLst>
                                </p:cTn>
                              </p:par>
                            </p:childTnLst>
                          </p:cTn>
                        </p:par>
                        <p:par>
                          <p:cTn fill="hold" id="48" nodeType="afterGroup">
                            <p:stCondLst>
                              <p:cond delay="5500"/>
                            </p:stCondLst>
                            <p:childTnLst>
                              <p:par>
                                <p:cTn fill="hold" id="49" nodeType="afterEffect" presetClass="entr" presetID="10" presetSubtype="0">
                                  <p:stCondLst>
                                    <p:cond delay="0"/>
                                  </p:stCondLst>
                                  <p:childTnLst>
                                    <p:set>
                                      <p:cBhvr>
                                        <p:cTn dur="1" fill="hold" id="50">
                                          <p:stCondLst>
                                            <p:cond delay="0"/>
                                          </p:stCondLst>
                                        </p:cTn>
                                        <p:tgtEl>
                                          <p:spTgt spid="13326"/>
                                        </p:tgtEl>
                                        <p:attrNameLst>
                                          <p:attrName>style.visibility</p:attrName>
                                        </p:attrNameLst>
                                      </p:cBhvr>
                                      <p:to>
                                        <p:strVal val="visible"/>
                                      </p:to>
                                    </p:set>
                                    <p:animEffect filter="fade" transition="in">
                                      <p:cBhvr>
                                        <p:cTn dur="500" id="51"/>
                                        <p:tgtEl>
                                          <p:spTgt spid="13326"/>
                                        </p:tgtEl>
                                      </p:cBhvr>
                                    </p:animEffect>
                                  </p:childTnLst>
                                </p:cTn>
                              </p:par>
                            </p:childTnLst>
                          </p:cTn>
                        </p:par>
                        <p:par>
                          <p:cTn fill="hold" id="52" nodeType="afterGroup">
                            <p:stCondLst>
                              <p:cond delay="6000"/>
                            </p:stCondLst>
                            <p:childTnLst>
                              <p:par>
                                <p:cTn fill="hold" id="53" nodeType="afterEffect" presetClass="entr" presetID="10" presetSubtype="0">
                                  <p:stCondLst>
                                    <p:cond delay="0"/>
                                  </p:stCondLst>
                                  <p:childTnLst>
                                    <p:set>
                                      <p:cBhvr>
                                        <p:cTn dur="1" fill="hold" id="54">
                                          <p:stCondLst>
                                            <p:cond delay="0"/>
                                          </p:stCondLst>
                                        </p:cTn>
                                        <p:tgtEl>
                                          <p:spTgt spid="13327"/>
                                        </p:tgtEl>
                                        <p:attrNameLst>
                                          <p:attrName>style.visibility</p:attrName>
                                        </p:attrNameLst>
                                      </p:cBhvr>
                                      <p:to>
                                        <p:strVal val="visible"/>
                                      </p:to>
                                    </p:set>
                                    <p:animEffect filter="fade" transition="in">
                                      <p:cBhvr>
                                        <p:cTn dur="500" id="55"/>
                                        <p:tgtEl>
                                          <p:spTgt spid="13327"/>
                                        </p:tgtEl>
                                      </p:cBhvr>
                                    </p:animEffect>
                                  </p:childTnLst>
                                </p:cTn>
                              </p:par>
                            </p:childTnLst>
                          </p:cTn>
                        </p:par>
                        <p:par>
                          <p:cTn fill="hold" id="56" nodeType="afterGroup">
                            <p:stCondLst>
                              <p:cond delay="6500"/>
                            </p:stCondLst>
                            <p:childTnLst>
                              <p:par>
                                <p:cTn fill="hold" grpId="0" id="57" nodeType="afterEffect" presetClass="entr" presetID="10" presetSubtype="0">
                                  <p:stCondLst>
                                    <p:cond delay="0"/>
                                  </p:stCondLst>
                                  <p:childTnLst>
                                    <p:set>
                                      <p:cBhvr>
                                        <p:cTn dur="1" fill="hold" id="58">
                                          <p:stCondLst>
                                            <p:cond delay="0"/>
                                          </p:stCondLst>
                                        </p:cTn>
                                        <p:tgtEl>
                                          <p:spTgt spid="13328"/>
                                        </p:tgtEl>
                                        <p:attrNameLst>
                                          <p:attrName>style.visibility</p:attrName>
                                        </p:attrNameLst>
                                      </p:cBhvr>
                                      <p:to>
                                        <p:strVal val="visible"/>
                                      </p:to>
                                    </p:set>
                                    <p:animEffect filter="fade" transition="in">
                                      <p:cBhvr>
                                        <p:cTn dur="500" id="59"/>
                                        <p:tgtEl>
                                          <p:spTgt spid="13328"/>
                                        </p:tgtEl>
                                      </p:cBhvr>
                                    </p:animEffect>
                                  </p:childTnLst>
                                </p:cTn>
                              </p:par>
                            </p:childTnLst>
                          </p:cTn>
                        </p:par>
                        <p:par>
                          <p:cTn fill="hold" id="60" nodeType="afterGroup">
                            <p:stCondLst>
                              <p:cond delay="7000"/>
                            </p:stCondLst>
                            <p:childTnLst>
                              <p:par>
                                <p:cTn fill="hold" grpId="0" id="61" nodeType="afterEffect" presetClass="entr" presetID="10" presetSubtype="0">
                                  <p:stCondLst>
                                    <p:cond delay="0"/>
                                  </p:stCondLst>
                                  <p:childTnLst>
                                    <p:set>
                                      <p:cBhvr>
                                        <p:cTn dur="1" fill="hold" id="62">
                                          <p:stCondLst>
                                            <p:cond delay="0"/>
                                          </p:stCondLst>
                                        </p:cTn>
                                        <p:tgtEl>
                                          <p:spTgt spid="13329"/>
                                        </p:tgtEl>
                                        <p:attrNameLst>
                                          <p:attrName>style.visibility</p:attrName>
                                        </p:attrNameLst>
                                      </p:cBhvr>
                                      <p:to>
                                        <p:strVal val="visible"/>
                                      </p:to>
                                    </p:set>
                                    <p:animEffect filter="fade" transition="in">
                                      <p:cBhvr>
                                        <p:cTn dur="500" id="63"/>
                                        <p:tgtEl>
                                          <p:spTgt spid="13329"/>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2"/>
      <p:bldP grpId="0" spid="5"/>
      <p:bldP grpId="0" spid="6"/>
      <p:bldP grpId="0" spid="7"/>
      <p:bldP grpId="0" spid="13320"/>
      <p:bldP grpId="0" spid="13328"/>
      <p:bldP grpId="0" spid="13329"/>
    </p:bldLst>
  </p:timing>
</p:sld>
</file>

<file path=ppt/slides/slide12.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10" name="Rectangle 9"/>
          <p:cNvSpPr/>
          <p:nvPr/>
        </p:nvSpPr>
        <p:spPr>
          <a:xfrm>
            <a:off x="4240965" y="0"/>
            <a:ext cx="300166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lang="id-ID">
              <a:latin charset="-122" panose="020b0400000000000000" pitchFamily="34" typeface="思源黑体"/>
              <a:ea charset="-122" panose="020b0400000000000000" pitchFamily="34" typeface="思源黑体"/>
              <a:sym charset="-122" panose="020b0400000000000000" pitchFamily="34" typeface="思源黑体"/>
            </a:endParaRPr>
          </a:p>
        </p:txBody>
      </p:sp>
      <p:pic>
        <p:nvPicPr>
          <p:cNvPr descr="iPhone6_mockup_front_white.png" id="2" name="Picture 1"/>
          <p:cNvPicPr>
            <a:picLocks noChangeAspect="1"/>
          </p:cNvPicPr>
          <p:nvPr/>
        </p:nvPicPr>
        <p:blipFill>
          <a:blip r:embed="rId3">
            <a:extLst>
              <a:ext uri="{BEBA8EAE-BF5A-486C-A8C5-ECC9F3942E4B}">
                <a14:imgProps>
                  <a14:imgLayer xmlns:d3p1="http://schemas.openxmlformats.org/officeDocument/2006/relationships" d3p1:embed="">
                    <a14:imgEffect>
                      <a14:sharpenSoften amount="50000"/>
                    </a14:imgEffect>
                    <a14:imgEffect>
                      <a14:saturation sat="300000"/>
                    </a14:imgEffect>
                  </a14:imgLayer>
                </a14:imgProps>
              </a:ext>
              <a:ext uri="{28A0092B-C50C-407E-A947-70E740481C1C}">
                <a14:useLocalDpi val="0"/>
              </a:ext>
            </a:extLst>
          </a:blip>
          <a:stretch>
            <a:fillRect/>
          </a:stretch>
        </p:blipFill>
        <p:spPr>
          <a:xfrm>
            <a:off x="4030673" y="738019"/>
            <a:ext cx="3440748" cy="5381962"/>
          </a:xfrm>
          <a:prstGeom prst="rect">
            <a:avLst/>
          </a:prstGeom>
        </p:spPr>
      </p:pic>
      <p:sp>
        <p:nvSpPr>
          <p:cNvPr id="3" name="Rectangle 2"/>
          <p:cNvSpPr/>
          <p:nvPr/>
        </p:nvSpPr>
        <p:spPr>
          <a:xfrm>
            <a:off x="1376730" y="4542427"/>
            <a:ext cx="1958738" cy="914400"/>
          </a:xfrm>
          <a:prstGeom prst="rect">
            <a:avLst/>
          </a:prstGeom>
        </p:spPr>
        <p:txBody>
          <a:bodyPr wrap="square">
            <a:spAutoFit/>
          </a:bodyPr>
          <a:lstStyle/>
          <a:p>
            <a:pPr>
              <a:lnSpc>
                <a:spcPct val="150000"/>
              </a:lnSpc>
            </a:pPr>
            <a:r>
              <a:rPr i="0" lang="id-ID" sz="900">
                <a:solidFill>
                  <a:schemeClr val="bg2"/>
                </a:solidFill>
                <a:effectLst/>
                <a:latin charset="-122" panose="020b0400000000000000" pitchFamily="34" typeface="思源黑体"/>
                <a:ea charset="-122" panose="020b0400000000000000" pitchFamily="34" typeface="思源黑体"/>
                <a:cs charset="0" panose="020f0502020204030203" pitchFamily="34" typeface="Lato"/>
                <a:sym charset="-122" panose="020b0400000000000000" pitchFamily="34" typeface="思源黑体"/>
              </a:rPr>
              <a:t>Lorem ipsum dolor sit amet, lacus nulla ac netus nibh aliquet, porttitor ligula justo libero vivamus</a:t>
            </a:r>
          </a:p>
        </p:txBody>
      </p:sp>
      <p:sp>
        <p:nvSpPr>
          <p:cNvPr id="4" name="Rectangle 3"/>
          <p:cNvSpPr/>
          <p:nvPr/>
        </p:nvSpPr>
        <p:spPr>
          <a:xfrm>
            <a:off x="1437946" y="3239262"/>
            <a:ext cx="1718534" cy="914400"/>
          </a:xfrm>
          <a:prstGeom prst="rect">
            <a:avLst/>
          </a:prstGeom>
        </p:spPr>
        <p:txBody>
          <a:bodyPr wrap="square">
            <a:spAutoFit/>
          </a:bodyPr>
          <a:lstStyle/>
          <a:p>
            <a:pPr>
              <a:lnSpc>
                <a:spcPct val="150000"/>
              </a:lnSpc>
            </a:pPr>
            <a:r>
              <a:rPr i="0" lang="id-ID" sz="900">
                <a:solidFill>
                  <a:schemeClr val="bg2"/>
                </a:solidFill>
                <a:effectLst/>
                <a:latin charset="-122" panose="020b0400000000000000" pitchFamily="34" typeface="思源黑体"/>
                <a:ea charset="-122" panose="020b0400000000000000" pitchFamily="34" typeface="思源黑体"/>
                <a:cs charset="0" panose="020f0502020204030203" pitchFamily="34" typeface="Lato"/>
                <a:sym charset="-122" panose="020b0400000000000000" pitchFamily="34" typeface="思源黑体"/>
              </a:rPr>
              <a:t>Lorem ipsum dolor sit amet, lacus nulla ac netus nibh aliquet, porttitor ligula justo libero vivamus</a:t>
            </a:r>
          </a:p>
        </p:txBody>
      </p:sp>
      <p:sp>
        <p:nvSpPr>
          <p:cNvPr id="5" name="Rectangle 4"/>
          <p:cNvSpPr/>
          <p:nvPr/>
        </p:nvSpPr>
        <p:spPr>
          <a:xfrm>
            <a:off x="1422548" y="1936100"/>
            <a:ext cx="1958738" cy="914400"/>
          </a:xfrm>
          <a:prstGeom prst="rect">
            <a:avLst/>
          </a:prstGeom>
        </p:spPr>
        <p:txBody>
          <a:bodyPr wrap="square">
            <a:spAutoFit/>
          </a:bodyPr>
          <a:lstStyle/>
          <a:p>
            <a:pPr>
              <a:lnSpc>
                <a:spcPct val="150000"/>
              </a:lnSpc>
            </a:pPr>
            <a:r>
              <a:rPr i="0" lang="id-ID" sz="900">
                <a:solidFill>
                  <a:schemeClr val="bg2"/>
                </a:solidFill>
                <a:effectLst/>
                <a:latin charset="-122" panose="020b0400000000000000" pitchFamily="34" typeface="思源黑体"/>
                <a:ea charset="-122" panose="020b0400000000000000" pitchFamily="34" typeface="思源黑体"/>
                <a:cs charset="0" panose="020f0502020204030203" pitchFamily="34" typeface="Lato"/>
                <a:sym charset="-122" panose="020b0400000000000000" pitchFamily="34" typeface="思源黑体"/>
              </a:rPr>
              <a:t>Lorem ipsum dolor sit amet, lacus nulla ac netus nibh aliquet,. Sapien nam suspendisse, tincidunt</a:t>
            </a:r>
          </a:p>
        </p:txBody>
      </p:sp>
      <p:sp>
        <p:nvSpPr>
          <p:cNvPr id="6" name="Rectangle 5"/>
          <p:cNvSpPr/>
          <p:nvPr/>
        </p:nvSpPr>
        <p:spPr>
          <a:xfrm>
            <a:off x="8182278" y="3192937"/>
            <a:ext cx="2603514" cy="2354580"/>
          </a:xfrm>
          <a:prstGeom prst="rect">
            <a:avLst/>
          </a:prstGeom>
        </p:spPr>
        <p:txBody>
          <a:bodyPr wrap="square">
            <a:spAutoFit/>
          </a:bodyPr>
          <a:lstStyle/>
          <a:p>
            <a:pPr algn="just">
              <a:lnSpc>
                <a:spcPct val="150000"/>
              </a:lnSpc>
            </a:pPr>
            <a:r>
              <a:rPr i="0" lang="id-ID" sz="900">
                <a:solidFill>
                  <a:schemeClr val="bg2"/>
                </a:solidFill>
                <a:effectLst/>
                <a:latin charset="-122" panose="020b0400000000000000" pitchFamily="34" typeface="思源黑体"/>
                <a:ea charset="-122" panose="020b0400000000000000" pitchFamily="34" typeface="思源黑体"/>
                <a:cs charset="0" panose="020f0502020204030203" pitchFamily="34" typeface="Lato"/>
                <a:sym charset="-122" panose="020b0400000000000000" pitchFamily="34" typeface="思源黑体"/>
              </a:rPr>
              <a:t>Lorem ipsum dolor sit amet, lacus nulla ac netus nibh aliquet, porttitor ligula justo libero vivamus porttitor dolor, conubia mollit. Sapien nam suspendisse, tincidunt eget ante tincidunt, eros in auctor fringilla praesent at diam. In et quam est eget mi. Pellentesque nunc orci eu enim, eget in fringilla vitae, et eros praesent dolor porttitor. Lacinia lectus nonummy, accumsan mauris in sed justotincidunt, eros in auctor fringilla praesent at diam. </a:t>
            </a:r>
          </a:p>
        </p:txBody>
      </p:sp>
      <p:sp>
        <p:nvSpPr>
          <p:cNvPr id="14" name="Subtitle 2"/>
          <p:cNvSpPr txBox="1"/>
          <p:nvPr/>
        </p:nvSpPr>
        <p:spPr>
          <a:xfrm>
            <a:off x="8120808" y="2067850"/>
            <a:ext cx="4661742" cy="920424"/>
          </a:xfrm>
          <a:prstGeom prst="rect">
            <a:avLst/>
          </a:prstGeom>
        </p:spPr>
        <p:txBody>
          <a:bodyPr>
            <a:noAutofit/>
          </a:bodyPr>
          <a:lstStyle>
            <a:lvl1pPr algn="l" defTabSz="914400" eaLnBrk="1" hangingPunct="1" indent="-228600" latinLnBrk="0" marL="228600" rtl="0">
              <a:lnSpc>
                <a:spcPct val="90000"/>
              </a:lnSpc>
              <a:spcBef>
                <a:spcPts val="1000"/>
              </a:spcBef>
              <a:buFont charset="0" panose="020b0604020202020204" pitchFamily="34" typeface="Arial"/>
              <a:buChar char="•"/>
              <a:defRPr kern="1200" sz="2800">
                <a:solidFill>
                  <a:schemeClr val="tx1"/>
                </a:solidFill>
                <a:latin typeface="+mn-lt"/>
                <a:ea typeface="+mn-ea"/>
                <a:cs typeface="+mn-cs"/>
              </a:defRPr>
            </a:lvl1pPr>
            <a:lvl2pPr algn="l" defTabSz="914400" eaLnBrk="1" hangingPunct="1" indent="-228600" latinLnBrk="0" marL="685800" rtl="0">
              <a:lnSpc>
                <a:spcPct val="90000"/>
              </a:lnSpc>
              <a:spcBef>
                <a:spcPts val="500"/>
              </a:spcBef>
              <a:buFont charset="0" panose="020b0604020202020204" pitchFamily="34" typeface="Arial"/>
              <a:buChar char="•"/>
              <a:defRPr kern="1200" sz="2400">
                <a:solidFill>
                  <a:schemeClr val="tx1"/>
                </a:solidFill>
                <a:latin typeface="+mn-lt"/>
                <a:ea typeface="+mn-ea"/>
                <a:cs typeface="+mn-cs"/>
              </a:defRPr>
            </a:lvl2pPr>
            <a:lvl3pPr algn="l" defTabSz="914400" eaLnBrk="1" hangingPunct="1" indent="-228600" latinLnBrk="0" marL="1143000" rtl="0">
              <a:lnSpc>
                <a:spcPct val="90000"/>
              </a:lnSpc>
              <a:spcBef>
                <a:spcPts val="500"/>
              </a:spcBef>
              <a:buFont charset="0" panose="020b0604020202020204" pitchFamily="34" typeface="Arial"/>
              <a:buChar char="•"/>
              <a:defRPr kern="1200" sz="2000">
                <a:solidFill>
                  <a:schemeClr val="tx1"/>
                </a:solidFill>
                <a:latin typeface="+mn-lt"/>
                <a:ea typeface="+mn-ea"/>
                <a:cs typeface="+mn-cs"/>
              </a:defRPr>
            </a:lvl3pPr>
            <a:lvl4pPr algn="l" defTabSz="914400" eaLnBrk="1" hangingPunct="1" indent="-228600" latinLnBrk="0" marL="16002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4pPr>
            <a:lvl5pPr algn="l" defTabSz="914400" eaLnBrk="1" hangingPunct="1" indent="-228600" latinLnBrk="0" marL="20574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5pPr>
            <a:lvl6pPr algn="l" defTabSz="914400" eaLnBrk="1" hangingPunct="1" indent="-228600" latinLnBrk="0" marL="25146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6pPr>
            <a:lvl7pPr algn="l" defTabSz="914400" eaLnBrk="1" hangingPunct="1" indent="-228600" latinLnBrk="0" marL="29718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7pPr>
            <a:lvl8pPr algn="l" defTabSz="914400" eaLnBrk="1" hangingPunct="1" indent="-228600" latinLnBrk="0" marL="34290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8pPr>
            <a:lvl9pPr algn="l" defTabSz="914400" eaLnBrk="1" hangingPunct="1" indent="-228600" latinLnBrk="0" marL="38862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9pPr>
          </a:lstStyle>
          <a:p>
            <a:pPr indent="0" marL="0">
              <a:buNone/>
            </a:pPr>
            <a:r>
              <a:rPr b="1" lang="id-ID" sz="3200">
                <a:solidFill>
                  <a:schemeClr val="accent1"/>
                </a:solidFill>
                <a:latin charset="-122" panose="020b0400000000000000" pitchFamily="34" typeface="思源黑体"/>
                <a:ea charset="-122" panose="020b0400000000000000" pitchFamily="34" typeface="思源黑体"/>
                <a:cs charset="0" panose="020f0502020204030203" pitchFamily="34" typeface="Lato"/>
                <a:sym charset="-122" panose="020b0400000000000000" pitchFamily="34" typeface="思源黑体"/>
              </a:rPr>
              <a:t>PHONE DEVICE MOCKUP SLIDE</a:t>
            </a:r>
          </a:p>
        </p:txBody>
      </p:sp>
      <p:pic>
        <p:nvPicPr>
          <p:cNvPr id="9" name="图片占位符 8">
            <a:extLst>
              <a:ext uri="{FF2B5EF4-FFF2-40B4-BE49-F238E27FC236}">
                <a16:creationId xmlns:a16="http://schemas.microsoft.com/office/drawing/2014/main" id="{2F00BDAF-A813-4A89-AEC9-03406070F5AA}"/>
              </a:ext>
            </a:extLst>
          </p:cNvPr>
          <p:cNvPicPr>
            <a:picLocks noChangeAspect="1" noGrp="1"/>
          </p:cNvPicPr>
          <p:nvPr>
            <p:ph idx="10" sz="quarter" type="pic"/>
          </p:nvPr>
        </p:nvPicPr>
        <p:blipFill>
          <a:blip r:embed="rId4">
            <a:extLst>
              <a:ext uri="{28A0092B-C50C-407E-A947-70E740481C1C}">
                <a14:useLocalDpi val="0"/>
              </a:ext>
            </a:extLst>
          </a:blip>
          <a:stretch>
            <a:fillRect/>
          </a:stretch>
        </p:blipFill>
        <p:spPr>
          <a:xfrm>
            <a:off x="4717143" y="1583692"/>
            <a:ext cx="2046514" cy="3672683"/>
          </a:xfrm>
        </p:spPr>
      </p:pic>
      <p:grpSp>
        <p:nvGrpSpPr>
          <p:cNvPr id="12" name="组合 11">
            <a:extLst>
              <a:ext uri="{FF2B5EF4-FFF2-40B4-BE49-F238E27FC236}">
                <a16:creationId xmlns:a16="http://schemas.microsoft.com/office/drawing/2014/main" id="{00C8F2DD-95D1-4216-B967-779FFE3864BF}"/>
              </a:ext>
            </a:extLst>
          </p:cNvPr>
          <p:cNvGrpSpPr/>
          <p:nvPr/>
        </p:nvGrpSpPr>
        <p:grpSpPr>
          <a:xfrm>
            <a:off x="1208876" y="376638"/>
            <a:ext cx="7658100" cy="728456"/>
            <a:chOff x="1208876" y="376638"/>
            <a:chExt cx="7658100" cy="728456"/>
          </a:xfrm>
        </p:grpSpPr>
        <p:sp>
          <p:nvSpPr>
            <p:cNvPr id="13" name="文本框 12">
              <a:extLst>
                <a:ext uri="{FF2B5EF4-FFF2-40B4-BE49-F238E27FC236}">
                  <a16:creationId xmlns:a16="http://schemas.microsoft.com/office/drawing/2014/main" id="{77E6B9C3-5C55-46E1-B9B3-24B3D0918869}"/>
                </a:ext>
              </a:extLst>
            </p:cNvPr>
            <p:cNvSpPr txBox="1"/>
            <p:nvPr/>
          </p:nvSpPr>
          <p:spPr>
            <a:xfrm>
              <a:off x="1208876" y="376638"/>
              <a:ext cx="7658100" cy="457200"/>
            </a:xfrm>
            <a:prstGeom prst="rect">
              <a:avLst/>
            </a:prstGeom>
            <a:noFill/>
          </p:spPr>
          <p:txBody>
            <a:bodyPr rtlCol="0" wrap="square">
              <a:spAutoFit/>
            </a:bodyPr>
            <a:lstStyle/>
            <a:p>
              <a:r>
                <a:rPr altLang="en-US" lang="zh-CN" sz="2400">
                  <a:gradFill>
                    <a:gsLst>
                      <a:gs pos="885">
                        <a:schemeClr val="accent1">
                          <a:alpha val="10000"/>
                        </a:schemeClr>
                      </a:gs>
                      <a:gs pos="75000">
                        <a:schemeClr val="accent1">
                          <a:alpha val="73000"/>
                        </a:schemeClr>
                      </a:gs>
                    </a:gsLst>
                    <a:lin ang="5400000" scaled="1"/>
                  </a:gradFill>
                  <a:latin charset="-122" panose="020b0400000000000000" pitchFamily="34" typeface="思源黑体"/>
                  <a:ea charset="-122" panose="020b0400000000000000" pitchFamily="34" typeface="思源黑体"/>
                  <a:sym charset="-122" panose="020b0400000000000000" pitchFamily="34" typeface="思源黑体"/>
                </a:rPr>
                <a:t>在此输入标题内容</a:t>
              </a:r>
            </a:p>
          </p:txBody>
        </p:sp>
        <p:sp>
          <p:nvSpPr>
            <p:cNvPr id="15" name="文本框 14">
              <a:extLst>
                <a:ext uri="{FF2B5EF4-FFF2-40B4-BE49-F238E27FC236}">
                  <a16:creationId xmlns:a16="http://schemas.microsoft.com/office/drawing/2014/main" id="{7E8D132C-E4CE-4E7E-A078-75732BE73F57}"/>
                </a:ext>
              </a:extLst>
            </p:cNvPr>
            <p:cNvSpPr txBox="1"/>
            <p:nvPr/>
          </p:nvSpPr>
          <p:spPr>
            <a:xfrm>
              <a:off x="1208876" y="797317"/>
              <a:ext cx="7658100" cy="304800"/>
            </a:xfrm>
            <a:prstGeom prst="rect">
              <a:avLst/>
            </a:prstGeom>
            <a:noFill/>
          </p:spPr>
          <p:txBody>
            <a:bodyPr rtlCol="0" wrap="square">
              <a:spAutoFit/>
            </a:bodyPr>
            <a:lstStyle/>
            <a:p>
              <a:r>
                <a:rPr altLang="zh-CN" lang="en-US" sz="1400">
                  <a:solidFill>
                    <a:schemeClr val="bg2"/>
                  </a:solidFill>
                  <a:latin charset="-122" panose="020b0400000000000000" pitchFamily="34" typeface="思源黑体"/>
                  <a:ea charset="-122" panose="020b0400000000000000" pitchFamily="34" typeface="思源黑体"/>
                  <a:sym charset="-122" panose="020b0400000000000000" pitchFamily="34" typeface="思源黑体"/>
                </a:rPr>
                <a:t>Use "Title Only" Layout</a:t>
              </a:r>
            </a:p>
          </p:txBody>
        </p:sp>
      </p:grpSp>
      <p:grpSp>
        <p:nvGrpSpPr>
          <p:cNvPr id="16" name="组合 15">
            <a:extLst>
              <a:ext uri="{FF2B5EF4-FFF2-40B4-BE49-F238E27FC236}">
                <a16:creationId xmlns:a16="http://schemas.microsoft.com/office/drawing/2014/main" id="{C3E42128-616E-4AB5-B898-F45994F58080}"/>
              </a:ext>
            </a:extLst>
          </p:cNvPr>
          <p:cNvGrpSpPr/>
          <p:nvPr/>
        </p:nvGrpSpPr>
        <p:grpSpPr>
          <a:xfrm>
            <a:off x="538226" y="153800"/>
            <a:ext cx="811275" cy="1299746"/>
            <a:chOff x="538226" y="153800"/>
            <a:chExt cx="811275" cy="1299746"/>
          </a:xfrm>
        </p:grpSpPr>
        <p:sp>
          <p:nvSpPr>
            <p:cNvPr id="17" name="文本框 16">
              <a:extLst>
                <a:ext uri="{FF2B5EF4-FFF2-40B4-BE49-F238E27FC236}">
                  <a16:creationId xmlns:a16="http://schemas.microsoft.com/office/drawing/2014/main" id="{382FBF8F-4605-4D60-8295-DAA7B8A2CC30}"/>
                </a:ext>
              </a:extLst>
            </p:cNvPr>
            <p:cNvSpPr txBox="1"/>
            <p:nvPr/>
          </p:nvSpPr>
          <p:spPr>
            <a:xfrm>
              <a:off x="538226" y="153800"/>
              <a:ext cx="567647" cy="1097280"/>
            </a:xfrm>
            <a:prstGeom prst="rect">
              <a:avLst/>
            </a:prstGeom>
            <a:noFill/>
          </p:spPr>
          <p:txBody>
            <a:bodyPr rtlCol="0" wrap="square">
              <a:spAutoFit/>
            </a:bodyPr>
            <a:lstStyle>
              <a:defPPr>
                <a:defRPr lang="en-US"/>
              </a:defPPr>
              <a:lvl1pPr>
                <a:defRPr sz="8000">
                  <a:gradFill>
                    <a:gsLst>
                      <a:gs pos="36000">
                        <a:schemeClr val="bg1"/>
                      </a:gs>
                      <a:gs pos="100000">
                        <a:schemeClr val="tx1">
                          <a:lumMod val="50000"/>
                          <a:lumOff val="50000"/>
                        </a:schemeClr>
                      </a:gs>
                    </a:gsLst>
                    <a:lin ang="5400000" scaled="1"/>
                  </a:gradFill>
                  <a:latin charset="-122" panose="00000500000000000000" pitchFamily="2" typeface="字魂5号-无外润黑体"/>
                  <a:ea charset="-122" panose="00000500000000000000" pitchFamily="2" typeface="字魂5号-无外润黑体"/>
                </a:defRPr>
              </a:lvl1pPr>
            </a:lstStyle>
            <a:p>
              <a:r>
                <a:rPr altLang="zh-CN" lang="en-US" sz="6600">
                  <a:gradFill>
                    <a:gsLst>
                      <a:gs pos="36000">
                        <a:schemeClr val="bg1"/>
                      </a:gs>
                      <a:gs pos="70000">
                        <a:schemeClr val="tx1">
                          <a:lumMod val="50000"/>
                          <a:lumOff val="50000"/>
                          <a:alpha val="0"/>
                        </a:schemeClr>
                      </a:gs>
                    </a:gsLst>
                    <a:lin ang="5400000" scaled="1"/>
                  </a:gradFill>
                  <a:latin charset="-122" panose="020b0300000000000000" pitchFamily="34" typeface="思源黑体 CN Light"/>
                  <a:ea charset="-122" panose="00000500000000000000" pitchFamily="2" typeface="字魂54号-贤黑"/>
                  <a:sym charset="-122" panose="020b0400000000000000" pitchFamily="34" typeface="思源黑体"/>
                </a:rPr>
                <a:t>2</a:t>
              </a:r>
            </a:p>
          </p:txBody>
        </p:sp>
        <p:grpSp>
          <p:nvGrpSpPr>
            <p:cNvPr id="18" name="组合 17">
              <a:extLst>
                <a:ext uri="{FF2B5EF4-FFF2-40B4-BE49-F238E27FC236}">
                  <a16:creationId xmlns:a16="http://schemas.microsoft.com/office/drawing/2014/main" id="{58BD8F4B-73DB-46FA-B307-39DE230172AE}"/>
                </a:ext>
              </a:extLst>
            </p:cNvPr>
            <p:cNvGrpSpPr/>
            <p:nvPr/>
          </p:nvGrpSpPr>
          <p:grpSpPr>
            <a:xfrm rot="1279383">
              <a:off x="538418" y="260428"/>
              <a:ext cx="811083" cy="1193118"/>
              <a:chOff x="5326021" y="1359499"/>
              <a:chExt cx="2273644" cy="3344573"/>
            </a:xfrm>
          </p:grpSpPr>
          <p:cxnSp>
            <p:nvCxnSpPr>
              <p:cNvPr id="19" name="直接连接符 18">
                <a:extLst>
                  <a:ext uri="{FF2B5EF4-FFF2-40B4-BE49-F238E27FC236}">
                    <a16:creationId xmlns:a16="http://schemas.microsoft.com/office/drawing/2014/main" id="{E038C53D-6882-4BA6-B8DF-2483AEA6B94E}"/>
                  </a:ext>
                </a:extLst>
              </p:cNvPr>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任意多边形: 形状 19">
                <a:extLst>
                  <a:ext uri="{FF2B5EF4-FFF2-40B4-BE49-F238E27FC236}">
                    <a16:creationId xmlns:a16="http://schemas.microsoft.com/office/drawing/2014/main" id="{6AAA75E3-EFC3-4B3C-937E-A82F46410C5B}"/>
                  </a:ext>
                </a:extLst>
              </p:cNvPr>
              <p:cNvSpPr/>
              <p:nvPr/>
            </p:nvSpPr>
            <p:spPr>
              <a:xfrm rot="2008142">
                <a:off x="5326021" y="3632692"/>
                <a:ext cx="319543" cy="1071380"/>
              </a:xfrm>
              <a:custGeom>
                <a:gdLst>
                  <a:gd fmla="*/ 278285 w 319543" name="connsiteX0"/>
                  <a:gd fmla="*/ 0 h 1071380" name="connsiteY0"/>
                  <a:gd fmla="*/ 319543 w 319543" name="connsiteX1"/>
                  <a:gd fmla="*/ 0 h 1071380" name="connsiteY1"/>
                  <a:gd fmla="*/ 319543 w 319543" name="connsiteX2"/>
                  <a:gd fmla="*/ 601405 h 1071380" name="connsiteY2"/>
                  <a:gd fmla="*/ 0 w 319543" name="connsiteX3"/>
                  <a:gd fmla="*/ 1071380 h 1071380" name="connsiteY3"/>
                  <a:gd fmla="*/ 0 w 319543" name="connsiteX4"/>
                  <a:gd fmla="*/ 409295 h 1071380"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1071380" w="319543">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400"/>
              </a:p>
            </p:txBody>
          </p:sp>
        </p:grpSp>
      </p:grpSp>
    </p:spTree>
    <p:extLst>
      <p:ext uri="{BB962C8B-B14F-4D97-AF65-F5344CB8AC3E}">
        <p14:creationId val="1355345238"/>
      </p:ext>
    </p:extLst>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afterEffect" presetClass="entr" presetID="10" presetSubtype="0">
                                  <p:stCondLst>
                                    <p:cond delay="0"/>
                                  </p:stCondLst>
                                  <p:childTnLst>
                                    <p:set>
                                      <p:cBhvr>
                                        <p:cTn dur="1" fill="hold" id="6">
                                          <p:stCondLst>
                                            <p:cond delay="0"/>
                                          </p:stCondLst>
                                        </p:cTn>
                                        <p:tgtEl>
                                          <p:spTgt spid="3"/>
                                        </p:tgtEl>
                                        <p:attrNameLst>
                                          <p:attrName>style.visibility</p:attrName>
                                        </p:attrNameLst>
                                      </p:cBhvr>
                                      <p:to>
                                        <p:strVal val="visible"/>
                                      </p:to>
                                    </p:set>
                                    <p:animEffect filter="fade" transition="in">
                                      <p:cBhvr>
                                        <p:cTn dur="500" id="7"/>
                                        <p:tgtEl>
                                          <p:spTgt spid="3"/>
                                        </p:tgtEl>
                                      </p:cBhvr>
                                    </p:animEffect>
                                  </p:childTnLst>
                                </p:cTn>
                              </p:par>
                            </p:childTnLst>
                          </p:cTn>
                        </p:par>
                        <p:par>
                          <p:cTn fill="hold" id="8" nodeType="afterGroup">
                            <p:stCondLst>
                              <p:cond delay="500"/>
                            </p:stCondLst>
                            <p:childTnLst>
                              <p:par>
                                <p:cTn fill="hold" grpId="0" id="9" nodeType="afterEffect" presetClass="entr" presetID="10" presetSubtype="0">
                                  <p:stCondLst>
                                    <p:cond delay="0"/>
                                  </p:stCondLst>
                                  <p:childTnLst>
                                    <p:set>
                                      <p:cBhvr>
                                        <p:cTn dur="1" fill="hold" id="10">
                                          <p:stCondLst>
                                            <p:cond delay="0"/>
                                          </p:stCondLst>
                                        </p:cTn>
                                        <p:tgtEl>
                                          <p:spTgt spid="4"/>
                                        </p:tgtEl>
                                        <p:attrNameLst>
                                          <p:attrName>style.visibility</p:attrName>
                                        </p:attrNameLst>
                                      </p:cBhvr>
                                      <p:to>
                                        <p:strVal val="visible"/>
                                      </p:to>
                                    </p:set>
                                    <p:animEffect filter="fade" transition="in">
                                      <p:cBhvr>
                                        <p:cTn dur="500" id="11"/>
                                        <p:tgtEl>
                                          <p:spTgt spid="4"/>
                                        </p:tgtEl>
                                      </p:cBhvr>
                                    </p:animEffect>
                                  </p:childTnLst>
                                </p:cTn>
                              </p:par>
                            </p:childTnLst>
                          </p:cTn>
                        </p:par>
                        <p:par>
                          <p:cTn fill="hold" id="12" nodeType="afterGroup">
                            <p:stCondLst>
                              <p:cond delay="1000"/>
                            </p:stCondLst>
                            <p:childTnLst>
                              <p:par>
                                <p:cTn fill="hold" grpId="0" id="13" nodeType="afterEffect" presetClass="entr" presetID="10" presetSubtype="0">
                                  <p:stCondLst>
                                    <p:cond delay="0"/>
                                  </p:stCondLst>
                                  <p:childTnLst>
                                    <p:set>
                                      <p:cBhvr>
                                        <p:cTn dur="1" fill="hold" id="14">
                                          <p:stCondLst>
                                            <p:cond delay="0"/>
                                          </p:stCondLst>
                                        </p:cTn>
                                        <p:tgtEl>
                                          <p:spTgt spid="5"/>
                                        </p:tgtEl>
                                        <p:attrNameLst>
                                          <p:attrName>style.visibility</p:attrName>
                                        </p:attrNameLst>
                                      </p:cBhvr>
                                      <p:to>
                                        <p:strVal val="visible"/>
                                      </p:to>
                                    </p:set>
                                    <p:animEffect filter="fade" transition="in">
                                      <p:cBhvr>
                                        <p:cTn dur="500" id="15"/>
                                        <p:tgtEl>
                                          <p:spTgt spid="5"/>
                                        </p:tgtEl>
                                      </p:cBhvr>
                                    </p:animEffect>
                                  </p:childTnLst>
                                </p:cTn>
                              </p:par>
                            </p:childTnLst>
                          </p:cTn>
                        </p:par>
                        <p:par>
                          <p:cTn fill="hold" id="16" nodeType="afterGroup">
                            <p:stCondLst>
                              <p:cond delay="1500"/>
                            </p:stCondLst>
                            <p:childTnLst>
                              <p:par>
                                <p:cTn fill="hold" grpId="0" id="17" nodeType="afterEffect" presetClass="entr" presetID="10" presetSubtype="0">
                                  <p:stCondLst>
                                    <p:cond delay="0"/>
                                  </p:stCondLst>
                                  <p:childTnLst>
                                    <p:set>
                                      <p:cBhvr>
                                        <p:cTn dur="1" fill="hold" id="18">
                                          <p:stCondLst>
                                            <p:cond delay="0"/>
                                          </p:stCondLst>
                                        </p:cTn>
                                        <p:tgtEl>
                                          <p:spTgt spid="6"/>
                                        </p:tgtEl>
                                        <p:attrNameLst>
                                          <p:attrName>style.visibility</p:attrName>
                                        </p:attrNameLst>
                                      </p:cBhvr>
                                      <p:to>
                                        <p:strVal val="visible"/>
                                      </p:to>
                                    </p:set>
                                    <p:animEffect filter="fade" transition="in">
                                      <p:cBhvr>
                                        <p:cTn dur="500" id="19"/>
                                        <p:tgtEl>
                                          <p:spTgt spid="6"/>
                                        </p:tgtEl>
                                      </p:cBhvr>
                                    </p:animEffect>
                                  </p:childTnLst>
                                </p:cTn>
                              </p:par>
                            </p:childTnLst>
                          </p:cTn>
                        </p:par>
                        <p:par>
                          <p:cTn fill="hold" id="20" nodeType="afterGroup">
                            <p:stCondLst>
                              <p:cond delay="2000"/>
                            </p:stCondLst>
                            <p:childTnLst>
                              <p:par>
                                <p:cTn fill="hold" id="21" nodeType="afterEffect" presetClass="entr" presetID="10" presetSubtype="0">
                                  <p:stCondLst>
                                    <p:cond delay="0"/>
                                  </p:stCondLst>
                                  <p:childTnLst>
                                    <p:set>
                                      <p:cBhvr>
                                        <p:cTn dur="1" fill="hold" id="22">
                                          <p:stCondLst>
                                            <p:cond delay="0"/>
                                          </p:stCondLst>
                                        </p:cTn>
                                        <p:tgtEl>
                                          <p:spTgt spid="9"/>
                                        </p:tgtEl>
                                        <p:attrNameLst>
                                          <p:attrName>style.visibility</p:attrName>
                                        </p:attrNameLst>
                                      </p:cBhvr>
                                      <p:to>
                                        <p:strVal val="visible"/>
                                      </p:to>
                                    </p:set>
                                    <p:animEffect filter="fade" transition="in">
                                      <p:cBhvr>
                                        <p:cTn dur="500" id="23"/>
                                        <p:tgtEl>
                                          <p:spTgt spid="9"/>
                                        </p:tgtEl>
                                      </p:cBhvr>
                                    </p:animEffect>
                                  </p:childTnLst>
                                </p:cTn>
                              </p:par>
                            </p:childTnLst>
                          </p:cTn>
                        </p:par>
                        <p:par>
                          <p:cTn fill="hold" id="24" nodeType="afterGroup">
                            <p:stCondLst>
                              <p:cond delay="2500"/>
                            </p:stCondLst>
                            <p:childTnLst>
                              <p:par>
                                <p:cTn fill="hold" id="25" nodeType="afterEffect" presetClass="entr" presetID="10" presetSubtype="0">
                                  <p:stCondLst>
                                    <p:cond delay="0"/>
                                  </p:stCondLst>
                                  <p:childTnLst>
                                    <p:set>
                                      <p:cBhvr>
                                        <p:cTn dur="1" fill="hold" id="26">
                                          <p:stCondLst>
                                            <p:cond delay="0"/>
                                          </p:stCondLst>
                                        </p:cTn>
                                        <p:tgtEl>
                                          <p:spTgt spid="2"/>
                                        </p:tgtEl>
                                        <p:attrNameLst>
                                          <p:attrName>style.visibility</p:attrName>
                                        </p:attrNameLst>
                                      </p:cBhvr>
                                      <p:to>
                                        <p:strVal val="visible"/>
                                      </p:to>
                                    </p:set>
                                    <p:animEffect filter="fade" transition="in">
                                      <p:cBhvr>
                                        <p:cTn dur="500" id="27"/>
                                        <p:tgtEl>
                                          <p:spTgt spid="2"/>
                                        </p:tgtEl>
                                      </p:cBhvr>
                                    </p:animEffect>
                                  </p:childTnLst>
                                </p:cTn>
                              </p:par>
                            </p:childTnLst>
                          </p:cTn>
                        </p:par>
                        <p:par>
                          <p:cTn fill="hold" id="28" nodeType="afterGroup">
                            <p:stCondLst>
                              <p:cond delay="3000"/>
                            </p:stCondLst>
                            <p:childTnLst>
                              <p:par>
                                <p:cTn fill="hold" grpId="0" id="29" nodeType="afterEffect" presetClass="entr" presetID="10" presetSubtype="0">
                                  <p:stCondLst>
                                    <p:cond delay="0"/>
                                  </p:stCondLst>
                                  <p:childTnLst>
                                    <p:set>
                                      <p:cBhvr>
                                        <p:cTn dur="1" fill="hold" id="30">
                                          <p:stCondLst>
                                            <p:cond delay="0"/>
                                          </p:stCondLst>
                                        </p:cTn>
                                        <p:tgtEl>
                                          <p:spTgt spid="10"/>
                                        </p:tgtEl>
                                        <p:attrNameLst>
                                          <p:attrName>style.visibility</p:attrName>
                                        </p:attrNameLst>
                                      </p:cBhvr>
                                      <p:to>
                                        <p:strVal val="visible"/>
                                      </p:to>
                                    </p:set>
                                    <p:animEffect filter="fade" transition="in">
                                      <p:cBhvr>
                                        <p:cTn dur="500" id="31"/>
                                        <p:tgtEl>
                                          <p:spTgt spid="10"/>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0"/>
      <p:bldP grpId="0" spid="3"/>
      <p:bldP grpId="0" spid="4"/>
      <p:bldP grpId="0" spid="5"/>
      <p:bldP grpId="0" spid="6"/>
    </p:bldLst>
  </p:timing>
</p:sld>
</file>

<file path=ppt/slides/slide13.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3" name="椭圆 2">
            <a:extLst>
              <a:ext uri="{FF2B5EF4-FFF2-40B4-BE49-F238E27FC236}">
                <a16:creationId xmlns:a16="http://schemas.microsoft.com/office/drawing/2014/main" id="{98A0A6C8-E57E-4F41-9009-CB6B532D8C6C}"/>
              </a:ext>
            </a:extLst>
          </p:cNvPr>
          <p:cNvSpPr>
            <a:spLocks noChangeAspect="1"/>
          </p:cNvSpPr>
          <p:nvPr/>
        </p:nvSpPr>
        <p:spPr>
          <a:xfrm>
            <a:off x="4661873" y="2178775"/>
            <a:ext cx="1800225" cy="180022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4339" name="KSO_Shape">
            <a:extLst>
              <a:ext uri="{FF2B5EF4-FFF2-40B4-BE49-F238E27FC236}">
                <a16:creationId xmlns:a16="http://schemas.microsoft.com/office/drawing/2014/main" id="{16924BCD-70D8-400A-9D72-C33ADEDBE57D}"/>
              </a:ext>
            </a:extLst>
          </p:cNvPr>
          <p:cNvSpPr/>
          <p:nvPr/>
        </p:nvSpPr>
        <p:spPr bwMode="auto">
          <a:xfrm>
            <a:off x="5279411" y="2674075"/>
            <a:ext cx="519112" cy="744537"/>
          </a:xfrm>
          <a:custGeom>
            <a:gdLst>
              <a:gd fmla="*/ 2147483647 w 78" name="T0"/>
              <a:gd fmla="*/ 2147483647 h 112" name="T1"/>
              <a:gd fmla="*/ 2147483647 w 78" name="T2"/>
              <a:gd fmla="*/ 2147483647 h 112" name="T3"/>
              <a:gd fmla="*/ 2147483647 w 78" name="T4"/>
              <a:gd fmla="*/ 2147483647 h 112" name="T5"/>
              <a:gd fmla="*/ 2147483647 w 78" name="T6"/>
              <a:gd fmla="*/ 2147483647 h 112" name="T7"/>
              <a:gd fmla="*/ 2147483647 w 78" name="T8"/>
              <a:gd fmla="*/ 2147483647 h 112" name="T9"/>
              <a:gd fmla="*/ 2147483647 w 78" name="T10"/>
              <a:gd fmla="*/ 2147483647 h 112" name="T11"/>
              <a:gd fmla="*/ 2147483647 w 78" name="T12"/>
              <a:gd fmla="*/ 2147483647 h 112" name="T13"/>
              <a:gd fmla="*/ 2147483647 w 78" name="T14"/>
              <a:gd fmla="*/ 2147483647 h 112" name="T15"/>
              <a:gd fmla="*/ 2147483647 w 78" name="T16"/>
              <a:gd fmla="*/ 2147483647 h 112" name="T17"/>
              <a:gd fmla="*/ 2147483647 w 78" name="T18"/>
              <a:gd fmla="*/ 2147483647 h 112" name="T19"/>
              <a:gd fmla="*/ 2147483647 w 78" name="T20"/>
              <a:gd fmla="*/ 2147483647 h 112" name="T21"/>
              <a:gd fmla="*/ 2147483647 w 78" name="T22"/>
              <a:gd fmla="*/ 2147483647 h 112" name="T23"/>
              <a:gd fmla="*/ 2147483647 w 78" name="T24"/>
              <a:gd fmla="*/ 2147483647 h 112" name="T25"/>
              <a:gd fmla="*/ 2147483647 w 78" name="T26"/>
              <a:gd fmla="*/ 2147483647 h 112" name="T27"/>
              <a:gd fmla="*/ 2147483647 w 78" name="T28"/>
              <a:gd fmla="*/ 2147483647 h 112" name="T29"/>
              <a:gd fmla="*/ 2147483647 w 78" name="T30"/>
              <a:gd fmla="*/ 2147483647 h 112" name="T31"/>
              <a:gd fmla="*/ 2147483647 w 78" name="T32"/>
              <a:gd fmla="*/ 2147483647 h 112" name="T33"/>
              <a:gd fmla="*/ 2147483647 w 78" name="T34"/>
              <a:gd fmla="*/ 2147483647 h 112" name="T35"/>
              <a:gd fmla="*/ 2147483647 w 78" name="T36"/>
              <a:gd fmla="*/ 2147483647 h 112" name="T37"/>
              <a:gd fmla="*/ 2147483647 w 78" name="T38"/>
              <a:gd fmla="*/ 2147483647 h 112" name="T39"/>
              <a:gd fmla="*/ 2147483647 w 78" name="T40"/>
              <a:gd fmla="*/ 2147483647 h 112" name="T41"/>
              <a:gd fmla="*/ 2147483647 w 78" name="T42"/>
              <a:gd fmla="*/ 2147483647 h 112" name="T43"/>
              <a:gd fmla="*/ 2147483647 w 78" name="T44"/>
              <a:gd fmla="*/ 2147483647 h 112" name="T45"/>
              <a:gd fmla="*/ 2147483647 w 78" name="T46"/>
              <a:gd fmla="*/ 2147483647 h 112" name="T47"/>
              <a:gd fmla="*/ 2147483647 w 78" name="T48"/>
              <a:gd fmla="*/ 2147483647 h 112" name="T49"/>
              <a:gd fmla="*/ 2147483647 w 78" name="T50"/>
              <a:gd fmla="*/ 2147483647 h 112" name="T51"/>
              <a:gd fmla="*/ 2147483647 w 78" name="T52"/>
              <a:gd fmla="*/ 2147483647 h 112" name="T53"/>
              <a:gd fmla="*/ 2147483647 w 78" name="T54"/>
              <a:gd fmla="*/ 2147483647 h 112" name="T55"/>
              <a:gd fmla="*/ 2147483647 w 78" name="T56"/>
              <a:gd fmla="*/ 2147483647 h 112" name="T57"/>
              <a:gd fmla="*/ 2147483647 w 78" name="T58"/>
              <a:gd fmla="*/ 2147483647 h 112" name="T59"/>
              <a:gd fmla="*/ 2147483647 w 78" name="T60"/>
              <a:gd fmla="*/ 2147483647 h 112" name="T61"/>
              <a:gd fmla="*/ 2147483647 w 78" name="T62"/>
              <a:gd fmla="*/ 2147483647 h 112" name="T63"/>
              <a:gd fmla="*/ 2147483647 w 78" name="T64"/>
              <a:gd fmla="*/ 2147483647 h 112" name="T65"/>
              <a:gd fmla="*/ 2147483647 w 78" name="T66"/>
              <a:gd fmla="*/ 2147483647 h 112" name="T67"/>
              <a:gd fmla="*/ 2147483647 w 78" name="T68"/>
              <a:gd fmla="*/ 2147483647 h 112" name="T69"/>
              <a:gd fmla="*/ 2147483647 w 78" name="T70"/>
              <a:gd fmla="*/ 2147483647 h 112" name="T71"/>
              <a:gd fmla="*/ 2147483647 w 78" name="T72"/>
              <a:gd fmla="*/ 2147483647 h 112" name="T73"/>
              <a:gd fmla="*/ 2147483647 w 78" name="T74"/>
              <a:gd fmla="*/ 2147483647 h 112" name="T75"/>
              <a:gd fmla="*/ 2147483647 w 78" name="T76"/>
              <a:gd fmla="*/ 2147483647 h 112" name="T77"/>
              <a:gd fmla="*/ 0 60000 65536" name="T78"/>
              <a:gd fmla="*/ 0 60000 65536" name="T79"/>
              <a:gd fmla="*/ 0 60000 65536" name="T80"/>
              <a:gd fmla="*/ 0 60000 65536" name="T81"/>
              <a:gd fmla="*/ 0 60000 65536" name="T82"/>
              <a:gd fmla="*/ 0 60000 65536" name="T83"/>
              <a:gd fmla="*/ 0 60000 65536" name="T84"/>
              <a:gd fmla="*/ 0 60000 65536" name="T85"/>
              <a:gd fmla="*/ 0 60000 65536" name="T86"/>
              <a:gd fmla="*/ 0 60000 65536" name="T87"/>
              <a:gd fmla="*/ 0 60000 65536" name="T88"/>
              <a:gd fmla="*/ 0 60000 65536" name="T89"/>
              <a:gd fmla="*/ 0 60000 65536" name="T90"/>
              <a:gd fmla="*/ 0 60000 65536" name="T91"/>
              <a:gd fmla="*/ 0 60000 65536" name="T92"/>
              <a:gd fmla="*/ 0 60000 65536"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b="b" l="0" r="r" t="0"/>
            <a:pathLst>
              <a:path h="112" w="78">
                <a:moveTo>
                  <a:pt x="21" y="36"/>
                </a:moveTo>
                <a:cubicBezTo>
                  <a:pt x="20" y="27"/>
                  <a:pt x="20" y="19"/>
                  <a:pt x="21" y="11"/>
                </a:cubicBezTo>
                <a:cubicBezTo>
                  <a:pt x="37" y="0"/>
                  <a:pt x="45" y="13"/>
                  <a:pt x="58" y="11"/>
                </a:cubicBezTo>
                <a:cubicBezTo>
                  <a:pt x="59" y="19"/>
                  <a:pt x="59" y="29"/>
                  <a:pt x="57" y="36"/>
                </a:cubicBezTo>
                <a:cubicBezTo>
                  <a:pt x="57" y="40"/>
                  <a:pt x="55" y="44"/>
                  <a:pt x="53" y="47"/>
                </a:cubicBezTo>
                <a:cubicBezTo>
                  <a:pt x="49" y="51"/>
                  <a:pt x="44" y="53"/>
                  <a:pt x="39" y="53"/>
                </a:cubicBezTo>
                <a:cubicBezTo>
                  <a:pt x="39" y="53"/>
                  <a:pt x="39" y="53"/>
                  <a:pt x="39" y="53"/>
                </a:cubicBezTo>
                <a:cubicBezTo>
                  <a:pt x="34" y="53"/>
                  <a:pt x="29" y="51"/>
                  <a:pt x="26" y="47"/>
                </a:cubicBezTo>
                <a:cubicBezTo>
                  <a:pt x="24" y="44"/>
                  <a:pt x="22" y="40"/>
                  <a:pt x="21" y="36"/>
                </a:cubicBezTo>
                <a:close/>
                <a:moveTo>
                  <a:pt x="13" y="107"/>
                </a:moveTo>
                <a:cubicBezTo>
                  <a:pt x="67" y="107"/>
                  <a:pt x="67" y="107"/>
                  <a:pt x="67" y="107"/>
                </a:cubicBezTo>
                <a:cubicBezTo>
                  <a:pt x="64" y="112"/>
                  <a:pt x="64" y="112"/>
                  <a:pt x="64" y="112"/>
                </a:cubicBezTo>
                <a:cubicBezTo>
                  <a:pt x="16" y="112"/>
                  <a:pt x="16" y="112"/>
                  <a:pt x="16" y="112"/>
                </a:cubicBezTo>
                <a:cubicBezTo>
                  <a:pt x="13" y="107"/>
                  <a:pt x="13" y="107"/>
                  <a:pt x="13" y="107"/>
                </a:cubicBezTo>
                <a:close/>
                <a:moveTo>
                  <a:pt x="70" y="67"/>
                </a:moveTo>
                <a:cubicBezTo>
                  <a:pt x="76" y="90"/>
                  <a:pt x="76" y="90"/>
                  <a:pt x="76" y="90"/>
                </a:cubicBezTo>
                <a:cubicBezTo>
                  <a:pt x="78" y="98"/>
                  <a:pt x="77" y="103"/>
                  <a:pt x="68" y="103"/>
                </a:cubicBezTo>
                <a:cubicBezTo>
                  <a:pt x="66" y="103"/>
                  <a:pt x="66" y="103"/>
                  <a:pt x="66" y="103"/>
                </a:cubicBezTo>
                <a:cubicBezTo>
                  <a:pt x="66" y="72"/>
                  <a:pt x="66" y="72"/>
                  <a:pt x="66" y="72"/>
                </a:cubicBezTo>
                <a:cubicBezTo>
                  <a:pt x="42" y="72"/>
                  <a:pt x="42" y="72"/>
                  <a:pt x="42" y="72"/>
                </a:cubicBezTo>
                <a:cubicBezTo>
                  <a:pt x="49" y="56"/>
                  <a:pt x="49" y="56"/>
                  <a:pt x="49" y="56"/>
                </a:cubicBezTo>
                <a:cubicBezTo>
                  <a:pt x="51" y="54"/>
                  <a:pt x="51" y="54"/>
                  <a:pt x="51" y="54"/>
                </a:cubicBezTo>
                <a:cubicBezTo>
                  <a:pt x="65" y="57"/>
                  <a:pt x="65" y="57"/>
                  <a:pt x="65" y="57"/>
                </a:cubicBezTo>
                <a:cubicBezTo>
                  <a:pt x="66" y="57"/>
                  <a:pt x="66" y="57"/>
                  <a:pt x="66" y="57"/>
                </a:cubicBezTo>
                <a:cubicBezTo>
                  <a:pt x="66" y="58"/>
                  <a:pt x="66" y="58"/>
                  <a:pt x="66" y="58"/>
                </a:cubicBezTo>
                <a:cubicBezTo>
                  <a:pt x="68" y="61"/>
                  <a:pt x="69" y="64"/>
                  <a:pt x="70" y="67"/>
                </a:cubicBezTo>
                <a:cubicBezTo>
                  <a:pt x="70" y="67"/>
                  <a:pt x="70" y="67"/>
                  <a:pt x="70" y="67"/>
                </a:cubicBezTo>
                <a:close/>
                <a:moveTo>
                  <a:pt x="14" y="103"/>
                </a:moveTo>
                <a:cubicBezTo>
                  <a:pt x="11" y="103"/>
                  <a:pt x="11" y="103"/>
                  <a:pt x="11" y="103"/>
                </a:cubicBezTo>
                <a:cubicBezTo>
                  <a:pt x="1" y="103"/>
                  <a:pt x="0" y="98"/>
                  <a:pt x="3" y="90"/>
                </a:cubicBezTo>
                <a:cubicBezTo>
                  <a:pt x="9" y="67"/>
                  <a:pt x="9" y="67"/>
                  <a:pt x="9" y="67"/>
                </a:cubicBezTo>
                <a:cubicBezTo>
                  <a:pt x="9" y="63"/>
                  <a:pt x="11" y="60"/>
                  <a:pt x="14" y="58"/>
                </a:cubicBezTo>
                <a:cubicBezTo>
                  <a:pt x="14" y="57"/>
                  <a:pt x="14" y="57"/>
                  <a:pt x="14" y="57"/>
                </a:cubicBezTo>
                <a:cubicBezTo>
                  <a:pt x="14" y="57"/>
                  <a:pt x="14" y="57"/>
                  <a:pt x="14" y="57"/>
                </a:cubicBezTo>
                <a:cubicBezTo>
                  <a:pt x="28" y="54"/>
                  <a:pt x="28" y="54"/>
                  <a:pt x="28" y="54"/>
                </a:cubicBezTo>
                <a:cubicBezTo>
                  <a:pt x="30" y="56"/>
                  <a:pt x="30" y="56"/>
                  <a:pt x="30" y="56"/>
                </a:cubicBezTo>
                <a:cubicBezTo>
                  <a:pt x="38" y="72"/>
                  <a:pt x="38" y="72"/>
                  <a:pt x="38" y="72"/>
                </a:cubicBezTo>
                <a:cubicBezTo>
                  <a:pt x="14" y="72"/>
                  <a:pt x="14" y="72"/>
                  <a:pt x="14" y="72"/>
                </a:cubicBezTo>
                <a:lnTo>
                  <a:pt x="14" y="103"/>
                </a:lnTo>
                <a:close/>
              </a:path>
            </a:pathLst>
          </a:custGeom>
          <a:solidFill>
            <a:schemeClr val="bg1"/>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5" name="椭圆 4">
            <a:extLst>
              <a:ext uri="{FF2B5EF4-FFF2-40B4-BE49-F238E27FC236}">
                <a16:creationId xmlns:a16="http://schemas.microsoft.com/office/drawing/2014/main" id="{7BF72C50-1F27-4A6C-B0EB-993627D1209D}"/>
              </a:ext>
            </a:extLst>
          </p:cNvPr>
          <p:cNvSpPr>
            <a:spLocks noChangeAspect="1"/>
          </p:cNvSpPr>
          <p:nvPr/>
        </p:nvSpPr>
        <p:spPr>
          <a:xfrm>
            <a:off x="5042873" y="3291612"/>
            <a:ext cx="1800225" cy="1800225"/>
          </a:xfrm>
          <a:prstGeom prst="ellipse">
            <a:avLst/>
          </a:prstGeom>
          <a:solidFill>
            <a:schemeClr val="accent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2" name="弧形 1">
            <a:extLst>
              <a:ext uri="{FF2B5EF4-FFF2-40B4-BE49-F238E27FC236}">
                <a16:creationId xmlns:a16="http://schemas.microsoft.com/office/drawing/2014/main" id="{A7AB72B5-8424-4C4F-8D8C-63BA2DE6CD5D}"/>
              </a:ext>
            </a:extLst>
          </p:cNvPr>
          <p:cNvSpPr/>
          <p:nvPr/>
        </p:nvSpPr>
        <p:spPr>
          <a:xfrm rot="18096576">
            <a:off x="7765435" y="2540725"/>
            <a:ext cx="1281113" cy="1677988"/>
          </a:xfrm>
          <a:prstGeom prst="arc">
            <a:avLst>
              <a:gd fmla="val 15669845" name="adj1"/>
              <a:gd fmla="val 126852" name="adj2"/>
            </a:avLst>
          </a:prstGeom>
          <a:ln>
            <a:solidFill>
              <a:schemeClr val="dk2"/>
            </a:solidFill>
            <a:prstDash val="sysDash"/>
          </a:ln>
        </p:spPr>
        <p:style>
          <a:lnRef idx="1">
            <a:schemeClr val="accent1"/>
          </a:lnRef>
          <a:fillRef idx="0">
            <a:schemeClr val="accent1"/>
          </a:fillRef>
          <a:effectRef idx="0">
            <a:schemeClr val="accent1"/>
          </a:effectRef>
          <a:fontRef idx="minor">
            <a:schemeClr val="tx1"/>
          </a:fontRef>
        </p:style>
        <p:txBody>
          <a:bodyPr anchor="ctr"/>
          <a:lstStyle/>
          <a:p>
            <a:pPr algn="ctr" eaLnBrk="1" fontAlgn="auto" hangingPunct="1">
              <a:spcBef>
                <a:spcPct val="0"/>
              </a:spcBef>
              <a:spcAft>
                <a:spcPct val="0"/>
              </a:spcAft>
              <a:defRPr/>
            </a:pPr>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4343" name="矩形 6">
            <a:extLst>
              <a:ext uri="{FF2B5EF4-FFF2-40B4-BE49-F238E27FC236}">
                <a16:creationId xmlns:a16="http://schemas.microsoft.com/office/drawing/2014/main" id="{DA84DD3E-4A15-4B85-8CB9-64485B89EA6B}"/>
              </a:ext>
            </a:extLst>
          </p:cNvPr>
          <p:cNvSpPr>
            <a:spLocks noChangeArrowheads="1"/>
          </p:cNvSpPr>
          <p:nvPr/>
        </p:nvSpPr>
        <p:spPr bwMode="auto">
          <a:xfrm>
            <a:off x="8494099" y="2859812"/>
            <a:ext cx="1886267" cy="335280"/>
          </a:xfrm>
          <a:prstGeom prst="rect">
            <a:avLst/>
          </a:prstGeom>
          <a:solidFill>
            <a:schemeClr val="dk2"/>
          </a:solidFill>
          <a:ln>
            <a:noFill/>
          </a:ln>
          <a:extLst>
            <a:ext uri="{91240B29-F687-4F45-9708-019B960494DF}">
              <a14:hiddenLine w="9525">
                <a:solidFill>
                  <a:srgbClr val="000000"/>
                </a:solidFill>
                <a:miter lim="800000"/>
                <a:headEnd/>
                <a:tailEnd/>
              </a14:hiddenLine>
            </a:ext>
          </a:extLst>
        </p:spPr>
        <p:txBody>
          <a:bodyPr wrap="none">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r>
              <a:rPr altLang="zh-CN" b="1" lang="en-US" sz="1600">
                <a:solidFill>
                  <a:schemeClr val="bg1"/>
                </a:solidFill>
                <a:latin charset="-122" panose="020b0400000000000000" pitchFamily="34" typeface="思源黑体"/>
                <a:ea charset="-122" panose="020b0400000000000000" pitchFamily="34" typeface="思源黑体"/>
                <a:sym charset="-122" panose="020b0400000000000000" pitchFamily="34" typeface="思源黑体"/>
              </a:rPr>
              <a:t>ADD YOUR TEXT</a:t>
            </a:r>
          </a:p>
        </p:txBody>
      </p:sp>
      <p:sp>
        <p:nvSpPr>
          <p:cNvPr id="14344" name="矩形 7">
            <a:extLst>
              <a:ext uri="{FF2B5EF4-FFF2-40B4-BE49-F238E27FC236}">
                <a16:creationId xmlns:a16="http://schemas.microsoft.com/office/drawing/2014/main" id="{C90955BB-5B1F-424C-BAF4-02C7912522A0}"/>
              </a:ext>
            </a:extLst>
          </p:cNvPr>
          <p:cNvSpPr>
            <a:spLocks noChangeArrowheads="1"/>
          </p:cNvSpPr>
          <p:nvPr/>
        </p:nvSpPr>
        <p:spPr bwMode="auto">
          <a:xfrm>
            <a:off x="8406785" y="3229700"/>
            <a:ext cx="2873375" cy="137160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r>
              <a:rPr altLang="en-US" lang="zh-CN" sz="1400">
                <a:solidFill>
                  <a:schemeClr val="bg2"/>
                </a:solidFill>
                <a:latin charset="-122" panose="020b0400000000000000" pitchFamily="34" typeface="思源黑体"/>
                <a:ea charset="-122" panose="020b0400000000000000" pitchFamily="34" typeface="思源黑体"/>
                <a:sym charset="-122" panose="020b0400000000000000" pitchFamily="34" typeface="思源黑体"/>
              </a:rPr>
              <a:t>Vestibulum ante ipsum primis in faucibus orci luctus et ultrices posuere cubilia Curae; Donec velit neque, auctor sit amet aliquam vel, ullamcorper sit amet ligula. Nulla</a:t>
            </a:r>
          </a:p>
        </p:txBody>
      </p:sp>
      <p:sp>
        <p:nvSpPr>
          <p:cNvPr id="14345" name="矩形 8">
            <a:extLst>
              <a:ext uri="{FF2B5EF4-FFF2-40B4-BE49-F238E27FC236}">
                <a16:creationId xmlns:a16="http://schemas.microsoft.com/office/drawing/2014/main" id="{03A736F0-07D4-4DDE-8C80-98DA9FE7732C}"/>
              </a:ext>
            </a:extLst>
          </p:cNvPr>
          <p:cNvSpPr>
            <a:spLocks noChangeArrowheads="1"/>
          </p:cNvSpPr>
          <p:nvPr/>
        </p:nvSpPr>
        <p:spPr bwMode="auto">
          <a:xfrm>
            <a:off x="2007573" y="4167912"/>
            <a:ext cx="1886267" cy="335280"/>
          </a:xfrm>
          <a:prstGeom prst="rect">
            <a:avLst/>
          </a:prstGeom>
          <a:solidFill>
            <a:schemeClr val="accent1"/>
          </a:solidFill>
          <a:ln>
            <a:noFill/>
          </a:ln>
          <a:extLst>
            <a:ext uri="{91240B29-F687-4F45-9708-019B960494DF}">
              <a14:hiddenLine w="9525">
                <a:solidFill>
                  <a:srgbClr val="000000"/>
                </a:solidFill>
                <a:miter lim="800000"/>
                <a:headEnd/>
                <a:tailEnd/>
              </a14:hiddenLine>
            </a:ext>
          </a:extLst>
        </p:spPr>
        <p:txBody>
          <a:bodyPr wrap="none">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r>
              <a:rPr altLang="zh-CN" b="1" lang="en-US" sz="1600">
                <a:solidFill>
                  <a:schemeClr val="bg1"/>
                </a:solidFill>
                <a:latin charset="-122" panose="020b0400000000000000" pitchFamily="34" typeface="思源黑体"/>
                <a:ea charset="-122" panose="020b0400000000000000" pitchFamily="34" typeface="思源黑体"/>
                <a:sym charset="-122" panose="020b0400000000000000" pitchFamily="34" typeface="思源黑体"/>
              </a:rPr>
              <a:t>ADD YOUR TEXT</a:t>
            </a:r>
          </a:p>
        </p:txBody>
      </p:sp>
      <p:sp>
        <p:nvSpPr>
          <p:cNvPr id="14346" name="矩形 9">
            <a:extLst>
              <a:ext uri="{FF2B5EF4-FFF2-40B4-BE49-F238E27FC236}">
                <a16:creationId xmlns:a16="http://schemas.microsoft.com/office/drawing/2014/main" id="{57981C91-29B4-45D6-A93A-94C57EE00D85}"/>
              </a:ext>
            </a:extLst>
          </p:cNvPr>
          <p:cNvSpPr>
            <a:spLocks noChangeArrowheads="1"/>
          </p:cNvSpPr>
          <p:nvPr/>
        </p:nvSpPr>
        <p:spPr bwMode="auto">
          <a:xfrm>
            <a:off x="1105873" y="4506051"/>
            <a:ext cx="2874963" cy="137160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algn="r" eaLnBrk="1" hangingPunct="1"/>
            <a:r>
              <a:rPr altLang="en-US" lang="zh-CN" sz="1400">
                <a:solidFill>
                  <a:schemeClr val="bg2"/>
                </a:solidFill>
                <a:latin charset="-122" panose="020b0400000000000000" pitchFamily="34" typeface="思源黑体"/>
                <a:ea charset="-122" panose="020b0400000000000000" pitchFamily="34" typeface="思源黑体"/>
                <a:sym charset="-122" panose="020b0400000000000000" pitchFamily="34" typeface="思源黑体"/>
              </a:rPr>
              <a:t>Vestibulum ante ipsum primis in faucibus orci luctus et ultrices posuere cubilia Curae; Donec velit neque, auctor sit amet aliquam vel, ullamcorper sit amet ligula. Nulla</a:t>
            </a:r>
          </a:p>
        </p:txBody>
      </p:sp>
      <p:sp>
        <p:nvSpPr>
          <p:cNvPr id="14347" name="矩形 10">
            <a:extLst>
              <a:ext uri="{FF2B5EF4-FFF2-40B4-BE49-F238E27FC236}">
                <a16:creationId xmlns:a16="http://schemas.microsoft.com/office/drawing/2014/main" id="{236AA676-C7C1-43C9-8BB6-3434284B59B6}"/>
              </a:ext>
            </a:extLst>
          </p:cNvPr>
          <p:cNvSpPr>
            <a:spLocks noChangeArrowheads="1"/>
          </p:cNvSpPr>
          <p:nvPr/>
        </p:nvSpPr>
        <p:spPr bwMode="auto">
          <a:xfrm>
            <a:off x="2007573" y="1689825"/>
            <a:ext cx="1886267" cy="335280"/>
          </a:xfrm>
          <a:prstGeom prst="rect">
            <a:avLst/>
          </a:prstGeom>
          <a:solidFill>
            <a:schemeClr val="accent1"/>
          </a:solidFill>
          <a:ln>
            <a:noFill/>
          </a:ln>
          <a:extLst>
            <a:ext uri="{91240B29-F687-4F45-9708-019B960494DF}">
              <a14:hiddenLine w="9525">
                <a:solidFill>
                  <a:srgbClr val="000000"/>
                </a:solidFill>
                <a:miter lim="800000"/>
                <a:headEnd/>
                <a:tailEnd/>
              </a14:hiddenLine>
            </a:ext>
          </a:extLst>
        </p:spPr>
        <p:txBody>
          <a:bodyPr wrap="none">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r>
              <a:rPr altLang="zh-CN" b="1" lang="en-US" sz="1600">
                <a:solidFill>
                  <a:schemeClr val="bg1"/>
                </a:solidFill>
                <a:latin charset="-122" panose="020b0400000000000000" pitchFamily="34" typeface="思源黑体"/>
                <a:ea charset="-122" panose="020b0400000000000000" pitchFamily="34" typeface="思源黑体"/>
                <a:sym charset="-122" panose="020b0400000000000000" pitchFamily="34" typeface="思源黑体"/>
              </a:rPr>
              <a:t>ADD YOUR TEXT</a:t>
            </a:r>
          </a:p>
        </p:txBody>
      </p:sp>
      <p:sp>
        <p:nvSpPr>
          <p:cNvPr id="14348" name="矩形 11">
            <a:extLst>
              <a:ext uri="{FF2B5EF4-FFF2-40B4-BE49-F238E27FC236}">
                <a16:creationId xmlns:a16="http://schemas.microsoft.com/office/drawing/2014/main" id="{6A24CE6E-6DC2-46A0-86A4-DFA15EC84439}"/>
              </a:ext>
            </a:extLst>
          </p:cNvPr>
          <p:cNvSpPr>
            <a:spLocks noChangeArrowheads="1"/>
          </p:cNvSpPr>
          <p:nvPr/>
        </p:nvSpPr>
        <p:spPr bwMode="auto">
          <a:xfrm>
            <a:off x="1105873" y="2029550"/>
            <a:ext cx="2874963" cy="137160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algn="r" eaLnBrk="1" hangingPunct="1"/>
            <a:r>
              <a:rPr altLang="en-US" lang="zh-CN" sz="1400">
                <a:solidFill>
                  <a:schemeClr val="bg2"/>
                </a:solidFill>
                <a:latin charset="-122" panose="020b0400000000000000" pitchFamily="34" typeface="思源黑体"/>
                <a:ea charset="-122" panose="020b0400000000000000" pitchFamily="34" typeface="思源黑体"/>
                <a:sym charset="-122" panose="020b0400000000000000" pitchFamily="34" typeface="思源黑体"/>
              </a:rPr>
              <a:t>Vestibulum ante ipsum primis in faucibus orci luctus et ultrices posuere cubilia Curae; Donec velit neque, auctor sit amet aliquam vel, ullamcorper sit amet ligula. Nulla</a:t>
            </a:r>
          </a:p>
        </p:txBody>
      </p:sp>
      <p:sp>
        <p:nvSpPr>
          <p:cNvPr id="14" name="弧形 13">
            <a:extLst>
              <a:ext uri="{FF2B5EF4-FFF2-40B4-BE49-F238E27FC236}">
                <a16:creationId xmlns:a16="http://schemas.microsoft.com/office/drawing/2014/main" id="{598FFAF7-E89C-404F-A8D1-CA4B7F35BF17}"/>
              </a:ext>
            </a:extLst>
          </p:cNvPr>
          <p:cNvSpPr/>
          <p:nvPr/>
        </p:nvSpPr>
        <p:spPr>
          <a:xfrm>
            <a:off x="3288686" y="1842225"/>
            <a:ext cx="1584325" cy="1495425"/>
          </a:xfrm>
          <a:prstGeom prst="arc">
            <a:avLst>
              <a:gd fmla="val 16200000" name="adj1"/>
              <a:gd fmla="val 21349829" name="adj2"/>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txBody>
          <a:bodyPr anchor="ctr"/>
          <a:lstStyle/>
          <a:p>
            <a:pPr algn="ctr" eaLnBrk="1" fontAlgn="auto" hangingPunct="1">
              <a:spcBef>
                <a:spcPct val="0"/>
              </a:spcBef>
              <a:spcAft>
                <a:spcPct val="0"/>
              </a:spcAft>
              <a:defRPr/>
            </a:pPr>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5" name="弧形 14">
            <a:extLst>
              <a:ext uri="{FF2B5EF4-FFF2-40B4-BE49-F238E27FC236}">
                <a16:creationId xmlns:a16="http://schemas.microsoft.com/office/drawing/2014/main" id="{0A24A817-A556-4334-A0F8-54C653B7E443}"/>
              </a:ext>
            </a:extLst>
          </p:cNvPr>
          <p:cNvSpPr/>
          <p:nvPr/>
        </p:nvSpPr>
        <p:spPr>
          <a:xfrm flipV="1" rot="1188091">
            <a:off x="3599836" y="3532912"/>
            <a:ext cx="1585912" cy="1493838"/>
          </a:xfrm>
          <a:prstGeom prst="arc">
            <a:avLst>
              <a:gd fmla="val 15155280" name="adj1"/>
              <a:gd fmla="val 21349829" name="adj2"/>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txBody>
          <a:bodyPr anchor="ctr"/>
          <a:lstStyle/>
          <a:p>
            <a:pPr algn="ctr" eaLnBrk="1" fontAlgn="auto" hangingPunct="1">
              <a:spcBef>
                <a:spcPct val="0"/>
              </a:spcBef>
              <a:spcAft>
                <a:spcPct val="0"/>
              </a:spcAft>
              <a:defRPr/>
            </a:pPr>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4351" name="Freeform 91">
            <a:extLst>
              <a:ext uri="{FF2B5EF4-FFF2-40B4-BE49-F238E27FC236}">
                <a16:creationId xmlns:a16="http://schemas.microsoft.com/office/drawing/2014/main" id="{F62A03E7-E190-4F69-BD2A-C31B43120FE6}"/>
              </a:ext>
            </a:extLst>
          </p:cNvPr>
          <p:cNvSpPr/>
          <p:nvPr/>
        </p:nvSpPr>
        <p:spPr bwMode="auto">
          <a:xfrm>
            <a:off x="5674698" y="3859937"/>
            <a:ext cx="536575" cy="663575"/>
          </a:xfrm>
          <a:custGeom>
            <a:gdLst>
              <a:gd fmla="*/ 2147483647 w 52" name="T0"/>
              <a:gd fmla="*/ 2147483647 h 64" name="T1"/>
              <a:gd fmla="*/ 2147483647 w 52" name="T2"/>
              <a:gd fmla="*/ 2147483647 h 64" name="T3"/>
              <a:gd fmla="*/ 2147483647 w 52" name="T4"/>
              <a:gd fmla="*/ 2147483647 h 64" name="T5"/>
              <a:gd fmla="*/ 2147483647 w 52" name="T6"/>
              <a:gd fmla="*/ 2147483647 h 64" name="T7"/>
              <a:gd fmla="*/ 2147483647 w 52" name="T8"/>
              <a:gd fmla="*/ 2147483647 h 64" name="T9"/>
              <a:gd fmla="*/ 2147483647 w 52" name="T10"/>
              <a:gd fmla="*/ 2147483647 h 64" name="T11"/>
              <a:gd fmla="*/ 2147483647 w 52" name="T12"/>
              <a:gd fmla="*/ 2147483647 h 64" name="T13"/>
              <a:gd fmla="*/ 2147483647 w 52" name="T14"/>
              <a:gd fmla="*/ 2147483647 h 64" name="T15"/>
              <a:gd fmla="*/ 2147483647 w 52" name="T16"/>
              <a:gd fmla="*/ 2147483647 h 64" name="T17"/>
              <a:gd fmla="*/ 2147483647 w 52" name="T18"/>
              <a:gd fmla="*/ 2147483647 h 64" name="T19"/>
              <a:gd fmla="*/ 2147483647 w 52" name="T20"/>
              <a:gd fmla="*/ 2147483647 h 64" name="T21"/>
              <a:gd fmla="*/ 2147483647 w 52" name="T22"/>
              <a:gd fmla="*/ 2147483647 h 64" name="T23"/>
              <a:gd fmla="*/ 2147483647 w 52" name="T24"/>
              <a:gd fmla="*/ 2147483647 h 64" name="T25"/>
              <a:gd fmla="*/ 2147483647 w 52" name="T26"/>
              <a:gd fmla="*/ 2147483647 h 64" name="T27"/>
              <a:gd fmla="*/ 2147483647 w 52" name="T28"/>
              <a:gd fmla="*/ 2147483647 h 64" name="T29"/>
              <a:gd fmla="*/ 2147483647 w 52" name="T30"/>
              <a:gd fmla="*/ 2147483647 h 64" name="T31"/>
              <a:gd fmla="*/ 2147483647 w 52" name="T32"/>
              <a:gd fmla="*/ 2147483647 h 64" name="T33"/>
              <a:gd fmla="*/ 0 w 52" name="T34"/>
              <a:gd fmla="*/ 0 h 64" name="T35"/>
              <a:gd fmla="*/ 2147483647 w 52" name="T36"/>
              <a:gd fmla="*/ 0 h 64" name="T37"/>
              <a:gd fmla="*/ 2147483647 w 52" name="T38"/>
              <a:gd fmla="*/ 2147483647 h 64" name="T39"/>
              <a:gd fmla="*/ 2147483647 w 52" name="T40"/>
              <a:gd fmla="*/ 2147483647 h 64" name="T41"/>
              <a:gd fmla="*/ 2147483647 w 52" name="T42"/>
              <a:gd fmla="*/ 2147483647 h 64" name="T43"/>
              <a:gd fmla="*/ 2147483647 w 52" name="T44"/>
              <a:gd fmla="*/ 2147483647 h 64" name="T45"/>
              <a:gd fmla="*/ 2147483647 w 52" name="T46"/>
              <a:gd fmla="*/ 0 h 64" name="T47"/>
              <a:gd fmla="*/ 2147483647 w 52" name="T48"/>
              <a:gd fmla="*/ 0 h 64" name="T49"/>
              <a:gd fmla="*/ 2147483647 w 52" name="T50"/>
              <a:gd fmla="*/ 2147483647 h 64" name="T51"/>
              <a:gd fmla="*/ 2147483647 w 52" name="T52"/>
              <a:gd fmla="*/ 2147483647 h 64" name="T53"/>
              <a:gd fmla="*/ 0 60000 65536" name="T54"/>
              <a:gd fmla="*/ 0 60000 65536" name="T55"/>
              <a:gd fmla="*/ 0 60000 65536" name="T56"/>
              <a:gd fmla="*/ 0 60000 65536" name="T57"/>
              <a:gd fmla="*/ 0 60000 65536" name="T58"/>
              <a:gd fmla="*/ 0 60000 65536" name="T59"/>
              <a:gd fmla="*/ 0 60000 65536" name="T60"/>
              <a:gd fmla="*/ 0 60000 65536" name="T61"/>
              <a:gd fmla="*/ 0 60000 65536" name="T62"/>
              <a:gd fmla="*/ 0 60000 65536" name="T63"/>
              <a:gd fmla="*/ 0 60000 65536" name="T64"/>
              <a:gd fmla="*/ 0 60000 65536" name="T65"/>
              <a:gd fmla="*/ 0 60000 65536" name="T66"/>
              <a:gd fmla="*/ 0 60000 65536" name="T67"/>
              <a:gd fmla="*/ 0 60000 65536" name="T68"/>
              <a:gd fmla="*/ 0 60000 65536" name="T69"/>
              <a:gd fmla="*/ 0 60000 65536" name="T70"/>
              <a:gd fmla="*/ 0 60000 65536" name="T71"/>
              <a:gd fmla="*/ 0 60000 65536" name="T72"/>
              <a:gd fmla="*/ 0 60000 65536" name="T73"/>
              <a:gd fmla="*/ 0 60000 65536" name="T74"/>
              <a:gd fmla="*/ 0 60000 65536" name="T75"/>
              <a:gd fmla="*/ 0 60000 65536" name="T76"/>
              <a:gd fmla="*/ 0 60000 65536" name="T77"/>
              <a:gd fmla="*/ 0 60000 65536" name="T78"/>
              <a:gd fmla="*/ 0 60000 65536" name="T79"/>
              <a:gd fmla="*/ 0 60000 65536" name="T80"/>
            </a:gd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b="b" l="0" r="r" t="0"/>
            <a:pathLst>
              <a:path h="64" w="52">
                <a:moveTo>
                  <a:pt x="47" y="29"/>
                </a:moveTo>
                <a:cubicBezTo>
                  <a:pt x="47" y="35"/>
                  <a:pt x="47" y="35"/>
                  <a:pt x="47" y="35"/>
                </a:cubicBezTo>
                <a:cubicBezTo>
                  <a:pt x="31" y="35"/>
                  <a:pt x="31" y="35"/>
                  <a:pt x="31" y="35"/>
                </a:cubicBezTo>
                <a:cubicBezTo>
                  <a:pt x="31" y="42"/>
                  <a:pt x="31" y="42"/>
                  <a:pt x="31" y="42"/>
                </a:cubicBezTo>
                <a:cubicBezTo>
                  <a:pt x="47" y="42"/>
                  <a:pt x="47" y="42"/>
                  <a:pt x="47" y="42"/>
                </a:cubicBezTo>
                <a:cubicBezTo>
                  <a:pt x="47" y="48"/>
                  <a:pt x="47" y="48"/>
                  <a:pt x="47" y="48"/>
                </a:cubicBezTo>
                <a:cubicBezTo>
                  <a:pt x="31" y="48"/>
                  <a:pt x="31" y="48"/>
                  <a:pt x="31" y="48"/>
                </a:cubicBezTo>
                <a:cubicBezTo>
                  <a:pt x="31" y="64"/>
                  <a:pt x="31" y="64"/>
                  <a:pt x="31" y="64"/>
                </a:cubicBezTo>
                <a:cubicBezTo>
                  <a:pt x="20" y="64"/>
                  <a:pt x="20" y="64"/>
                  <a:pt x="20" y="64"/>
                </a:cubicBezTo>
                <a:cubicBezTo>
                  <a:pt x="20" y="48"/>
                  <a:pt x="20" y="48"/>
                  <a:pt x="20" y="48"/>
                </a:cubicBezTo>
                <a:cubicBezTo>
                  <a:pt x="4" y="48"/>
                  <a:pt x="4" y="48"/>
                  <a:pt x="4" y="48"/>
                </a:cubicBezTo>
                <a:cubicBezTo>
                  <a:pt x="4" y="42"/>
                  <a:pt x="4" y="42"/>
                  <a:pt x="4" y="42"/>
                </a:cubicBezTo>
                <a:cubicBezTo>
                  <a:pt x="20" y="42"/>
                  <a:pt x="20" y="42"/>
                  <a:pt x="20" y="42"/>
                </a:cubicBezTo>
                <a:cubicBezTo>
                  <a:pt x="20" y="35"/>
                  <a:pt x="20" y="35"/>
                  <a:pt x="20" y="35"/>
                </a:cubicBezTo>
                <a:cubicBezTo>
                  <a:pt x="4" y="35"/>
                  <a:pt x="4" y="35"/>
                  <a:pt x="4" y="35"/>
                </a:cubicBezTo>
                <a:cubicBezTo>
                  <a:pt x="4" y="29"/>
                  <a:pt x="4" y="29"/>
                  <a:pt x="4" y="29"/>
                </a:cubicBezTo>
                <a:cubicBezTo>
                  <a:pt x="17" y="29"/>
                  <a:pt x="17" y="29"/>
                  <a:pt x="17" y="29"/>
                </a:cubicBezTo>
                <a:cubicBezTo>
                  <a:pt x="0" y="0"/>
                  <a:pt x="0" y="0"/>
                  <a:pt x="0" y="0"/>
                </a:cubicBezTo>
                <a:cubicBezTo>
                  <a:pt x="13" y="0"/>
                  <a:pt x="13" y="0"/>
                  <a:pt x="13" y="0"/>
                </a:cubicBezTo>
                <a:cubicBezTo>
                  <a:pt x="22" y="18"/>
                  <a:pt x="22" y="18"/>
                  <a:pt x="22" y="18"/>
                </a:cubicBezTo>
                <a:cubicBezTo>
                  <a:pt x="23" y="21"/>
                  <a:pt x="25" y="25"/>
                  <a:pt x="26" y="28"/>
                </a:cubicBezTo>
                <a:cubicBezTo>
                  <a:pt x="26" y="28"/>
                  <a:pt x="26" y="28"/>
                  <a:pt x="26" y="28"/>
                </a:cubicBezTo>
                <a:cubicBezTo>
                  <a:pt x="27" y="25"/>
                  <a:pt x="29" y="21"/>
                  <a:pt x="30" y="18"/>
                </a:cubicBezTo>
                <a:cubicBezTo>
                  <a:pt x="39" y="0"/>
                  <a:pt x="39" y="0"/>
                  <a:pt x="39" y="0"/>
                </a:cubicBezTo>
                <a:cubicBezTo>
                  <a:pt x="52" y="0"/>
                  <a:pt x="52" y="0"/>
                  <a:pt x="52" y="0"/>
                </a:cubicBezTo>
                <a:cubicBezTo>
                  <a:pt x="34" y="29"/>
                  <a:pt x="34" y="29"/>
                  <a:pt x="34" y="29"/>
                </a:cubicBezTo>
                <a:lnTo>
                  <a:pt x="47" y="29"/>
                </a:lnTo>
                <a:close/>
              </a:path>
            </a:pathLst>
          </a:custGeom>
          <a:solidFill>
            <a:schemeClr val="bg1"/>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6" name="椭圆 5">
            <a:extLst>
              <a:ext uri="{FF2B5EF4-FFF2-40B4-BE49-F238E27FC236}">
                <a16:creationId xmlns:a16="http://schemas.microsoft.com/office/drawing/2014/main" id="{0B21D3F3-DD41-40B4-9937-77524B4B6697}"/>
              </a:ext>
            </a:extLst>
          </p:cNvPr>
          <p:cNvSpPr>
            <a:spLocks noChangeAspect="1"/>
          </p:cNvSpPr>
          <p:nvPr/>
        </p:nvSpPr>
        <p:spPr>
          <a:xfrm>
            <a:off x="5942986" y="2480400"/>
            <a:ext cx="1800225" cy="1800225"/>
          </a:xfrm>
          <a:prstGeom prst="ellipse">
            <a:avLst/>
          </a:prstGeom>
          <a:solidFill>
            <a:schemeClr val="dk2">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grpSp>
        <p:nvGrpSpPr>
          <p:cNvPr id="14353" name="组合 15">
            <a:extLst>
              <a:ext uri="{FF2B5EF4-FFF2-40B4-BE49-F238E27FC236}">
                <a16:creationId xmlns:a16="http://schemas.microsoft.com/office/drawing/2014/main" id="{D54EFA1A-3815-4F52-BF89-E2107E3FA9A3}"/>
              </a:ext>
            </a:extLst>
          </p:cNvPr>
          <p:cNvGrpSpPr/>
          <p:nvPr/>
        </p:nvGrpSpPr>
        <p:grpSpPr>
          <a:xfrm>
            <a:off x="6497023" y="2929662"/>
            <a:ext cx="692150" cy="900113"/>
            <a:chOff x="4456113" y="3070225"/>
            <a:chExt cx="439738" cy="573088"/>
          </a:xfrm>
        </p:grpSpPr>
        <p:sp>
          <p:nvSpPr>
            <p:cNvPr id="14354" name="Freeform 49">
              <a:extLst>
                <a:ext uri="{FF2B5EF4-FFF2-40B4-BE49-F238E27FC236}">
                  <a16:creationId xmlns:a16="http://schemas.microsoft.com/office/drawing/2014/main" id="{6EEAF2E3-DE55-4AA6-AA03-DCB543942861}"/>
                </a:ext>
              </a:extLst>
            </p:cNvPr>
            <p:cNvSpPr/>
            <p:nvPr/>
          </p:nvSpPr>
          <p:spPr bwMode="auto">
            <a:xfrm>
              <a:off x="4456113" y="3476625"/>
              <a:ext cx="439738" cy="166688"/>
            </a:xfrm>
            <a:custGeom>
              <a:gdLst>
                <a:gd fmla="*/ 2147483647 w 504" name="T0"/>
                <a:gd fmla="*/ 0 h 190" name="T1"/>
                <a:gd fmla="*/ 2147483647 w 504" name="T2"/>
                <a:gd fmla="*/ 2147483647 h 190" name="T3"/>
                <a:gd fmla="*/ 2147483647 w 504" name="T4"/>
                <a:gd fmla="*/ 2147483647 h 190" name="T5"/>
                <a:gd fmla="*/ 2147483647 w 504" name="T6"/>
                <a:gd fmla="*/ 2147483647 h 190" name="T7"/>
                <a:gd fmla="*/ 2147483647 w 504" name="T8"/>
                <a:gd fmla="*/ 0 h 190" name="T9"/>
                <a:gd fmla="*/ 0 w 504" name="T10"/>
                <a:gd fmla="*/ 2147483647 h 190" name="T11"/>
                <a:gd fmla="*/ 2147483647 w 504" name="T12"/>
                <a:gd fmla="*/ 2147483647 h 190" name="T13"/>
                <a:gd fmla="*/ 2147483647 w 504" name="T14"/>
                <a:gd fmla="*/ 2147483647 h 190" name="T15"/>
                <a:gd fmla="*/ 2147483647 w 504" name="T16"/>
                <a:gd fmla="*/ 0 h 190" name="T17"/>
                <a:gd fmla="*/ 0 60000 65536" name="T18"/>
                <a:gd fmla="*/ 0 60000 65536" name="T19"/>
                <a:gd fmla="*/ 0 60000 65536" name="T20"/>
                <a:gd fmla="*/ 0 60000 65536" name="T21"/>
                <a:gd fmla="*/ 0 60000 65536" name="T22"/>
                <a:gd fmla="*/ 0 60000 65536" name="T23"/>
                <a:gd fmla="*/ 0 60000 65536" name="T24"/>
                <a:gd fmla="*/ 0 60000 65536" name="T25"/>
                <a:gd fmla="*/ 0 60000 65536" name="T26"/>
              </a:gd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b="b" l="0" r="r" t="0"/>
              <a:pathLst>
                <a:path h="190" w="502">
                  <a:moveTo>
                    <a:pt x="422" y="0"/>
                  </a:moveTo>
                  <a:cubicBezTo>
                    <a:pt x="420" y="2"/>
                    <a:pt x="418" y="5"/>
                    <a:pt x="416" y="7"/>
                  </a:cubicBezTo>
                  <a:cubicBezTo>
                    <a:pt x="374" y="60"/>
                    <a:pt x="314" y="90"/>
                    <a:pt x="252" y="90"/>
                  </a:cubicBezTo>
                  <a:cubicBezTo>
                    <a:pt x="190" y="90"/>
                    <a:pt x="130" y="60"/>
                    <a:pt x="88" y="7"/>
                  </a:cubicBezTo>
                  <a:cubicBezTo>
                    <a:pt x="86" y="5"/>
                    <a:pt x="84" y="2"/>
                    <a:pt x="82" y="0"/>
                  </a:cubicBezTo>
                  <a:cubicBezTo>
                    <a:pt x="29" y="43"/>
                    <a:pt x="0" y="96"/>
                    <a:pt x="0" y="118"/>
                  </a:cubicBezTo>
                  <a:cubicBezTo>
                    <a:pt x="0" y="158"/>
                    <a:pt x="93" y="190"/>
                    <a:pt x="252" y="190"/>
                  </a:cubicBezTo>
                  <a:cubicBezTo>
                    <a:pt x="411" y="190"/>
                    <a:pt x="504" y="158"/>
                    <a:pt x="504" y="118"/>
                  </a:cubicBezTo>
                  <a:cubicBezTo>
                    <a:pt x="504" y="96"/>
                    <a:pt x="475" y="43"/>
                    <a:pt x="422" y="0"/>
                  </a:cubicBezTo>
                  <a:close/>
                </a:path>
              </a:pathLst>
            </a:custGeom>
            <a:noFill/>
            <a:ln cap="rnd" w="34925">
              <a:solidFill>
                <a:srgbClr val="FFFFFF"/>
              </a:solidFill>
              <a:prstDash val="solid"/>
              <a:round/>
            </a:ln>
            <a:extLst>
              <a:ext uri="{909E8E84-426E-40DD-AFC4-6F175D3DCCD1}">
                <a14:hiddenFill>
                  <a:solidFill>
                    <a:srgbClr val="FFFFFF"/>
                  </a:solidFill>
                </a14:hiddenFill>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4355" name="Freeform 50">
              <a:extLst>
                <a:ext uri="{FF2B5EF4-FFF2-40B4-BE49-F238E27FC236}">
                  <a16:creationId xmlns:a16="http://schemas.microsoft.com/office/drawing/2014/main" id="{3D5F0A2B-5423-46BD-B21D-8AAA31BA35BA}"/>
                </a:ext>
              </a:extLst>
            </p:cNvPr>
            <p:cNvSpPr/>
            <p:nvPr/>
          </p:nvSpPr>
          <p:spPr bwMode="auto">
            <a:xfrm>
              <a:off x="4557713" y="3233738"/>
              <a:ext cx="241300" cy="252413"/>
            </a:xfrm>
            <a:custGeom>
              <a:gdLst>
                <a:gd fmla="*/ 2147483647 w 276" name="T0"/>
                <a:gd fmla="*/ 0 h 288" name="T1"/>
                <a:gd fmla="*/ 0 w 276" name="T2"/>
                <a:gd fmla="*/ 2147483647 h 288" name="T3"/>
                <a:gd fmla="*/ 2147483647 w 276" name="T4"/>
                <a:gd fmla="*/ 2147483647 h 288" name="T5"/>
                <a:gd fmla="*/ 2147483647 w 276" name="T6"/>
                <a:gd fmla="*/ 2147483647 h 288" name="T7"/>
                <a:gd fmla="*/ 2147483647 w 276" name="T8"/>
                <a:gd fmla="*/ 0 h 288" name="T9"/>
                <a:gd fmla="*/ 0 60000 65536" name="T10"/>
                <a:gd fmla="*/ 0 60000 65536" name="T11"/>
                <a:gd fmla="*/ 0 60000 65536" name="T12"/>
                <a:gd fmla="*/ 0 60000 65536" name="T13"/>
                <a:gd fmla="*/ 0 60000 65536" name="T14"/>
              </a:gdLst>
              <a:cxnLst>
                <a:cxn ang="T10">
                  <a:pos x="T0" y="T1"/>
                </a:cxn>
                <a:cxn ang="T11">
                  <a:pos x="T2" y="T3"/>
                </a:cxn>
                <a:cxn ang="T12">
                  <a:pos x="T4" y="T5"/>
                </a:cxn>
                <a:cxn ang="T13">
                  <a:pos x="T6" y="T7"/>
                </a:cxn>
                <a:cxn ang="T14">
                  <a:pos x="T8" y="T9"/>
                </a:cxn>
              </a:cxnLst>
              <a:rect b="b" l="0" r="r" t="0"/>
              <a:pathLst>
                <a:path h="288" w="276">
                  <a:moveTo>
                    <a:pt x="207" y="0"/>
                  </a:moveTo>
                  <a:cubicBezTo>
                    <a:pt x="207" y="0"/>
                    <a:pt x="197" y="115"/>
                    <a:pt x="0" y="169"/>
                  </a:cubicBezTo>
                  <a:cubicBezTo>
                    <a:pt x="20" y="239"/>
                    <a:pt x="73" y="288"/>
                    <a:pt x="135" y="288"/>
                  </a:cubicBezTo>
                  <a:cubicBezTo>
                    <a:pt x="204" y="288"/>
                    <a:pt x="261" y="228"/>
                    <a:pt x="276" y="147"/>
                  </a:cubicBezTo>
                  <a:cubicBezTo>
                    <a:pt x="240" y="95"/>
                    <a:pt x="207" y="0"/>
                    <a:pt x="207" y="0"/>
                  </a:cubicBezTo>
                  <a:close/>
                </a:path>
              </a:pathLst>
            </a:custGeom>
            <a:noFill/>
            <a:ln cap="rnd" w="34925">
              <a:solidFill>
                <a:srgbClr val="FFFFFF"/>
              </a:solidFill>
              <a:prstDash val="solid"/>
              <a:round/>
            </a:ln>
            <a:extLst>
              <a:ext uri="{909E8E84-426E-40DD-AFC4-6F175D3DCCD1}">
                <a14:hiddenFill>
                  <a:solidFill>
                    <a:srgbClr val="FFFFFF"/>
                  </a:solidFill>
                </a14:hiddenFill>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4356" name="Freeform 51">
              <a:extLst>
                <a:ext uri="{FF2B5EF4-FFF2-40B4-BE49-F238E27FC236}">
                  <a16:creationId xmlns:a16="http://schemas.microsoft.com/office/drawing/2014/main" id="{EB8FEE5E-4249-4D1B-A510-1F35E4525AAA}"/>
                </a:ext>
              </a:extLst>
            </p:cNvPr>
            <p:cNvSpPr/>
            <p:nvPr/>
          </p:nvSpPr>
          <p:spPr bwMode="auto">
            <a:xfrm>
              <a:off x="4518025" y="3070225"/>
              <a:ext cx="314325" cy="320675"/>
            </a:xfrm>
            <a:custGeom>
              <a:gdLst>
                <a:gd fmla="*/ 0 w 360" name="T0"/>
                <a:gd fmla="*/ 2147483647 h 368" name="T1"/>
                <a:gd fmla="*/ 2147483647 w 360" name="T2"/>
                <a:gd fmla="*/ 2147483647 h 368" name="T3"/>
                <a:gd fmla="*/ 2147483647 w 360" name="T4"/>
                <a:gd fmla="*/ 2147483647 h 368" name="T5"/>
                <a:gd fmla="*/ 2147483647 w 360" name="T6"/>
                <a:gd fmla="*/ 2147483647 h 368" name="T7"/>
                <a:gd fmla="*/ 0 w 360" name="T8"/>
                <a:gd fmla="*/ 2147483647 h 368" name="T9"/>
                <a:gd fmla="*/ 0 60000 65536" name="T10"/>
                <a:gd fmla="*/ 0 60000 65536" name="T11"/>
                <a:gd fmla="*/ 0 60000 65536" name="T12"/>
                <a:gd fmla="*/ 0 60000 65536" name="T13"/>
                <a:gd fmla="*/ 0 60000 65536" name="T14"/>
              </a:gdLst>
              <a:cxnLst>
                <a:cxn ang="T10">
                  <a:pos x="T0" y="T1"/>
                </a:cxn>
                <a:cxn ang="T11">
                  <a:pos x="T2" y="T3"/>
                </a:cxn>
                <a:cxn ang="T12">
                  <a:pos x="T4" y="T5"/>
                </a:cxn>
                <a:cxn ang="T13">
                  <a:pos x="T6" y="T7"/>
                </a:cxn>
                <a:cxn ang="T14">
                  <a:pos x="T8" y="T9"/>
                </a:cxn>
              </a:cxnLst>
              <a:rect b="b" l="0" r="r" t="0"/>
              <a:pathLst>
                <a:path h="368" w="360">
                  <a:moveTo>
                    <a:pt x="0" y="368"/>
                  </a:moveTo>
                  <a:cubicBezTo>
                    <a:pt x="240" y="320"/>
                    <a:pt x="252" y="188"/>
                    <a:pt x="252" y="188"/>
                  </a:cubicBezTo>
                  <a:cubicBezTo>
                    <a:pt x="252" y="188"/>
                    <a:pt x="315" y="368"/>
                    <a:pt x="360" y="368"/>
                  </a:cubicBezTo>
                  <a:cubicBezTo>
                    <a:pt x="360" y="83"/>
                    <a:pt x="252" y="116"/>
                    <a:pt x="252" y="116"/>
                  </a:cubicBezTo>
                  <a:cubicBezTo>
                    <a:pt x="252" y="116"/>
                    <a:pt x="0" y="0"/>
                    <a:pt x="0" y="368"/>
                  </a:cubicBezTo>
                  <a:close/>
                </a:path>
              </a:pathLst>
            </a:custGeom>
            <a:noFill/>
            <a:ln cap="rnd" w="34925">
              <a:solidFill>
                <a:srgbClr val="FFFFFF"/>
              </a:solidFill>
              <a:prstDash val="solid"/>
              <a:round/>
            </a:ln>
            <a:extLst>
              <a:ext uri="{909E8E84-426E-40DD-AFC4-6F175D3DCCD1}">
                <a14:hiddenFill>
                  <a:solidFill>
                    <a:srgbClr val="FFFFFF"/>
                  </a:solidFill>
                </a14:hiddenFill>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grpSp>
      <p:grpSp>
        <p:nvGrpSpPr>
          <p:cNvPr id="23" name="组合 22">
            <a:extLst>
              <a:ext uri="{FF2B5EF4-FFF2-40B4-BE49-F238E27FC236}">
                <a16:creationId xmlns:a16="http://schemas.microsoft.com/office/drawing/2014/main" id="{50FABED9-1006-40D7-940A-625EE7DDED18}"/>
              </a:ext>
            </a:extLst>
          </p:cNvPr>
          <p:cNvGrpSpPr/>
          <p:nvPr/>
        </p:nvGrpSpPr>
        <p:grpSpPr>
          <a:xfrm>
            <a:off x="1208876" y="369288"/>
            <a:ext cx="7658100" cy="735806"/>
            <a:chOff x="1208876" y="369288"/>
            <a:chExt cx="7658100" cy="735806"/>
          </a:xfrm>
        </p:grpSpPr>
        <p:sp>
          <p:nvSpPr>
            <p:cNvPr id="24" name="文本框 23">
              <a:extLst>
                <a:ext uri="{FF2B5EF4-FFF2-40B4-BE49-F238E27FC236}">
                  <a16:creationId xmlns:a16="http://schemas.microsoft.com/office/drawing/2014/main" id="{1FD2630E-AC0F-4CD5-A13D-B095795713B8}"/>
                </a:ext>
              </a:extLst>
            </p:cNvPr>
            <p:cNvSpPr txBox="1"/>
            <p:nvPr/>
          </p:nvSpPr>
          <p:spPr>
            <a:xfrm>
              <a:off x="1208876" y="369288"/>
              <a:ext cx="7658100" cy="457200"/>
            </a:xfrm>
            <a:prstGeom prst="rect">
              <a:avLst/>
            </a:prstGeom>
            <a:noFill/>
          </p:spPr>
          <p:txBody>
            <a:bodyPr rtlCol="0" wrap="square">
              <a:spAutoFit/>
            </a:bodyPr>
            <a:lstStyle/>
            <a:p>
              <a:r>
                <a:rPr altLang="en-US" lang="zh-CN" sz="2400">
                  <a:gradFill>
                    <a:gsLst>
                      <a:gs pos="885">
                        <a:schemeClr val="accent1">
                          <a:alpha val="10000"/>
                        </a:schemeClr>
                      </a:gs>
                      <a:gs pos="75000">
                        <a:schemeClr val="accent1">
                          <a:alpha val="73000"/>
                        </a:schemeClr>
                      </a:gs>
                    </a:gsLst>
                    <a:lin ang="5400000" scaled="1"/>
                  </a:gradFill>
                  <a:latin charset="-122" panose="020b0400000000000000" pitchFamily="34" typeface="思源黑体"/>
                  <a:ea charset="-122" panose="020b0400000000000000" pitchFamily="34" typeface="思源黑体"/>
                  <a:sym charset="-122" panose="020b0400000000000000" pitchFamily="34" typeface="思源黑体"/>
                </a:rPr>
                <a:t>在此输入标题内容</a:t>
              </a:r>
            </a:p>
          </p:txBody>
        </p:sp>
        <p:sp>
          <p:nvSpPr>
            <p:cNvPr id="25" name="文本框 24">
              <a:extLst>
                <a:ext uri="{FF2B5EF4-FFF2-40B4-BE49-F238E27FC236}">
                  <a16:creationId xmlns:a16="http://schemas.microsoft.com/office/drawing/2014/main" id="{5F735B88-DBDB-4EB4-80FA-3F835BD2DB96}"/>
                </a:ext>
              </a:extLst>
            </p:cNvPr>
            <p:cNvSpPr txBox="1"/>
            <p:nvPr/>
          </p:nvSpPr>
          <p:spPr>
            <a:xfrm>
              <a:off x="1208876" y="797317"/>
              <a:ext cx="7658100" cy="304800"/>
            </a:xfrm>
            <a:prstGeom prst="rect">
              <a:avLst/>
            </a:prstGeom>
            <a:noFill/>
          </p:spPr>
          <p:txBody>
            <a:bodyPr rtlCol="0" wrap="square">
              <a:spAutoFit/>
            </a:bodyPr>
            <a:lstStyle/>
            <a:p>
              <a:r>
                <a:rPr altLang="zh-CN" lang="en-US" sz="1400">
                  <a:solidFill>
                    <a:schemeClr val="bg2"/>
                  </a:solidFill>
                  <a:latin charset="-122" panose="020b0400000000000000" pitchFamily="34" typeface="思源黑体"/>
                  <a:ea charset="-122" panose="020b0400000000000000" pitchFamily="34" typeface="思源黑体"/>
                  <a:sym charset="-122" panose="020b0400000000000000" pitchFamily="34" typeface="思源黑体"/>
                </a:rPr>
                <a:t>Use "Title Only" Layout</a:t>
              </a:r>
            </a:p>
          </p:txBody>
        </p:sp>
      </p:grpSp>
      <p:grpSp>
        <p:nvGrpSpPr>
          <p:cNvPr id="26" name="组合 25">
            <a:extLst>
              <a:ext uri="{FF2B5EF4-FFF2-40B4-BE49-F238E27FC236}">
                <a16:creationId xmlns:a16="http://schemas.microsoft.com/office/drawing/2014/main" id="{E300D56F-A571-4430-BBA7-961DC63DA8B4}"/>
              </a:ext>
            </a:extLst>
          </p:cNvPr>
          <p:cNvGrpSpPr/>
          <p:nvPr/>
        </p:nvGrpSpPr>
        <p:grpSpPr>
          <a:xfrm>
            <a:off x="538226" y="153800"/>
            <a:ext cx="811275" cy="1299746"/>
            <a:chOff x="538226" y="153800"/>
            <a:chExt cx="811275" cy="1299746"/>
          </a:xfrm>
        </p:grpSpPr>
        <p:sp>
          <p:nvSpPr>
            <p:cNvPr id="27" name="文本框 26">
              <a:extLst>
                <a:ext uri="{FF2B5EF4-FFF2-40B4-BE49-F238E27FC236}">
                  <a16:creationId xmlns:a16="http://schemas.microsoft.com/office/drawing/2014/main" id="{31DE00A2-118E-4565-9C8E-4E501FCE299A}"/>
                </a:ext>
              </a:extLst>
            </p:cNvPr>
            <p:cNvSpPr txBox="1"/>
            <p:nvPr/>
          </p:nvSpPr>
          <p:spPr>
            <a:xfrm>
              <a:off x="538226" y="153800"/>
              <a:ext cx="567647" cy="1097280"/>
            </a:xfrm>
            <a:prstGeom prst="rect">
              <a:avLst/>
            </a:prstGeom>
            <a:noFill/>
          </p:spPr>
          <p:txBody>
            <a:bodyPr rtlCol="0" wrap="square">
              <a:spAutoFit/>
            </a:bodyPr>
            <a:lstStyle>
              <a:defPPr>
                <a:defRPr lang="en-US"/>
              </a:defPPr>
              <a:lvl1pPr>
                <a:defRPr sz="8000">
                  <a:gradFill>
                    <a:gsLst>
                      <a:gs pos="36000">
                        <a:schemeClr val="bg1"/>
                      </a:gs>
                      <a:gs pos="100000">
                        <a:schemeClr val="tx1">
                          <a:lumMod val="50000"/>
                          <a:lumOff val="50000"/>
                        </a:schemeClr>
                      </a:gs>
                    </a:gsLst>
                    <a:lin ang="5400000" scaled="1"/>
                  </a:gradFill>
                  <a:latin charset="-122" panose="00000500000000000000" pitchFamily="2" typeface="字魂5号-无外润黑体"/>
                  <a:ea charset="-122" panose="00000500000000000000" pitchFamily="2" typeface="字魂5号-无外润黑体"/>
                </a:defRPr>
              </a:lvl1pPr>
            </a:lstStyle>
            <a:p>
              <a:r>
                <a:rPr altLang="zh-CN" lang="en-US" sz="6600">
                  <a:gradFill>
                    <a:gsLst>
                      <a:gs pos="36000">
                        <a:schemeClr val="bg1"/>
                      </a:gs>
                      <a:gs pos="70000">
                        <a:schemeClr val="tx1">
                          <a:lumMod val="50000"/>
                          <a:lumOff val="50000"/>
                          <a:alpha val="0"/>
                        </a:schemeClr>
                      </a:gs>
                    </a:gsLst>
                    <a:lin ang="5400000" scaled="1"/>
                  </a:gradFill>
                  <a:latin charset="-122" panose="020b0300000000000000" pitchFamily="34" typeface="思源黑体 CN Light"/>
                  <a:ea charset="-122" panose="00000500000000000000" pitchFamily="2" typeface="字魂54号-贤黑"/>
                  <a:sym charset="-122" panose="020b0400000000000000" pitchFamily="34" typeface="思源黑体"/>
                </a:rPr>
                <a:t>2</a:t>
              </a:r>
            </a:p>
          </p:txBody>
        </p:sp>
        <p:grpSp>
          <p:nvGrpSpPr>
            <p:cNvPr id="28" name="组合 27">
              <a:extLst>
                <a:ext uri="{FF2B5EF4-FFF2-40B4-BE49-F238E27FC236}">
                  <a16:creationId xmlns:a16="http://schemas.microsoft.com/office/drawing/2014/main" id="{607BDF62-AA10-4700-8DE1-3B733657C633}"/>
                </a:ext>
              </a:extLst>
            </p:cNvPr>
            <p:cNvGrpSpPr/>
            <p:nvPr/>
          </p:nvGrpSpPr>
          <p:grpSpPr>
            <a:xfrm rot="1279383">
              <a:off x="538418" y="260428"/>
              <a:ext cx="811083" cy="1193118"/>
              <a:chOff x="5326021" y="1359499"/>
              <a:chExt cx="2273644" cy="3344573"/>
            </a:xfrm>
          </p:grpSpPr>
          <p:cxnSp>
            <p:nvCxnSpPr>
              <p:cNvPr id="29" name="直接连接符 28">
                <a:extLst>
                  <a:ext uri="{FF2B5EF4-FFF2-40B4-BE49-F238E27FC236}">
                    <a16:creationId xmlns:a16="http://schemas.microsoft.com/office/drawing/2014/main" id="{D77656FC-DDFF-4F88-8FEA-D60B2B13A6FB}"/>
                  </a:ext>
                </a:extLst>
              </p:cNvPr>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0" name="任意多边形: 形状 29">
                <a:extLst>
                  <a:ext uri="{FF2B5EF4-FFF2-40B4-BE49-F238E27FC236}">
                    <a16:creationId xmlns:a16="http://schemas.microsoft.com/office/drawing/2014/main" id="{A1ECF1A7-4255-440D-9029-31CE4650782D}"/>
                  </a:ext>
                </a:extLst>
              </p:cNvPr>
              <p:cNvSpPr/>
              <p:nvPr/>
            </p:nvSpPr>
            <p:spPr>
              <a:xfrm rot="2008142">
                <a:off x="5326021" y="3632692"/>
                <a:ext cx="319543" cy="1071380"/>
              </a:xfrm>
              <a:custGeom>
                <a:gdLst>
                  <a:gd fmla="*/ 278285 w 319543" name="connsiteX0"/>
                  <a:gd fmla="*/ 0 h 1071380" name="connsiteY0"/>
                  <a:gd fmla="*/ 319543 w 319543" name="connsiteX1"/>
                  <a:gd fmla="*/ 0 h 1071380" name="connsiteY1"/>
                  <a:gd fmla="*/ 319543 w 319543" name="connsiteX2"/>
                  <a:gd fmla="*/ 601405 h 1071380" name="connsiteY2"/>
                  <a:gd fmla="*/ 0 w 319543" name="connsiteX3"/>
                  <a:gd fmla="*/ 1071380 h 1071380" name="connsiteY3"/>
                  <a:gd fmla="*/ 0 w 319543" name="connsiteX4"/>
                  <a:gd fmla="*/ 409295 h 1071380"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1071380" w="319543">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400"/>
              </a:p>
            </p:txBody>
          </p:sp>
        </p:grpSp>
      </p:grpSp>
    </p:spTree>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afterEffect" presetClass="entr" presetID="10" presetSubtype="0">
                                  <p:stCondLst>
                                    <p:cond delay="0"/>
                                  </p:stCondLst>
                                  <p:childTnLst>
                                    <p:set>
                                      <p:cBhvr>
                                        <p:cTn dur="1" fill="hold" id="6">
                                          <p:stCondLst>
                                            <p:cond delay="0"/>
                                          </p:stCondLst>
                                        </p:cTn>
                                        <p:tgtEl>
                                          <p:spTgt spid="3"/>
                                        </p:tgtEl>
                                        <p:attrNameLst>
                                          <p:attrName>style.visibility</p:attrName>
                                        </p:attrNameLst>
                                      </p:cBhvr>
                                      <p:to>
                                        <p:strVal val="visible"/>
                                      </p:to>
                                    </p:set>
                                    <p:animEffect filter="fade" transition="in">
                                      <p:cBhvr>
                                        <p:cTn dur="500" id="7"/>
                                        <p:tgtEl>
                                          <p:spTgt spid="3"/>
                                        </p:tgtEl>
                                      </p:cBhvr>
                                    </p:animEffect>
                                  </p:childTnLst>
                                </p:cTn>
                              </p:par>
                            </p:childTnLst>
                          </p:cTn>
                        </p:par>
                        <p:par>
                          <p:cTn fill="hold" id="8" nodeType="afterGroup">
                            <p:stCondLst>
                              <p:cond delay="500"/>
                            </p:stCondLst>
                            <p:childTnLst>
                              <p:par>
                                <p:cTn fill="hold" grpId="0" id="9" nodeType="afterEffect" presetClass="entr" presetID="10" presetSubtype="0">
                                  <p:stCondLst>
                                    <p:cond delay="0"/>
                                  </p:stCondLst>
                                  <p:childTnLst>
                                    <p:set>
                                      <p:cBhvr>
                                        <p:cTn dur="1" fill="hold" id="10">
                                          <p:stCondLst>
                                            <p:cond delay="0"/>
                                          </p:stCondLst>
                                        </p:cTn>
                                        <p:tgtEl>
                                          <p:spTgt spid="14339"/>
                                        </p:tgtEl>
                                        <p:attrNameLst>
                                          <p:attrName>style.visibility</p:attrName>
                                        </p:attrNameLst>
                                      </p:cBhvr>
                                      <p:to>
                                        <p:strVal val="visible"/>
                                      </p:to>
                                    </p:set>
                                    <p:animEffect filter="fade" transition="in">
                                      <p:cBhvr>
                                        <p:cTn dur="500" id="11"/>
                                        <p:tgtEl>
                                          <p:spTgt spid="14339"/>
                                        </p:tgtEl>
                                      </p:cBhvr>
                                    </p:animEffect>
                                  </p:childTnLst>
                                </p:cTn>
                              </p:par>
                            </p:childTnLst>
                          </p:cTn>
                        </p:par>
                        <p:par>
                          <p:cTn fill="hold" id="12" nodeType="afterGroup">
                            <p:stCondLst>
                              <p:cond delay="1000"/>
                            </p:stCondLst>
                            <p:childTnLst>
                              <p:par>
                                <p:cTn fill="hold" grpId="0" id="13" nodeType="afterEffect" presetClass="entr" presetID="10" presetSubtype="0">
                                  <p:stCondLst>
                                    <p:cond delay="0"/>
                                  </p:stCondLst>
                                  <p:childTnLst>
                                    <p:set>
                                      <p:cBhvr>
                                        <p:cTn dur="1" fill="hold" id="14">
                                          <p:stCondLst>
                                            <p:cond delay="0"/>
                                          </p:stCondLst>
                                        </p:cTn>
                                        <p:tgtEl>
                                          <p:spTgt spid="5"/>
                                        </p:tgtEl>
                                        <p:attrNameLst>
                                          <p:attrName>style.visibility</p:attrName>
                                        </p:attrNameLst>
                                      </p:cBhvr>
                                      <p:to>
                                        <p:strVal val="visible"/>
                                      </p:to>
                                    </p:set>
                                    <p:animEffect filter="fade" transition="in">
                                      <p:cBhvr>
                                        <p:cTn dur="500" id="15"/>
                                        <p:tgtEl>
                                          <p:spTgt spid="5"/>
                                        </p:tgtEl>
                                      </p:cBhvr>
                                    </p:animEffect>
                                  </p:childTnLst>
                                </p:cTn>
                              </p:par>
                            </p:childTnLst>
                          </p:cTn>
                        </p:par>
                        <p:par>
                          <p:cTn fill="hold" id="16" nodeType="afterGroup">
                            <p:stCondLst>
                              <p:cond delay="1500"/>
                            </p:stCondLst>
                            <p:childTnLst>
                              <p:par>
                                <p:cTn fill="hold" grpId="0" id="17" nodeType="afterEffect" presetClass="entr" presetID="10" presetSubtype="0">
                                  <p:stCondLst>
                                    <p:cond delay="0"/>
                                  </p:stCondLst>
                                  <p:childTnLst>
                                    <p:set>
                                      <p:cBhvr>
                                        <p:cTn dur="1" fill="hold" id="18">
                                          <p:stCondLst>
                                            <p:cond delay="0"/>
                                          </p:stCondLst>
                                        </p:cTn>
                                        <p:tgtEl>
                                          <p:spTgt spid="2"/>
                                        </p:tgtEl>
                                        <p:attrNameLst>
                                          <p:attrName>style.visibility</p:attrName>
                                        </p:attrNameLst>
                                      </p:cBhvr>
                                      <p:to>
                                        <p:strVal val="visible"/>
                                      </p:to>
                                    </p:set>
                                    <p:animEffect filter="fade" transition="in">
                                      <p:cBhvr>
                                        <p:cTn dur="500" id="19"/>
                                        <p:tgtEl>
                                          <p:spTgt spid="2"/>
                                        </p:tgtEl>
                                      </p:cBhvr>
                                    </p:animEffect>
                                  </p:childTnLst>
                                </p:cTn>
                              </p:par>
                            </p:childTnLst>
                          </p:cTn>
                        </p:par>
                        <p:par>
                          <p:cTn fill="hold" id="20" nodeType="afterGroup">
                            <p:stCondLst>
                              <p:cond delay="2000"/>
                            </p:stCondLst>
                            <p:childTnLst>
                              <p:par>
                                <p:cTn fill="hold" grpId="0" id="21" nodeType="afterEffect" presetClass="entr" presetID="10" presetSubtype="0">
                                  <p:stCondLst>
                                    <p:cond delay="0"/>
                                  </p:stCondLst>
                                  <p:childTnLst>
                                    <p:set>
                                      <p:cBhvr>
                                        <p:cTn dur="1" fill="hold" id="22">
                                          <p:stCondLst>
                                            <p:cond delay="0"/>
                                          </p:stCondLst>
                                        </p:cTn>
                                        <p:tgtEl>
                                          <p:spTgt spid="14343"/>
                                        </p:tgtEl>
                                        <p:attrNameLst>
                                          <p:attrName>style.visibility</p:attrName>
                                        </p:attrNameLst>
                                      </p:cBhvr>
                                      <p:to>
                                        <p:strVal val="visible"/>
                                      </p:to>
                                    </p:set>
                                    <p:animEffect filter="fade" transition="in">
                                      <p:cBhvr>
                                        <p:cTn dur="500" id="23"/>
                                        <p:tgtEl>
                                          <p:spTgt spid="14343"/>
                                        </p:tgtEl>
                                      </p:cBhvr>
                                    </p:animEffect>
                                  </p:childTnLst>
                                </p:cTn>
                              </p:par>
                            </p:childTnLst>
                          </p:cTn>
                        </p:par>
                        <p:par>
                          <p:cTn fill="hold" id="24" nodeType="afterGroup">
                            <p:stCondLst>
                              <p:cond delay="2500"/>
                            </p:stCondLst>
                            <p:childTnLst>
                              <p:par>
                                <p:cTn fill="hold" grpId="0" id="25" nodeType="afterEffect" presetClass="entr" presetID="10" presetSubtype="0">
                                  <p:stCondLst>
                                    <p:cond delay="0"/>
                                  </p:stCondLst>
                                  <p:childTnLst>
                                    <p:set>
                                      <p:cBhvr>
                                        <p:cTn dur="1" fill="hold" id="26">
                                          <p:stCondLst>
                                            <p:cond delay="0"/>
                                          </p:stCondLst>
                                        </p:cTn>
                                        <p:tgtEl>
                                          <p:spTgt spid="14344"/>
                                        </p:tgtEl>
                                        <p:attrNameLst>
                                          <p:attrName>style.visibility</p:attrName>
                                        </p:attrNameLst>
                                      </p:cBhvr>
                                      <p:to>
                                        <p:strVal val="visible"/>
                                      </p:to>
                                    </p:set>
                                    <p:animEffect filter="fade" transition="in">
                                      <p:cBhvr>
                                        <p:cTn dur="500" id="27"/>
                                        <p:tgtEl>
                                          <p:spTgt spid="14344"/>
                                        </p:tgtEl>
                                      </p:cBhvr>
                                    </p:animEffect>
                                  </p:childTnLst>
                                </p:cTn>
                              </p:par>
                            </p:childTnLst>
                          </p:cTn>
                        </p:par>
                        <p:par>
                          <p:cTn fill="hold" id="28" nodeType="afterGroup">
                            <p:stCondLst>
                              <p:cond delay="3000"/>
                            </p:stCondLst>
                            <p:childTnLst>
                              <p:par>
                                <p:cTn fill="hold" grpId="0" id="29" nodeType="afterEffect" presetClass="entr" presetID="10" presetSubtype="0">
                                  <p:stCondLst>
                                    <p:cond delay="0"/>
                                  </p:stCondLst>
                                  <p:childTnLst>
                                    <p:set>
                                      <p:cBhvr>
                                        <p:cTn dur="1" fill="hold" id="30">
                                          <p:stCondLst>
                                            <p:cond delay="0"/>
                                          </p:stCondLst>
                                        </p:cTn>
                                        <p:tgtEl>
                                          <p:spTgt spid="14345"/>
                                        </p:tgtEl>
                                        <p:attrNameLst>
                                          <p:attrName>style.visibility</p:attrName>
                                        </p:attrNameLst>
                                      </p:cBhvr>
                                      <p:to>
                                        <p:strVal val="visible"/>
                                      </p:to>
                                    </p:set>
                                    <p:animEffect filter="fade" transition="in">
                                      <p:cBhvr>
                                        <p:cTn dur="500" id="31"/>
                                        <p:tgtEl>
                                          <p:spTgt spid="14345"/>
                                        </p:tgtEl>
                                      </p:cBhvr>
                                    </p:animEffect>
                                  </p:childTnLst>
                                </p:cTn>
                              </p:par>
                            </p:childTnLst>
                          </p:cTn>
                        </p:par>
                        <p:par>
                          <p:cTn fill="hold" id="32" nodeType="afterGroup">
                            <p:stCondLst>
                              <p:cond delay="3500"/>
                            </p:stCondLst>
                            <p:childTnLst>
                              <p:par>
                                <p:cTn fill="hold" grpId="0" id="33" nodeType="afterEffect" presetClass="entr" presetID="10" presetSubtype="0">
                                  <p:stCondLst>
                                    <p:cond delay="0"/>
                                  </p:stCondLst>
                                  <p:childTnLst>
                                    <p:set>
                                      <p:cBhvr>
                                        <p:cTn dur="1" fill="hold" id="34">
                                          <p:stCondLst>
                                            <p:cond delay="0"/>
                                          </p:stCondLst>
                                        </p:cTn>
                                        <p:tgtEl>
                                          <p:spTgt spid="14346"/>
                                        </p:tgtEl>
                                        <p:attrNameLst>
                                          <p:attrName>style.visibility</p:attrName>
                                        </p:attrNameLst>
                                      </p:cBhvr>
                                      <p:to>
                                        <p:strVal val="visible"/>
                                      </p:to>
                                    </p:set>
                                    <p:animEffect filter="fade" transition="in">
                                      <p:cBhvr>
                                        <p:cTn dur="500" id="35"/>
                                        <p:tgtEl>
                                          <p:spTgt spid="14346"/>
                                        </p:tgtEl>
                                      </p:cBhvr>
                                    </p:animEffect>
                                  </p:childTnLst>
                                </p:cTn>
                              </p:par>
                            </p:childTnLst>
                          </p:cTn>
                        </p:par>
                        <p:par>
                          <p:cTn fill="hold" id="36" nodeType="afterGroup">
                            <p:stCondLst>
                              <p:cond delay="4000"/>
                            </p:stCondLst>
                            <p:childTnLst>
                              <p:par>
                                <p:cTn fill="hold" grpId="0" id="37" nodeType="afterEffect" presetClass="entr" presetID="10" presetSubtype="0">
                                  <p:stCondLst>
                                    <p:cond delay="0"/>
                                  </p:stCondLst>
                                  <p:childTnLst>
                                    <p:set>
                                      <p:cBhvr>
                                        <p:cTn dur="1" fill="hold" id="38">
                                          <p:stCondLst>
                                            <p:cond delay="0"/>
                                          </p:stCondLst>
                                        </p:cTn>
                                        <p:tgtEl>
                                          <p:spTgt spid="14347"/>
                                        </p:tgtEl>
                                        <p:attrNameLst>
                                          <p:attrName>style.visibility</p:attrName>
                                        </p:attrNameLst>
                                      </p:cBhvr>
                                      <p:to>
                                        <p:strVal val="visible"/>
                                      </p:to>
                                    </p:set>
                                    <p:animEffect filter="fade" transition="in">
                                      <p:cBhvr>
                                        <p:cTn dur="500" id="39"/>
                                        <p:tgtEl>
                                          <p:spTgt spid="14347"/>
                                        </p:tgtEl>
                                      </p:cBhvr>
                                    </p:animEffect>
                                  </p:childTnLst>
                                </p:cTn>
                              </p:par>
                            </p:childTnLst>
                          </p:cTn>
                        </p:par>
                        <p:par>
                          <p:cTn fill="hold" id="40" nodeType="afterGroup">
                            <p:stCondLst>
                              <p:cond delay="4500"/>
                            </p:stCondLst>
                            <p:childTnLst>
                              <p:par>
                                <p:cTn fill="hold" grpId="0" id="41" nodeType="afterEffect" presetClass="entr" presetID="10" presetSubtype="0">
                                  <p:stCondLst>
                                    <p:cond delay="0"/>
                                  </p:stCondLst>
                                  <p:childTnLst>
                                    <p:set>
                                      <p:cBhvr>
                                        <p:cTn dur="1" fill="hold" id="42">
                                          <p:stCondLst>
                                            <p:cond delay="0"/>
                                          </p:stCondLst>
                                        </p:cTn>
                                        <p:tgtEl>
                                          <p:spTgt spid="14348"/>
                                        </p:tgtEl>
                                        <p:attrNameLst>
                                          <p:attrName>style.visibility</p:attrName>
                                        </p:attrNameLst>
                                      </p:cBhvr>
                                      <p:to>
                                        <p:strVal val="visible"/>
                                      </p:to>
                                    </p:set>
                                    <p:animEffect filter="fade" transition="in">
                                      <p:cBhvr>
                                        <p:cTn dur="500" id="43"/>
                                        <p:tgtEl>
                                          <p:spTgt spid="14348"/>
                                        </p:tgtEl>
                                      </p:cBhvr>
                                    </p:animEffect>
                                  </p:childTnLst>
                                </p:cTn>
                              </p:par>
                            </p:childTnLst>
                          </p:cTn>
                        </p:par>
                        <p:par>
                          <p:cTn fill="hold" id="44" nodeType="afterGroup">
                            <p:stCondLst>
                              <p:cond delay="5000"/>
                            </p:stCondLst>
                            <p:childTnLst>
                              <p:par>
                                <p:cTn fill="hold" grpId="0" id="45" nodeType="afterEffect" presetClass="entr" presetID="10" presetSubtype="0">
                                  <p:stCondLst>
                                    <p:cond delay="0"/>
                                  </p:stCondLst>
                                  <p:childTnLst>
                                    <p:set>
                                      <p:cBhvr>
                                        <p:cTn dur="1" fill="hold" id="46">
                                          <p:stCondLst>
                                            <p:cond delay="0"/>
                                          </p:stCondLst>
                                        </p:cTn>
                                        <p:tgtEl>
                                          <p:spTgt spid="14"/>
                                        </p:tgtEl>
                                        <p:attrNameLst>
                                          <p:attrName>style.visibility</p:attrName>
                                        </p:attrNameLst>
                                      </p:cBhvr>
                                      <p:to>
                                        <p:strVal val="visible"/>
                                      </p:to>
                                    </p:set>
                                    <p:animEffect filter="fade" transition="in">
                                      <p:cBhvr>
                                        <p:cTn dur="500" id="47"/>
                                        <p:tgtEl>
                                          <p:spTgt spid="14"/>
                                        </p:tgtEl>
                                      </p:cBhvr>
                                    </p:animEffect>
                                  </p:childTnLst>
                                </p:cTn>
                              </p:par>
                            </p:childTnLst>
                          </p:cTn>
                        </p:par>
                        <p:par>
                          <p:cTn fill="hold" id="48" nodeType="afterGroup">
                            <p:stCondLst>
                              <p:cond delay="5500"/>
                            </p:stCondLst>
                            <p:childTnLst>
                              <p:par>
                                <p:cTn fill="hold" grpId="0" id="49" nodeType="afterEffect" presetClass="entr" presetID="10" presetSubtype="0">
                                  <p:stCondLst>
                                    <p:cond delay="0"/>
                                  </p:stCondLst>
                                  <p:childTnLst>
                                    <p:set>
                                      <p:cBhvr>
                                        <p:cTn dur="1" fill="hold" id="50">
                                          <p:stCondLst>
                                            <p:cond delay="0"/>
                                          </p:stCondLst>
                                        </p:cTn>
                                        <p:tgtEl>
                                          <p:spTgt spid="15"/>
                                        </p:tgtEl>
                                        <p:attrNameLst>
                                          <p:attrName>style.visibility</p:attrName>
                                        </p:attrNameLst>
                                      </p:cBhvr>
                                      <p:to>
                                        <p:strVal val="visible"/>
                                      </p:to>
                                    </p:set>
                                    <p:animEffect filter="fade" transition="in">
                                      <p:cBhvr>
                                        <p:cTn dur="500" id="51"/>
                                        <p:tgtEl>
                                          <p:spTgt spid="15"/>
                                        </p:tgtEl>
                                      </p:cBhvr>
                                    </p:animEffect>
                                  </p:childTnLst>
                                </p:cTn>
                              </p:par>
                            </p:childTnLst>
                          </p:cTn>
                        </p:par>
                        <p:par>
                          <p:cTn fill="hold" id="52" nodeType="afterGroup">
                            <p:stCondLst>
                              <p:cond delay="6000"/>
                            </p:stCondLst>
                            <p:childTnLst>
                              <p:par>
                                <p:cTn fill="hold" grpId="0" id="53" nodeType="afterEffect" presetClass="entr" presetID="10" presetSubtype="0">
                                  <p:stCondLst>
                                    <p:cond delay="0"/>
                                  </p:stCondLst>
                                  <p:childTnLst>
                                    <p:set>
                                      <p:cBhvr>
                                        <p:cTn dur="1" fill="hold" id="54">
                                          <p:stCondLst>
                                            <p:cond delay="0"/>
                                          </p:stCondLst>
                                        </p:cTn>
                                        <p:tgtEl>
                                          <p:spTgt spid="14351"/>
                                        </p:tgtEl>
                                        <p:attrNameLst>
                                          <p:attrName>style.visibility</p:attrName>
                                        </p:attrNameLst>
                                      </p:cBhvr>
                                      <p:to>
                                        <p:strVal val="visible"/>
                                      </p:to>
                                    </p:set>
                                    <p:animEffect filter="fade" transition="in">
                                      <p:cBhvr>
                                        <p:cTn dur="500" id="55"/>
                                        <p:tgtEl>
                                          <p:spTgt spid="14351"/>
                                        </p:tgtEl>
                                      </p:cBhvr>
                                    </p:animEffect>
                                  </p:childTnLst>
                                </p:cTn>
                              </p:par>
                            </p:childTnLst>
                          </p:cTn>
                        </p:par>
                        <p:par>
                          <p:cTn fill="hold" id="56" nodeType="afterGroup">
                            <p:stCondLst>
                              <p:cond delay="6500"/>
                            </p:stCondLst>
                            <p:childTnLst>
                              <p:par>
                                <p:cTn fill="hold" grpId="0" id="57" nodeType="afterEffect" presetClass="entr" presetID="10" presetSubtype="0">
                                  <p:stCondLst>
                                    <p:cond delay="0"/>
                                  </p:stCondLst>
                                  <p:childTnLst>
                                    <p:set>
                                      <p:cBhvr>
                                        <p:cTn dur="1" fill="hold" id="58">
                                          <p:stCondLst>
                                            <p:cond delay="0"/>
                                          </p:stCondLst>
                                        </p:cTn>
                                        <p:tgtEl>
                                          <p:spTgt spid="6"/>
                                        </p:tgtEl>
                                        <p:attrNameLst>
                                          <p:attrName>style.visibility</p:attrName>
                                        </p:attrNameLst>
                                      </p:cBhvr>
                                      <p:to>
                                        <p:strVal val="visible"/>
                                      </p:to>
                                    </p:set>
                                    <p:animEffect filter="fade" transition="in">
                                      <p:cBhvr>
                                        <p:cTn dur="500" id="59"/>
                                        <p:tgtEl>
                                          <p:spTgt spid="6"/>
                                        </p:tgtEl>
                                      </p:cBhvr>
                                    </p:animEffect>
                                  </p:childTnLst>
                                </p:cTn>
                              </p:par>
                            </p:childTnLst>
                          </p:cTn>
                        </p:par>
                        <p:par>
                          <p:cTn fill="hold" id="60" nodeType="afterGroup">
                            <p:stCondLst>
                              <p:cond delay="7000"/>
                            </p:stCondLst>
                            <p:childTnLst>
                              <p:par>
                                <p:cTn fill="hold" id="61" nodeType="afterEffect" presetClass="entr" presetID="10" presetSubtype="0">
                                  <p:stCondLst>
                                    <p:cond delay="0"/>
                                  </p:stCondLst>
                                  <p:childTnLst>
                                    <p:set>
                                      <p:cBhvr>
                                        <p:cTn dur="1" fill="hold" id="62">
                                          <p:stCondLst>
                                            <p:cond delay="0"/>
                                          </p:stCondLst>
                                        </p:cTn>
                                        <p:tgtEl>
                                          <p:spTgt spid="14353"/>
                                        </p:tgtEl>
                                        <p:attrNameLst>
                                          <p:attrName>style.visibility</p:attrName>
                                        </p:attrNameLst>
                                      </p:cBhvr>
                                      <p:to>
                                        <p:strVal val="visible"/>
                                      </p:to>
                                    </p:set>
                                    <p:animEffect filter="fade" transition="in">
                                      <p:cBhvr>
                                        <p:cTn dur="500" id="63"/>
                                        <p:tgtEl>
                                          <p:spTgt spid="14353"/>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3"/>
      <p:bldP grpId="0" spid="14339"/>
      <p:bldP grpId="0" spid="5"/>
      <p:bldP grpId="0" spid="2"/>
      <p:bldP grpId="0" spid="14343"/>
      <p:bldP grpId="0" spid="14344"/>
      <p:bldP grpId="0" spid="14345"/>
      <p:bldP grpId="0" spid="14346"/>
      <p:bldP grpId="0" spid="14347"/>
      <p:bldP grpId="0" spid="14348"/>
      <p:bldP grpId="0" spid="14"/>
      <p:bldP grpId="0" spid="15"/>
      <p:bldP grpId="0" spid="14351"/>
      <p:bldP grpId="0" spid="6"/>
    </p:bldLst>
  </p:timing>
</p:sld>
</file>

<file path=ppt/slides/slide14.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10" name="Rectangle 9"/>
          <p:cNvSpPr/>
          <p:nvPr/>
        </p:nvSpPr>
        <p:spPr>
          <a:xfrm>
            <a:off x="270681" y="0"/>
            <a:ext cx="458706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lang="id-ID">
              <a:latin charset="-122" panose="020b0400000000000000" pitchFamily="34" typeface="思源黑体"/>
              <a:ea charset="-122" panose="020b0400000000000000" pitchFamily="34" typeface="思源黑体"/>
              <a:sym charset="-122" panose="020b0400000000000000" pitchFamily="34" typeface="思源黑体"/>
            </a:endParaRPr>
          </a:p>
        </p:txBody>
      </p:sp>
      <p:pic>
        <p:nvPicPr>
          <p:cNvPr descr="iPad Air White wo Shadow.png" id="2" name="Picture 1"/>
          <p:cNvPicPr>
            <a:picLocks noChangeAspect="1"/>
          </p:cNvPicPr>
          <p:nvPr/>
        </p:nvPicPr>
        <p:blipFill>
          <a:blip r:embed="rId3">
            <a:extLst>
              <a:ext uri="{BEBA8EAE-BF5A-486C-A8C5-ECC9F3942E4B}">
                <a14:imgProps>
                  <a14:imgLayer xmlns:d3p1="http://schemas.openxmlformats.org/officeDocument/2006/relationships" d3p1:embed="">
                    <a14:imgEffect>
                      <a14:sharpenSoften amount="50000"/>
                    </a14:imgEffect>
                    <a14:imgEffect>
                      <a14:saturation sat="0"/>
                    </a14:imgEffect>
                  </a14:imgLayer>
                </a14:imgProps>
              </a:ext>
              <a:ext uri="{28A0092B-C50C-407E-A947-70E740481C1C}">
                <a14:useLocalDpi val="0"/>
              </a:ext>
            </a:extLst>
          </a:blip>
          <a:srcRect r="3035" t="5027"/>
          <a:stretch>
            <a:fillRect/>
          </a:stretch>
        </p:blipFill>
        <p:spPr>
          <a:xfrm>
            <a:off x="-154693" y="1128191"/>
            <a:ext cx="5196255" cy="7518627"/>
          </a:xfrm>
          <a:prstGeom prst="rect">
            <a:avLst/>
          </a:prstGeom>
        </p:spPr>
      </p:pic>
      <p:sp>
        <p:nvSpPr>
          <p:cNvPr id="6" name="Subtitle 2"/>
          <p:cNvSpPr txBox="1"/>
          <p:nvPr/>
        </p:nvSpPr>
        <p:spPr>
          <a:xfrm>
            <a:off x="6445205" y="2177068"/>
            <a:ext cx="3250338" cy="1034218"/>
          </a:xfrm>
          <a:prstGeom prst="rect">
            <a:avLst/>
          </a:prstGeom>
        </p:spPr>
        <p:txBody>
          <a:bodyPr>
            <a:noAutofit/>
          </a:bodyPr>
          <a:lstStyle>
            <a:lvl1pPr algn="l" defTabSz="914400" eaLnBrk="1" hangingPunct="1" indent="-228600" latinLnBrk="0" marL="228600" rtl="0">
              <a:lnSpc>
                <a:spcPct val="90000"/>
              </a:lnSpc>
              <a:spcBef>
                <a:spcPts val="1000"/>
              </a:spcBef>
              <a:buFont charset="0" panose="020b0604020202020204" pitchFamily="34" typeface="Arial"/>
              <a:buChar char="•"/>
              <a:defRPr kern="1200" sz="2800">
                <a:solidFill>
                  <a:schemeClr val="tx1"/>
                </a:solidFill>
                <a:latin typeface="+mn-lt"/>
                <a:ea typeface="+mn-ea"/>
                <a:cs typeface="+mn-cs"/>
              </a:defRPr>
            </a:lvl1pPr>
            <a:lvl2pPr algn="l" defTabSz="914400" eaLnBrk="1" hangingPunct="1" indent="-228600" latinLnBrk="0" marL="685800" rtl="0">
              <a:lnSpc>
                <a:spcPct val="90000"/>
              </a:lnSpc>
              <a:spcBef>
                <a:spcPts val="500"/>
              </a:spcBef>
              <a:buFont charset="0" panose="020b0604020202020204" pitchFamily="34" typeface="Arial"/>
              <a:buChar char="•"/>
              <a:defRPr kern="1200" sz="2400">
                <a:solidFill>
                  <a:schemeClr val="tx1"/>
                </a:solidFill>
                <a:latin typeface="+mn-lt"/>
                <a:ea typeface="+mn-ea"/>
                <a:cs typeface="+mn-cs"/>
              </a:defRPr>
            </a:lvl2pPr>
            <a:lvl3pPr algn="l" defTabSz="914400" eaLnBrk="1" hangingPunct="1" indent="-228600" latinLnBrk="0" marL="1143000" rtl="0">
              <a:lnSpc>
                <a:spcPct val="90000"/>
              </a:lnSpc>
              <a:spcBef>
                <a:spcPts val="500"/>
              </a:spcBef>
              <a:buFont charset="0" panose="020b0604020202020204" pitchFamily="34" typeface="Arial"/>
              <a:buChar char="•"/>
              <a:defRPr kern="1200" sz="2000">
                <a:solidFill>
                  <a:schemeClr val="tx1"/>
                </a:solidFill>
                <a:latin typeface="+mn-lt"/>
                <a:ea typeface="+mn-ea"/>
                <a:cs typeface="+mn-cs"/>
              </a:defRPr>
            </a:lvl3pPr>
            <a:lvl4pPr algn="l" defTabSz="914400" eaLnBrk="1" hangingPunct="1" indent="-228600" latinLnBrk="0" marL="16002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4pPr>
            <a:lvl5pPr algn="l" defTabSz="914400" eaLnBrk="1" hangingPunct="1" indent="-228600" latinLnBrk="0" marL="20574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5pPr>
            <a:lvl6pPr algn="l" defTabSz="914400" eaLnBrk="1" hangingPunct="1" indent="-228600" latinLnBrk="0" marL="25146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6pPr>
            <a:lvl7pPr algn="l" defTabSz="914400" eaLnBrk="1" hangingPunct="1" indent="-228600" latinLnBrk="0" marL="29718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7pPr>
            <a:lvl8pPr algn="l" defTabSz="914400" eaLnBrk="1" hangingPunct="1" indent="-228600" latinLnBrk="0" marL="34290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8pPr>
            <a:lvl9pPr algn="l" defTabSz="914400" eaLnBrk="1" hangingPunct="1" indent="-228600" latinLnBrk="0" marL="38862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9pPr>
          </a:lstStyle>
          <a:p>
            <a:pPr indent="0" marL="0">
              <a:buNone/>
            </a:pPr>
            <a:r>
              <a:rPr b="1" lang="id-ID" sz="3200">
                <a:solidFill>
                  <a:schemeClr val="accent1"/>
                </a:solidFill>
                <a:latin charset="-122" panose="020b0400000000000000" pitchFamily="34" typeface="思源黑体"/>
                <a:ea charset="-122" panose="020b0400000000000000" pitchFamily="34" typeface="思源黑体"/>
                <a:cs charset="0" panose="020f0502020204030203" pitchFamily="34" typeface="Lato"/>
                <a:sym charset="-122" panose="020b0400000000000000" pitchFamily="34" typeface="思源黑体"/>
              </a:rPr>
              <a:t>TABLETDEVICE MOCKUP SLIDE</a:t>
            </a:r>
          </a:p>
        </p:txBody>
      </p:sp>
      <p:sp>
        <p:nvSpPr>
          <p:cNvPr id="7" name="Rectangle 6"/>
          <p:cNvSpPr/>
          <p:nvPr/>
        </p:nvSpPr>
        <p:spPr>
          <a:xfrm>
            <a:off x="6445205" y="3481300"/>
            <a:ext cx="2199613" cy="3451860"/>
          </a:xfrm>
          <a:prstGeom prst="rect">
            <a:avLst/>
          </a:prstGeom>
        </p:spPr>
        <p:txBody>
          <a:bodyPr wrap="square">
            <a:spAutoFit/>
          </a:bodyPr>
          <a:lstStyle/>
          <a:p>
            <a:pPr algn="just">
              <a:lnSpc>
                <a:spcPct val="150000"/>
              </a:lnSpc>
            </a:pPr>
            <a:r>
              <a:rPr i="0" lang="id-ID" sz="1050">
                <a:solidFill>
                  <a:schemeClr val="bg2"/>
                </a:solidFill>
                <a:effectLst/>
                <a:latin charset="-122" panose="020b0400000000000000" pitchFamily="34" typeface="思源黑体"/>
                <a:ea charset="-122" panose="020b0400000000000000" pitchFamily="34" typeface="思源黑体"/>
                <a:cs charset="0" panose="020f0502020204030203" pitchFamily="34" typeface="Lato"/>
                <a:sym charset="-122" panose="020b0400000000000000" pitchFamily="34" typeface="思源黑体"/>
              </a:rPr>
              <a:t>Lorem ipsum dolor sit amet, lacus nulla ac netus nibh aliquet, porttitor ligula justo libero vivamus porttitor dolor, conubia mollit. Sapien nam suspendisse, tincidunt eget ante tincidunt, eros in auctor fringilla praesent at diam. In et quam est eget mi. Pellentesque nunc orci eu enim, eget in fringilla vitae, et eros praesent dolor porttitor. Lacinia lectus nonummy, accumsan mauris in sed justo</a:t>
            </a:r>
          </a:p>
        </p:txBody>
      </p:sp>
      <p:sp>
        <p:nvSpPr>
          <p:cNvPr id="8" name="Rectangle 7"/>
          <p:cNvSpPr/>
          <p:nvPr/>
        </p:nvSpPr>
        <p:spPr>
          <a:xfrm>
            <a:off x="8698919" y="3481300"/>
            <a:ext cx="1649364" cy="2731770"/>
          </a:xfrm>
          <a:prstGeom prst="rect">
            <a:avLst/>
          </a:prstGeom>
        </p:spPr>
        <p:txBody>
          <a:bodyPr wrap="square">
            <a:spAutoFit/>
          </a:bodyPr>
          <a:lstStyle/>
          <a:p>
            <a:pPr algn="just">
              <a:lnSpc>
                <a:spcPct val="150000"/>
              </a:lnSpc>
            </a:pPr>
            <a:r>
              <a:rPr i="0" lang="id-ID" sz="1050">
                <a:solidFill>
                  <a:schemeClr val="bg2"/>
                </a:solidFill>
                <a:effectLst/>
                <a:latin charset="-122" panose="020b0400000000000000" pitchFamily="34" typeface="思源黑体"/>
                <a:ea charset="-122" panose="020b0400000000000000" pitchFamily="34" typeface="思源黑体"/>
                <a:cs charset="0" panose="020f0502020204030203" pitchFamily="34" typeface="Lato"/>
                <a:sym charset="-122" panose="020b0400000000000000" pitchFamily="34" typeface="思源黑体"/>
              </a:rPr>
              <a:t>Lorem ipsum dolor sit amet, lacus nulla ac netus nibh aliquet, porttitor ligula justo libero vivamus porttitor dolor, conubia mollit. Sapien nam suspendisse, tincidunt eget ante tincidunt, eros in auctor</a:t>
            </a:r>
          </a:p>
        </p:txBody>
      </p:sp>
      <p:cxnSp>
        <p:nvCxnSpPr>
          <p:cNvPr id="9" name="Straight Connector 8"/>
          <p:cNvCxnSpPr/>
          <p:nvPr/>
        </p:nvCxnSpPr>
        <p:spPr>
          <a:xfrm>
            <a:off x="6549111" y="3221717"/>
            <a:ext cx="3784658"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11582400" y="1433425"/>
            <a:ext cx="609600" cy="409575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lang="id-ID">
              <a:latin charset="-122" panose="020b0400000000000000" pitchFamily="34" typeface="思源黑体"/>
              <a:ea charset="-122" panose="020b0400000000000000" pitchFamily="34" typeface="思源黑体"/>
              <a:sym charset="-122" panose="020b0400000000000000" pitchFamily="34" typeface="思源黑体"/>
            </a:endParaRPr>
          </a:p>
        </p:txBody>
      </p:sp>
      <p:pic>
        <p:nvPicPr>
          <p:cNvPr id="5" name="图片占位符 4">
            <a:extLst>
              <a:ext uri="{FF2B5EF4-FFF2-40B4-BE49-F238E27FC236}">
                <a16:creationId xmlns:a16="http://schemas.microsoft.com/office/drawing/2014/main" id="{EE08800E-6BFD-41B5-9322-47BA579EE884}"/>
              </a:ext>
            </a:extLst>
          </p:cNvPr>
          <p:cNvPicPr>
            <a:picLocks noChangeAspect="1" noGrp="1"/>
          </p:cNvPicPr>
          <p:nvPr>
            <p:ph idx="10" sz="quarter" type="pic"/>
          </p:nvPr>
        </p:nvPicPr>
        <p:blipFill>
          <a:blip r:embed="rId4">
            <a:extLst>
              <a:ext uri="{28A0092B-C50C-407E-A947-70E740481C1C}">
                <a14:useLocalDpi val="0"/>
              </a:ext>
            </a:extLst>
          </a:blip>
          <a:stretch>
            <a:fillRect/>
          </a:stretch>
        </p:blipFill>
        <p:spPr>
          <a:xfrm>
            <a:off x="551543" y="1916664"/>
            <a:ext cx="3976914" cy="5310672"/>
          </a:xfrm>
        </p:spPr>
      </p:pic>
    </p:spTree>
    <p:extLst>
      <p:ext uri="{BB962C8B-B14F-4D97-AF65-F5344CB8AC3E}">
        <p14:creationId val="123527729"/>
      </p:ext>
    </p:extLst>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afterEffect" presetClass="entr" presetID="10" presetSubtype="0">
                                  <p:stCondLst>
                                    <p:cond delay="0"/>
                                  </p:stCondLst>
                                  <p:childTnLst>
                                    <p:set>
                                      <p:cBhvr>
                                        <p:cTn dur="1" fill="hold" id="6">
                                          <p:stCondLst>
                                            <p:cond delay="0"/>
                                          </p:stCondLst>
                                        </p:cTn>
                                        <p:tgtEl>
                                          <p:spTgt spid="10"/>
                                        </p:tgtEl>
                                        <p:attrNameLst>
                                          <p:attrName>style.visibility</p:attrName>
                                        </p:attrNameLst>
                                      </p:cBhvr>
                                      <p:to>
                                        <p:strVal val="visible"/>
                                      </p:to>
                                    </p:set>
                                    <p:animEffect filter="fade" transition="in">
                                      <p:cBhvr>
                                        <p:cTn dur="500" id="7"/>
                                        <p:tgtEl>
                                          <p:spTgt spid="10"/>
                                        </p:tgtEl>
                                      </p:cBhvr>
                                    </p:animEffect>
                                  </p:childTnLst>
                                </p:cTn>
                              </p:par>
                            </p:childTnLst>
                          </p:cTn>
                        </p:par>
                        <p:par>
                          <p:cTn fill="hold" id="8" nodeType="afterGroup">
                            <p:stCondLst>
                              <p:cond delay="500"/>
                            </p:stCondLst>
                            <p:childTnLst>
                              <p:par>
                                <p:cTn fill="hold" grpId="0" id="9" nodeType="afterEffect" presetClass="entr" presetID="10" presetSubtype="0">
                                  <p:stCondLst>
                                    <p:cond delay="0"/>
                                  </p:stCondLst>
                                  <p:childTnLst>
                                    <p:set>
                                      <p:cBhvr>
                                        <p:cTn dur="1" fill="hold" id="10">
                                          <p:stCondLst>
                                            <p:cond delay="0"/>
                                          </p:stCondLst>
                                        </p:cTn>
                                        <p:tgtEl>
                                          <p:spTgt spid="6"/>
                                        </p:tgtEl>
                                        <p:attrNameLst>
                                          <p:attrName>style.visibility</p:attrName>
                                        </p:attrNameLst>
                                      </p:cBhvr>
                                      <p:to>
                                        <p:strVal val="visible"/>
                                      </p:to>
                                    </p:set>
                                    <p:animEffect filter="fade" transition="in">
                                      <p:cBhvr>
                                        <p:cTn dur="500" id="11"/>
                                        <p:tgtEl>
                                          <p:spTgt spid="6"/>
                                        </p:tgtEl>
                                      </p:cBhvr>
                                    </p:animEffect>
                                  </p:childTnLst>
                                </p:cTn>
                              </p:par>
                            </p:childTnLst>
                          </p:cTn>
                        </p:par>
                        <p:par>
                          <p:cTn fill="hold" id="12" nodeType="afterGroup">
                            <p:stCondLst>
                              <p:cond delay="1000"/>
                            </p:stCondLst>
                            <p:childTnLst>
                              <p:par>
                                <p:cTn fill="hold" grpId="0" id="13" nodeType="afterEffect" presetClass="entr" presetID="10" presetSubtype="0">
                                  <p:stCondLst>
                                    <p:cond delay="0"/>
                                  </p:stCondLst>
                                  <p:childTnLst>
                                    <p:set>
                                      <p:cBhvr>
                                        <p:cTn dur="1" fill="hold" id="14">
                                          <p:stCondLst>
                                            <p:cond delay="0"/>
                                          </p:stCondLst>
                                        </p:cTn>
                                        <p:tgtEl>
                                          <p:spTgt spid="7"/>
                                        </p:tgtEl>
                                        <p:attrNameLst>
                                          <p:attrName>style.visibility</p:attrName>
                                        </p:attrNameLst>
                                      </p:cBhvr>
                                      <p:to>
                                        <p:strVal val="visible"/>
                                      </p:to>
                                    </p:set>
                                    <p:animEffect filter="fade" transition="in">
                                      <p:cBhvr>
                                        <p:cTn dur="500" id="15"/>
                                        <p:tgtEl>
                                          <p:spTgt spid="7"/>
                                        </p:tgtEl>
                                      </p:cBhvr>
                                    </p:animEffect>
                                  </p:childTnLst>
                                </p:cTn>
                              </p:par>
                            </p:childTnLst>
                          </p:cTn>
                        </p:par>
                        <p:par>
                          <p:cTn fill="hold" id="16" nodeType="afterGroup">
                            <p:stCondLst>
                              <p:cond delay="1500"/>
                            </p:stCondLst>
                            <p:childTnLst>
                              <p:par>
                                <p:cTn fill="hold" grpId="0" id="17" nodeType="afterEffect" presetClass="entr" presetID="10" presetSubtype="0">
                                  <p:stCondLst>
                                    <p:cond delay="0"/>
                                  </p:stCondLst>
                                  <p:childTnLst>
                                    <p:set>
                                      <p:cBhvr>
                                        <p:cTn dur="1" fill="hold" id="18">
                                          <p:stCondLst>
                                            <p:cond delay="0"/>
                                          </p:stCondLst>
                                        </p:cTn>
                                        <p:tgtEl>
                                          <p:spTgt spid="8"/>
                                        </p:tgtEl>
                                        <p:attrNameLst>
                                          <p:attrName>style.visibility</p:attrName>
                                        </p:attrNameLst>
                                      </p:cBhvr>
                                      <p:to>
                                        <p:strVal val="visible"/>
                                      </p:to>
                                    </p:set>
                                    <p:animEffect filter="fade" transition="in">
                                      <p:cBhvr>
                                        <p:cTn dur="500" id="19"/>
                                        <p:tgtEl>
                                          <p:spTgt spid="8"/>
                                        </p:tgtEl>
                                      </p:cBhvr>
                                    </p:animEffect>
                                  </p:childTnLst>
                                </p:cTn>
                              </p:par>
                            </p:childTnLst>
                          </p:cTn>
                        </p:par>
                        <p:par>
                          <p:cTn fill="hold" id="20" nodeType="afterGroup">
                            <p:stCondLst>
                              <p:cond delay="2000"/>
                            </p:stCondLst>
                            <p:childTnLst>
                              <p:par>
                                <p:cTn fill="hold" id="21" nodeType="afterEffect" presetClass="entr" presetID="10" presetSubtype="0">
                                  <p:stCondLst>
                                    <p:cond delay="0"/>
                                  </p:stCondLst>
                                  <p:childTnLst>
                                    <p:set>
                                      <p:cBhvr>
                                        <p:cTn dur="1" fill="hold" id="22">
                                          <p:stCondLst>
                                            <p:cond delay="0"/>
                                          </p:stCondLst>
                                        </p:cTn>
                                        <p:tgtEl>
                                          <p:spTgt spid="9"/>
                                        </p:tgtEl>
                                        <p:attrNameLst>
                                          <p:attrName>style.visibility</p:attrName>
                                        </p:attrNameLst>
                                      </p:cBhvr>
                                      <p:to>
                                        <p:strVal val="visible"/>
                                      </p:to>
                                    </p:set>
                                    <p:animEffect filter="fade" transition="in">
                                      <p:cBhvr>
                                        <p:cTn dur="500" id="23"/>
                                        <p:tgtEl>
                                          <p:spTgt spid="9"/>
                                        </p:tgtEl>
                                      </p:cBhvr>
                                    </p:animEffect>
                                  </p:childTnLst>
                                </p:cTn>
                              </p:par>
                            </p:childTnLst>
                          </p:cTn>
                        </p:par>
                        <p:par>
                          <p:cTn fill="hold" id="24" nodeType="afterGroup">
                            <p:stCondLst>
                              <p:cond delay="2500"/>
                            </p:stCondLst>
                            <p:childTnLst>
                              <p:par>
                                <p:cTn fill="hold" grpId="0" id="25" nodeType="afterEffect" presetClass="entr" presetID="10" presetSubtype="0">
                                  <p:stCondLst>
                                    <p:cond delay="0"/>
                                  </p:stCondLst>
                                  <p:childTnLst>
                                    <p:set>
                                      <p:cBhvr>
                                        <p:cTn dur="1" fill="hold" id="26">
                                          <p:stCondLst>
                                            <p:cond delay="0"/>
                                          </p:stCondLst>
                                        </p:cTn>
                                        <p:tgtEl>
                                          <p:spTgt spid="11"/>
                                        </p:tgtEl>
                                        <p:attrNameLst>
                                          <p:attrName>style.visibility</p:attrName>
                                        </p:attrNameLst>
                                      </p:cBhvr>
                                      <p:to>
                                        <p:strVal val="visible"/>
                                      </p:to>
                                    </p:set>
                                    <p:animEffect filter="fade" transition="in">
                                      <p:cBhvr>
                                        <p:cTn dur="500" id="27"/>
                                        <p:tgtEl>
                                          <p:spTgt spid="11"/>
                                        </p:tgtEl>
                                      </p:cBhvr>
                                    </p:animEffect>
                                  </p:childTnLst>
                                </p:cTn>
                              </p:par>
                            </p:childTnLst>
                          </p:cTn>
                        </p:par>
                        <p:par>
                          <p:cTn fill="hold" id="28" nodeType="afterGroup">
                            <p:stCondLst>
                              <p:cond delay="3000"/>
                            </p:stCondLst>
                            <p:childTnLst>
                              <p:par>
                                <p:cTn fill="hold" id="29" nodeType="afterEffect" presetClass="entr" presetID="10" presetSubtype="0">
                                  <p:stCondLst>
                                    <p:cond delay="0"/>
                                  </p:stCondLst>
                                  <p:childTnLst>
                                    <p:set>
                                      <p:cBhvr>
                                        <p:cTn dur="1" fill="hold" id="30">
                                          <p:stCondLst>
                                            <p:cond delay="0"/>
                                          </p:stCondLst>
                                        </p:cTn>
                                        <p:tgtEl>
                                          <p:spTgt spid="5"/>
                                        </p:tgtEl>
                                        <p:attrNameLst>
                                          <p:attrName>style.visibility</p:attrName>
                                        </p:attrNameLst>
                                      </p:cBhvr>
                                      <p:to>
                                        <p:strVal val="visible"/>
                                      </p:to>
                                    </p:set>
                                    <p:animEffect filter="fade" transition="in">
                                      <p:cBhvr>
                                        <p:cTn dur="500" id="31"/>
                                        <p:tgtEl>
                                          <p:spTgt spid="5"/>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0"/>
      <p:bldP grpId="0" spid="6"/>
      <p:bldP grpId="0" spid="7"/>
      <p:bldP grpId="0" spid="8"/>
      <p:bldP grpId="0" spid="11"/>
    </p:bldLst>
  </p:timing>
</p:sld>
</file>

<file path=ppt/slides/slide15.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5" name="标题 4"/>
          <p:cNvSpPr>
            <a:spLocks noGrp="1"/>
          </p:cNvSpPr>
          <p:nvPr>
            <p:ph idx="4294967295" type="title"/>
          </p:nvPr>
        </p:nvSpPr>
        <p:spPr>
          <a:xfrm>
            <a:off x="3680385" y="3335259"/>
            <a:ext cx="5419725" cy="895350"/>
          </a:xfrm>
        </p:spPr>
        <p:txBody>
          <a:bodyPr>
            <a:normAutofit/>
          </a:bodyPr>
          <a:lstStyle/>
          <a:p>
            <a:pPr algn="ctr"/>
            <a:r>
              <a:rPr altLang="zh-CN" lang="en-US" sz="3200">
                <a:solidFill>
                  <a:schemeClr val="accent1">
                    <a:lumMod val="100000"/>
                  </a:schemeClr>
                </a:solidFill>
                <a:latin charset="-122" panose="020b0300000000000000" pitchFamily="34" typeface="思源黑体 CN Light"/>
                <a:ea charset="-122" panose="020b0300000000000000" pitchFamily="34" typeface="思源黑体 CN Light"/>
                <a:sym charset="-122" panose="020b0400000000000000" pitchFamily="34" typeface="思源黑体"/>
              </a:rPr>
              <a:t>PART 03</a:t>
            </a:r>
          </a:p>
        </p:txBody>
      </p:sp>
      <p:sp>
        <p:nvSpPr>
          <p:cNvPr id="6" name="文本占位符 5"/>
          <p:cNvSpPr>
            <a:spLocks noGrp="1"/>
          </p:cNvSpPr>
          <p:nvPr>
            <p:ph idx="4294967295" type="body"/>
          </p:nvPr>
        </p:nvSpPr>
        <p:spPr>
          <a:xfrm>
            <a:off x="4128725" y="4230609"/>
            <a:ext cx="4675187" cy="1014413"/>
          </a:xfrm>
        </p:spPr>
        <p:txBody>
          <a:bodyPr>
            <a:normAutofit/>
          </a:bodyPr>
          <a:lstStyle/>
          <a:p>
            <a:pPr algn="ctr" indent="0" lvl="0" marL="0">
              <a:buNone/>
            </a:pPr>
            <a:r>
              <a:rPr altLang="zh-CN" lang="en-US" sz="1400">
                <a:solidFill>
                  <a:schemeClr val="bg2"/>
                </a:solidFill>
                <a:latin charset="-122" panose="020b0300000000000000" pitchFamily="34" typeface="思源黑体 CN Light"/>
                <a:ea charset="-122" panose="020b0300000000000000" pitchFamily="34" typeface="思源黑体 CN Light"/>
                <a:sym charset="-122" panose="020b0400000000000000" pitchFamily="34" typeface="思源黑体"/>
              </a:rPr>
              <a:t>Supporting text here.</a:t>
            </a:r>
          </a:p>
          <a:p>
            <a:pPr algn="ctr" indent="0" lvl="0" marL="0">
              <a:buNone/>
            </a:pPr>
            <a:r>
              <a:rPr altLang="zh-CN" lang="en-US" sz="1400">
                <a:solidFill>
                  <a:schemeClr val="bg2"/>
                </a:solidFill>
                <a:latin charset="-122" panose="020b0300000000000000" pitchFamily="34" typeface="思源黑体 CN Light"/>
                <a:ea charset="-122" panose="020b0300000000000000" pitchFamily="34" typeface="思源黑体 CN Light"/>
                <a:sym charset="-122" panose="020b0400000000000000" pitchFamily="34" typeface="思源黑体"/>
              </a:rPr>
              <a:t>When you copy &amp; paste, choose "keep text only" option.</a:t>
            </a:r>
          </a:p>
        </p:txBody>
      </p:sp>
      <p:sp>
        <p:nvSpPr>
          <p:cNvPr id="9" name="文本框 8">
            <a:extLst>
              <a:ext uri="{FF2B5EF4-FFF2-40B4-BE49-F238E27FC236}">
                <a16:creationId xmlns:a16="http://schemas.microsoft.com/office/drawing/2014/main" id="{04F69230-F3A6-4586-9371-A858F4763E9F}"/>
              </a:ext>
            </a:extLst>
          </p:cNvPr>
          <p:cNvSpPr txBox="1"/>
          <p:nvPr/>
        </p:nvSpPr>
        <p:spPr>
          <a:xfrm>
            <a:off x="5442549" y="900634"/>
            <a:ext cx="1419542" cy="2621280"/>
          </a:xfrm>
          <a:prstGeom prst="rect">
            <a:avLst/>
          </a:prstGeom>
          <a:noFill/>
        </p:spPr>
        <p:txBody>
          <a:bodyPr rtlCol="0" wrap="none">
            <a:spAutoFit/>
          </a:bodyPr>
          <a:lstStyle>
            <a:defPPr>
              <a:defRPr lang="en-US"/>
            </a:defPPr>
            <a:lvl1pPr>
              <a:defRPr sz="8000">
                <a:gradFill>
                  <a:gsLst>
                    <a:gs pos="36000">
                      <a:schemeClr val="bg1"/>
                    </a:gs>
                    <a:gs pos="100000">
                      <a:schemeClr val="tx1">
                        <a:lumMod val="50000"/>
                        <a:lumOff val="50000"/>
                      </a:schemeClr>
                    </a:gs>
                  </a:gsLst>
                  <a:lin ang="5400000" scaled="1"/>
                </a:gradFill>
                <a:latin charset="-122" panose="00000500000000000000" pitchFamily="2" typeface="字魂5号-无外润黑体"/>
                <a:ea charset="-122" panose="00000500000000000000" pitchFamily="2" typeface="字魂5号-无外润黑体"/>
              </a:defRPr>
            </a:lvl1pPr>
          </a:lstStyle>
          <a:p>
            <a:r>
              <a:rPr altLang="zh-CN" lang="en-US" sz="16600">
                <a:gradFill>
                  <a:gsLst>
                    <a:gs pos="36000">
                      <a:schemeClr val="bg1"/>
                    </a:gs>
                    <a:gs pos="70000">
                      <a:schemeClr val="tx1">
                        <a:lumMod val="50000"/>
                        <a:lumOff val="50000"/>
                        <a:alpha val="0"/>
                      </a:schemeClr>
                    </a:gs>
                  </a:gsLst>
                  <a:lin ang="5400000" scaled="1"/>
                </a:gradFill>
                <a:latin charset="-122" panose="020b0300000000000000" pitchFamily="34" typeface="思源黑体 CN Light"/>
                <a:ea charset="-122" panose="00000500000000000000" pitchFamily="2" typeface="字魂54号-贤黑"/>
                <a:sym charset="-122" panose="020b0400000000000000" pitchFamily="34" typeface="思源黑体"/>
              </a:rPr>
              <a:t>3</a:t>
            </a:r>
          </a:p>
        </p:txBody>
      </p:sp>
      <p:grpSp>
        <p:nvGrpSpPr>
          <p:cNvPr id="4" name="组合 3">
            <a:extLst>
              <a:ext uri="{FF2B5EF4-FFF2-40B4-BE49-F238E27FC236}">
                <a16:creationId xmlns:a16="http://schemas.microsoft.com/office/drawing/2014/main" id="{47AA6A77-1222-4243-806E-EDF916201DE9}"/>
              </a:ext>
            </a:extLst>
          </p:cNvPr>
          <p:cNvGrpSpPr/>
          <p:nvPr/>
        </p:nvGrpSpPr>
        <p:grpSpPr>
          <a:xfrm rot="1279383">
            <a:off x="5337810" y="1303081"/>
            <a:ext cx="1881389" cy="2767558"/>
            <a:chOff x="5326021" y="1359499"/>
            <a:chExt cx="2273644" cy="3344573"/>
          </a:xfrm>
        </p:grpSpPr>
        <p:cxnSp>
          <p:nvCxnSpPr>
            <p:cNvPr id="8" name="直接连接符 7">
              <a:extLst>
                <a:ext uri="{FF2B5EF4-FFF2-40B4-BE49-F238E27FC236}">
                  <a16:creationId xmlns:a16="http://schemas.microsoft.com/office/drawing/2014/main" id="{7EFB3E33-333F-4634-8C15-7D06564F35A8}"/>
                </a:ext>
              </a:extLst>
            </p:cNvPr>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任意多边形: 形状 9">
              <a:extLst>
                <a:ext uri="{FF2B5EF4-FFF2-40B4-BE49-F238E27FC236}">
                  <a16:creationId xmlns:a16="http://schemas.microsoft.com/office/drawing/2014/main" id="{E73AA28D-9CD2-4A09-8567-FAEF0A53901B}"/>
                </a:ext>
              </a:extLst>
            </p:cNvPr>
            <p:cNvSpPr/>
            <p:nvPr/>
          </p:nvSpPr>
          <p:spPr>
            <a:xfrm rot="2008142">
              <a:off x="5326021" y="3632692"/>
              <a:ext cx="319543" cy="1071380"/>
            </a:xfrm>
            <a:custGeom>
              <a:gdLst>
                <a:gd fmla="*/ 278285 w 319543" name="connsiteX0"/>
                <a:gd fmla="*/ 0 h 1071380" name="connsiteY0"/>
                <a:gd fmla="*/ 319543 w 319543" name="connsiteX1"/>
                <a:gd fmla="*/ 0 h 1071380" name="connsiteY1"/>
                <a:gd fmla="*/ 319543 w 319543" name="connsiteX2"/>
                <a:gd fmla="*/ 601405 h 1071380" name="connsiteY2"/>
                <a:gd fmla="*/ 0 w 319543" name="connsiteX3"/>
                <a:gd fmla="*/ 1071380 h 1071380" name="connsiteY3"/>
                <a:gd fmla="*/ 0 w 319543" name="connsiteX4"/>
                <a:gd fmla="*/ 409295 h 1071380"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1071380" w="319543">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grpSp>
    </p:spTree>
    <p:extLst>
      <p:ext uri="{BB962C8B-B14F-4D97-AF65-F5344CB8AC3E}">
        <p14:creationId val="3360407061"/>
      </p:ext>
    </p:extLst>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afterEffect" presetClass="entr" presetID="22" presetSubtype="4">
                                  <p:stCondLst>
                                    <p:cond delay="0"/>
                                  </p:stCondLst>
                                  <p:childTnLst>
                                    <p:set>
                                      <p:cBhvr>
                                        <p:cTn dur="1" fill="hold" id="6">
                                          <p:stCondLst>
                                            <p:cond delay="0"/>
                                          </p:stCondLst>
                                        </p:cTn>
                                        <p:tgtEl>
                                          <p:spTgt spid="9"/>
                                        </p:tgtEl>
                                        <p:attrNameLst>
                                          <p:attrName>style.visibility</p:attrName>
                                        </p:attrNameLst>
                                      </p:cBhvr>
                                      <p:to>
                                        <p:strVal val="visible"/>
                                      </p:to>
                                    </p:set>
                                    <p:animEffect filter="wipe(down)" transition="in">
                                      <p:cBhvr>
                                        <p:cTn dur="500" id="7"/>
                                        <p:tgtEl>
                                          <p:spTgt spid="9"/>
                                        </p:tgtEl>
                                      </p:cBhvr>
                                    </p:animEffect>
                                  </p:childTnLst>
                                </p:cTn>
                              </p:par>
                            </p:childTnLst>
                          </p:cTn>
                        </p:par>
                        <p:par>
                          <p:cTn fill="hold" id="8" nodeType="afterGroup">
                            <p:stCondLst>
                              <p:cond delay="500"/>
                            </p:stCondLst>
                            <p:childTnLst>
                              <p:par>
                                <p:cTn fill="hold" id="9" nodeType="afterEffect" presetClass="entr" presetID="22" presetSubtype="4">
                                  <p:stCondLst>
                                    <p:cond delay="0"/>
                                  </p:stCondLst>
                                  <p:childTnLst>
                                    <p:set>
                                      <p:cBhvr>
                                        <p:cTn dur="1" fill="hold" id="10">
                                          <p:stCondLst>
                                            <p:cond delay="0"/>
                                          </p:stCondLst>
                                        </p:cTn>
                                        <p:tgtEl>
                                          <p:spTgt spid="4"/>
                                        </p:tgtEl>
                                        <p:attrNameLst>
                                          <p:attrName>style.visibility</p:attrName>
                                        </p:attrNameLst>
                                      </p:cBhvr>
                                      <p:to>
                                        <p:strVal val="visible"/>
                                      </p:to>
                                    </p:set>
                                    <p:animEffect filter="wipe(down)" transition="in">
                                      <p:cBhvr>
                                        <p:cTn dur="500" id="11"/>
                                        <p:tgtEl>
                                          <p:spTgt spid="4"/>
                                        </p:tgtEl>
                                      </p:cBhvr>
                                    </p:animEffect>
                                  </p:childTnLst>
                                </p:cTn>
                              </p:par>
                            </p:childTnLst>
                          </p:cTn>
                        </p:par>
                        <p:par>
                          <p:cTn fill="hold" id="12" nodeType="afterGroup">
                            <p:stCondLst>
                              <p:cond delay="1000"/>
                            </p:stCondLst>
                            <p:childTnLst>
                              <p:par>
                                <p:cTn fill="hold" grpId="0" id="13" nodeType="afterEffect" presetClass="entr" presetID="42" presetSubtype="0">
                                  <p:stCondLst>
                                    <p:cond delay="0"/>
                                  </p:stCondLst>
                                  <p:childTnLst>
                                    <p:set>
                                      <p:cBhvr>
                                        <p:cTn dur="1" fill="hold" id="14">
                                          <p:stCondLst>
                                            <p:cond delay="0"/>
                                          </p:stCondLst>
                                        </p:cTn>
                                        <p:tgtEl>
                                          <p:spTgt spid="5"/>
                                        </p:tgtEl>
                                        <p:attrNameLst>
                                          <p:attrName>style.visibility</p:attrName>
                                        </p:attrNameLst>
                                      </p:cBhvr>
                                      <p:to>
                                        <p:strVal val="visible"/>
                                      </p:to>
                                    </p:set>
                                    <p:animEffect filter="fade" transition="in">
                                      <p:cBhvr>
                                        <p:cTn dur="1000" id="15"/>
                                        <p:tgtEl>
                                          <p:spTgt spid="5"/>
                                        </p:tgtEl>
                                      </p:cBhvr>
                                    </p:animEffect>
                                    <p:anim calcmode="lin" valueType="num">
                                      <p:cBhvr>
                                        <p:cTn dur="1000" fill="hold" id="16"/>
                                        <p:tgtEl>
                                          <p:spTgt spid="5"/>
                                        </p:tgtEl>
                                        <p:attrNameLst>
                                          <p:attrName>ppt_x</p:attrName>
                                        </p:attrNameLst>
                                      </p:cBhvr>
                                      <p:tavLst>
                                        <p:tav tm="0">
                                          <p:val>
                                            <p:strVal val="#ppt_x"/>
                                          </p:val>
                                        </p:tav>
                                        <p:tav tm="100000">
                                          <p:val>
                                            <p:strVal val="#ppt_x"/>
                                          </p:val>
                                        </p:tav>
                                      </p:tavLst>
                                    </p:anim>
                                    <p:anim calcmode="lin" valueType="num">
                                      <p:cBhvr>
                                        <p:cTn dur="1000" fill="hold" id="17"/>
                                        <p:tgtEl>
                                          <p:spTgt spid="5"/>
                                        </p:tgtEl>
                                        <p:attrNameLst>
                                          <p:attrName>ppt_y</p:attrName>
                                        </p:attrNameLst>
                                      </p:cBhvr>
                                      <p:tavLst>
                                        <p:tav tm="0">
                                          <p:val>
                                            <p:strVal val="#ppt_y+.1"/>
                                          </p:val>
                                        </p:tav>
                                        <p:tav tm="100000">
                                          <p:val>
                                            <p:strVal val="#ppt_y"/>
                                          </p:val>
                                        </p:tav>
                                      </p:tavLst>
                                    </p:anim>
                                  </p:childTnLst>
                                </p:cTn>
                              </p:par>
                            </p:childTnLst>
                          </p:cTn>
                        </p:par>
                        <p:par>
                          <p:cTn fill="hold" id="18" nodeType="afterGroup">
                            <p:stCondLst>
                              <p:cond delay="2000"/>
                            </p:stCondLst>
                            <p:childTnLst>
                              <p:par>
                                <p:cTn fill="hold" grpId="0" id="19" nodeType="afterEffect" presetClass="entr" presetID="42" presetSubtype="0">
                                  <p:stCondLst>
                                    <p:cond delay="0"/>
                                  </p:stCondLst>
                                  <p:childTnLst>
                                    <p:set>
                                      <p:cBhvr>
                                        <p:cTn dur="1" fill="hold" id="20">
                                          <p:stCondLst>
                                            <p:cond delay="0"/>
                                          </p:stCondLst>
                                        </p:cTn>
                                        <p:tgtEl>
                                          <p:spTgt spid="6">
                                            <p:txEl>
                                              <p:pRg end="0" st="0"/>
                                            </p:txEl>
                                          </p:spTgt>
                                        </p:tgtEl>
                                        <p:attrNameLst>
                                          <p:attrName>style.visibility</p:attrName>
                                        </p:attrNameLst>
                                      </p:cBhvr>
                                      <p:to>
                                        <p:strVal val="visible"/>
                                      </p:to>
                                    </p:set>
                                    <p:animEffect filter="fade" transition="in">
                                      <p:cBhvr>
                                        <p:cTn dur="1000" id="21"/>
                                        <p:tgtEl>
                                          <p:spTgt spid="6">
                                            <p:txEl>
                                              <p:pRg end="0" st="0"/>
                                            </p:txEl>
                                          </p:spTgt>
                                        </p:tgtEl>
                                      </p:cBhvr>
                                    </p:animEffect>
                                    <p:anim calcmode="lin" valueType="num">
                                      <p:cBhvr>
                                        <p:cTn dur="1000" fill="hold" id="22"/>
                                        <p:tgtEl>
                                          <p:spTgt spid="6">
                                            <p:txEl>
                                              <p:pRg end="0" st="0"/>
                                            </p:txEl>
                                          </p:spTgt>
                                        </p:tgtEl>
                                        <p:attrNameLst>
                                          <p:attrName>ppt_x</p:attrName>
                                        </p:attrNameLst>
                                      </p:cBhvr>
                                      <p:tavLst>
                                        <p:tav tm="0">
                                          <p:val>
                                            <p:strVal val="#ppt_x"/>
                                          </p:val>
                                        </p:tav>
                                        <p:tav tm="100000">
                                          <p:val>
                                            <p:strVal val="#ppt_x"/>
                                          </p:val>
                                        </p:tav>
                                      </p:tavLst>
                                    </p:anim>
                                    <p:anim calcmode="lin" valueType="num">
                                      <p:cBhvr>
                                        <p:cTn dur="1000" fill="hold" id="23"/>
                                        <p:tgtEl>
                                          <p:spTgt spid="6">
                                            <p:txEl>
                                              <p:pRg end="0" st="0"/>
                                            </p:txEl>
                                          </p:spTgt>
                                        </p:tgtEl>
                                        <p:attrNameLst>
                                          <p:attrName>ppt_y</p:attrName>
                                        </p:attrNameLst>
                                      </p:cBhvr>
                                      <p:tavLst>
                                        <p:tav tm="0">
                                          <p:val>
                                            <p:strVal val="#ppt_y+.1"/>
                                          </p:val>
                                        </p:tav>
                                        <p:tav tm="100000">
                                          <p:val>
                                            <p:strVal val="#ppt_y"/>
                                          </p:val>
                                        </p:tav>
                                      </p:tavLst>
                                    </p:anim>
                                  </p:childTnLst>
                                </p:cTn>
                              </p:par>
                            </p:childTnLst>
                          </p:cTn>
                        </p:par>
                        <p:par>
                          <p:cTn fill="hold" id="24" nodeType="afterGroup">
                            <p:stCondLst>
                              <p:cond delay="3000"/>
                            </p:stCondLst>
                            <p:childTnLst>
                              <p:par>
                                <p:cTn fill="hold" grpId="0" id="25" nodeType="afterEffect" presetClass="entr" presetID="42" presetSubtype="0">
                                  <p:stCondLst>
                                    <p:cond delay="0"/>
                                  </p:stCondLst>
                                  <p:childTnLst>
                                    <p:set>
                                      <p:cBhvr>
                                        <p:cTn dur="1" fill="hold" id="26">
                                          <p:stCondLst>
                                            <p:cond delay="0"/>
                                          </p:stCondLst>
                                        </p:cTn>
                                        <p:tgtEl>
                                          <p:spTgt spid="6">
                                            <p:txEl>
                                              <p:pRg end="1" st="1"/>
                                            </p:txEl>
                                          </p:spTgt>
                                        </p:tgtEl>
                                        <p:attrNameLst>
                                          <p:attrName>style.visibility</p:attrName>
                                        </p:attrNameLst>
                                      </p:cBhvr>
                                      <p:to>
                                        <p:strVal val="visible"/>
                                      </p:to>
                                    </p:set>
                                    <p:animEffect filter="fade" transition="in">
                                      <p:cBhvr>
                                        <p:cTn dur="1000" id="27"/>
                                        <p:tgtEl>
                                          <p:spTgt spid="6">
                                            <p:txEl>
                                              <p:pRg end="1" st="1"/>
                                            </p:txEl>
                                          </p:spTgt>
                                        </p:tgtEl>
                                      </p:cBhvr>
                                    </p:animEffect>
                                    <p:anim calcmode="lin" valueType="num">
                                      <p:cBhvr>
                                        <p:cTn dur="1000" fill="hold" id="28"/>
                                        <p:tgtEl>
                                          <p:spTgt spid="6">
                                            <p:txEl>
                                              <p:pRg end="1" st="1"/>
                                            </p:txEl>
                                          </p:spTgt>
                                        </p:tgtEl>
                                        <p:attrNameLst>
                                          <p:attrName>ppt_x</p:attrName>
                                        </p:attrNameLst>
                                      </p:cBhvr>
                                      <p:tavLst>
                                        <p:tav tm="0">
                                          <p:val>
                                            <p:strVal val="#ppt_x"/>
                                          </p:val>
                                        </p:tav>
                                        <p:tav tm="100000">
                                          <p:val>
                                            <p:strVal val="#ppt_x"/>
                                          </p:val>
                                        </p:tav>
                                      </p:tavLst>
                                    </p:anim>
                                    <p:anim calcmode="lin" valueType="num">
                                      <p:cBhvr>
                                        <p:cTn dur="1000" fill="hold" id="29"/>
                                        <p:tgtEl>
                                          <p:spTgt spid="6">
                                            <p:txEl>
                                              <p:pRg end="1" st="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5"/>
      <p:bldP build="p" grpId="0" spid="6" uiExpand="1"/>
      <p:bldP grpId="0" spid="9"/>
    </p:bldLst>
  </p:timing>
</p:sld>
</file>

<file path=ppt/slides/slide16.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8" name="Rectangle 7"/>
          <p:cNvSpPr/>
          <p:nvPr/>
        </p:nvSpPr>
        <p:spPr>
          <a:xfrm>
            <a:off x="5117910" y="0"/>
            <a:ext cx="7074090" cy="6858000"/>
          </a:xfrm>
          <a:prstGeom prst="rect">
            <a:avLst/>
          </a:prstGeom>
          <a:solidFill>
            <a:schemeClr val="accent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lang="id-ID">
              <a:latin charset="-122" panose="020b0400000000000000" pitchFamily="34" typeface="思源黑体"/>
              <a:ea charset="-122" panose="020b0400000000000000" pitchFamily="34" typeface="思源黑体"/>
              <a:sym charset="-122" panose="020b0400000000000000" pitchFamily="34" typeface="思源黑体"/>
            </a:endParaRPr>
          </a:p>
        </p:txBody>
      </p:sp>
      <p:grpSp>
        <p:nvGrpSpPr>
          <p:cNvPr id="2" name="Group 1"/>
          <p:cNvGrpSpPr/>
          <p:nvPr/>
        </p:nvGrpSpPr>
        <p:grpSpPr>
          <a:xfrm>
            <a:off x="5593739" y="1781105"/>
            <a:ext cx="5995508" cy="3326926"/>
            <a:chOff x="1154113" y="2038815"/>
            <a:chExt cx="4040774" cy="2215331"/>
          </a:xfrm>
        </p:grpSpPr>
        <p:pic>
          <p:nvPicPr>
            <p:cNvPr id="3" name="Picture 6"/>
            <p:cNvPicPr>
              <a:picLocks noChangeAspect="1"/>
            </p:cNvPicPr>
            <p:nvPr/>
          </p:nvPicPr>
          <p:blipFill>
            <a:blip r:embed="rId3">
              <a:extLst>
                <a:ext uri="{28A0092B-C50C-407E-A947-70E740481C1C}">
                  <a14:useLocalDpi val="0"/>
                </a:ext>
              </a:extLst>
            </a:blip>
            <a:stretch>
              <a:fillRect/>
            </a:stretch>
          </p:blipFill>
          <p:spPr bwMode="auto">
            <a:xfrm>
              <a:off x="1154113" y="2038815"/>
              <a:ext cx="4040774" cy="2215331"/>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pic>
        <p:sp>
          <p:nvSpPr>
            <p:cNvPr id="4" name="Rectangle 3"/>
            <p:cNvSpPr/>
            <p:nvPr/>
          </p:nvSpPr>
          <p:spPr>
            <a:xfrm>
              <a:off x="1739900" y="2178050"/>
              <a:ext cx="2851150" cy="179705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lang="en-US">
                <a:solidFill>
                  <a:schemeClr val="tx1"/>
                </a:solidFill>
                <a:latin charset="-122" panose="020b0400000000000000" pitchFamily="34" typeface="思源黑体"/>
                <a:ea charset="-122" panose="020b0400000000000000" pitchFamily="34" typeface="思源黑体"/>
                <a:sym charset="-122" panose="020b0400000000000000" pitchFamily="34" typeface="思源黑体"/>
              </a:endParaRPr>
            </a:p>
          </p:txBody>
        </p:sp>
      </p:grpSp>
      <p:sp>
        <p:nvSpPr>
          <p:cNvPr id="9" name="Rectangle 8"/>
          <p:cNvSpPr/>
          <p:nvPr/>
        </p:nvSpPr>
        <p:spPr>
          <a:xfrm>
            <a:off x="1267246" y="2452100"/>
            <a:ext cx="2177304" cy="2766060"/>
          </a:xfrm>
          <a:prstGeom prst="rect">
            <a:avLst/>
          </a:prstGeom>
        </p:spPr>
        <p:txBody>
          <a:bodyPr wrap="square">
            <a:spAutoFit/>
          </a:bodyPr>
          <a:lstStyle/>
          <a:p>
            <a:pPr algn="just">
              <a:lnSpc>
                <a:spcPct val="150000"/>
              </a:lnSpc>
            </a:pPr>
            <a:r>
              <a:rPr i="0" lang="id-ID" sz="900">
                <a:solidFill>
                  <a:schemeClr val="bg2"/>
                </a:solidFill>
                <a:effectLst/>
                <a:latin charset="-122" panose="020b0400000000000000" pitchFamily="34" typeface="思源黑体"/>
                <a:ea charset="-122" panose="020b0400000000000000" pitchFamily="34" typeface="思源黑体"/>
                <a:cs charset="0" panose="020f0502020204030203" pitchFamily="34" typeface="Lato"/>
                <a:sym charset="-122" panose="020b0400000000000000" pitchFamily="34" typeface="思源黑体"/>
              </a:rPr>
              <a:t>Lorem ipsum dolor sit amet, lacus nulla ac netus nibh aliquet, porttitor ligula justo libero vivamus porttitor dolor, conubia mollit. Sapien nam suspendisse, tincidunt eget ante tincidunt, eros in auctor fringilla praesent at diam. In et quam est eget mi. Pellentesque nunc orci eu enim, eget in fringilla vitae, et eros praesent dolor porttitor. Lacinia lectus nonummy, accumsan mauris in sed justotincidunt, eros in auctor fringilla praesent at diam. </a:t>
            </a:r>
          </a:p>
        </p:txBody>
      </p:sp>
      <p:sp>
        <p:nvSpPr>
          <p:cNvPr id="10" name="Subtitle 2"/>
          <p:cNvSpPr txBox="1"/>
          <p:nvPr/>
        </p:nvSpPr>
        <p:spPr>
          <a:xfrm>
            <a:off x="1267246" y="1417882"/>
            <a:ext cx="3097785" cy="1034218"/>
          </a:xfrm>
          <a:prstGeom prst="rect">
            <a:avLst/>
          </a:prstGeom>
        </p:spPr>
        <p:txBody>
          <a:bodyPr>
            <a:noAutofit/>
          </a:bodyPr>
          <a:lstStyle>
            <a:lvl1pPr algn="l" defTabSz="914400" eaLnBrk="1" hangingPunct="1" indent="-228600" latinLnBrk="0" marL="228600" rtl="0">
              <a:lnSpc>
                <a:spcPct val="90000"/>
              </a:lnSpc>
              <a:spcBef>
                <a:spcPts val="1000"/>
              </a:spcBef>
              <a:buFont charset="0" panose="020b0604020202020204" pitchFamily="34" typeface="Arial"/>
              <a:buChar char="•"/>
              <a:defRPr kern="1200" sz="2800">
                <a:solidFill>
                  <a:schemeClr val="tx1"/>
                </a:solidFill>
                <a:latin typeface="+mn-lt"/>
                <a:ea typeface="+mn-ea"/>
                <a:cs typeface="+mn-cs"/>
              </a:defRPr>
            </a:lvl1pPr>
            <a:lvl2pPr algn="l" defTabSz="914400" eaLnBrk="1" hangingPunct="1" indent="-228600" latinLnBrk="0" marL="685800" rtl="0">
              <a:lnSpc>
                <a:spcPct val="90000"/>
              </a:lnSpc>
              <a:spcBef>
                <a:spcPts val="500"/>
              </a:spcBef>
              <a:buFont charset="0" panose="020b0604020202020204" pitchFamily="34" typeface="Arial"/>
              <a:buChar char="•"/>
              <a:defRPr kern="1200" sz="2400">
                <a:solidFill>
                  <a:schemeClr val="tx1"/>
                </a:solidFill>
                <a:latin typeface="+mn-lt"/>
                <a:ea typeface="+mn-ea"/>
                <a:cs typeface="+mn-cs"/>
              </a:defRPr>
            </a:lvl2pPr>
            <a:lvl3pPr algn="l" defTabSz="914400" eaLnBrk="1" hangingPunct="1" indent="-228600" latinLnBrk="0" marL="1143000" rtl="0">
              <a:lnSpc>
                <a:spcPct val="90000"/>
              </a:lnSpc>
              <a:spcBef>
                <a:spcPts val="500"/>
              </a:spcBef>
              <a:buFont charset="0" panose="020b0604020202020204" pitchFamily="34" typeface="Arial"/>
              <a:buChar char="•"/>
              <a:defRPr kern="1200" sz="2000">
                <a:solidFill>
                  <a:schemeClr val="tx1"/>
                </a:solidFill>
                <a:latin typeface="+mn-lt"/>
                <a:ea typeface="+mn-ea"/>
                <a:cs typeface="+mn-cs"/>
              </a:defRPr>
            </a:lvl3pPr>
            <a:lvl4pPr algn="l" defTabSz="914400" eaLnBrk="1" hangingPunct="1" indent="-228600" latinLnBrk="0" marL="16002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4pPr>
            <a:lvl5pPr algn="l" defTabSz="914400" eaLnBrk="1" hangingPunct="1" indent="-228600" latinLnBrk="0" marL="20574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5pPr>
            <a:lvl6pPr algn="l" defTabSz="914400" eaLnBrk="1" hangingPunct="1" indent="-228600" latinLnBrk="0" marL="25146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6pPr>
            <a:lvl7pPr algn="l" defTabSz="914400" eaLnBrk="1" hangingPunct="1" indent="-228600" latinLnBrk="0" marL="29718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7pPr>
            <a:lvl8pPr algn="l" defTabSz="914400" eaLnBrk="1" hangingPunct="1" indent="-228600" latinLnBrk="0" marL="34290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8pPr>
            <a:lvl9pPr algn="l" defTabSz="914400" eaLnBrk="1" hangingPunct="1" indent="-228600" latinLnBrk="0" marL="38862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9pPr>
          </a:lstStyle>
          <a:p>
            <a:pPr indent="0" marL="0">
              <a:buNone/>
            </a:pPr>
            <a:r>
              <a:rPr b="1" lang="id-ID" sz="3200">
                <a:solidFill>
                  <a:schemeClr val="accent1"/>
                </a:solidFill>
                <a:latin charset="-122" panose="020b0400000000000000" pitchFamily="34" typeface="思源黑体"/>
                <a:ea charset="-122" panose="020b0400000000000000" pitchFamily="34" typeface="思源黑体"/>
                <a:cs charset="0" panose="020f0502020204030203" pitchFamily="34" typeface="Lato"/>
                <a:sym charset="-122" panose="020b0400000000000000" pitchFamily="34" typeface="思源黑体"/>
              </a:rPr>
              <a:t>DEVICE MOCKUP SLIDE</a:t>
            </a:r>
          </a:p>
        </p:txBody>
      </p:sp>
      <p:cxnSp>
        <p:nvCxnSpPr>
          <p:cNvPr id="11" name="Straight Connector 10"/>
          <p:cNvCxnSpPr/>
          <p:nvPr/>
        </p:nvCxnSpPr>
        <p:spPr>
          <a:xfrm>
            <a:off x="0" y="5569132"/>
            <a:ext cx="12192000" cy="0"/>
          </a:xfrm>
          <a:prstGeom prst="line">
            <a:avLst/>
          </a:prstGeom>
          <a:ln w="38100">
            <a:solidFill>
              <a:srgbClr val="040404"/>
            </a:solidFill>
          </a:ln>
        </p:spPr>
        <p:style>
          <a:lnRef idx="1">
            <a:schemeClr val="accent1"/>
          </a:lnRef>
          <a:fillRef idx="0">
            <a:schemeClr val="accent1"/>
          </a:fillRef>
          <a:effectRef idx="0">
            <a:schemeClr val="accent1"/>
          </a:effectRef>
          <a:fontRef idx="minor">
            <a:schemeClr val="tx1"/>
          </a:fontRef>
        </p:style>
      </p:cxnSp>
      <p:pic>
        <p:nvPicPr>
          <p:cNvPr id="7" name="图片占位符 6">
            <a:extLst>
              <a:ext uri="{FF2B5EF4-FFF2-40B4-BE49-F238E27FC236}">
                <a16:creationId xmlns:a16="http://schemas.microsoft.com/office/drawing/2014/main" id="{3E9A9076-3075-4E5D-9D7E-D57DA9D18C92}"/>
              </a:ext>
            </a:extLst>
          </p:cNvPr>
          <p:cNvPicPr>
            <a:picLocks noChangeAspect="1" noGrp="1"/>
          </p:cNvPicPr>
          <p:nvPr>
            <p:ph idx="10" sz="quarter" type="pic"/>
          </p:nvPr>
        </p:nvPicPr>
        <p:blipFill>
          <a:blip r:embed="rId4">
            <a:extLst>
              <a:ext uri="{28A0092B-C50C-407E-A947-70E740481C1C}">
                <a14:useLocalDpi val="0"/>
              </a:ext>
            </a:extLst>
          </a:blip>
          <a:stretch>
            <a:fillRect/>
          </a:stretch>
        </p:blipFill>
        <p:spPr>
          <a:xfrm>
            <a:off x="6464174" y="1990205"/>
            <a:ext cx="4227858" cy="2698763"/>
          </a:xfrm>
        </p:spPr>
      </p:pic>
      <p:grpSp>
        <p:nvGrpSpPr>
          <p:cNvPr id="17" name="组合 16">
            <a:extLst>
              <a:ext uri="{FF2B5EF4-FFF2-40B4-BE49-F238E27FC236}">
                <a16:creationId xmlns:a16="http://schemas.microsoft.com/office/drawing/2014/main" id="{5E6DDA5F-0694-4608-82B0-749D845B5668}"/>
              </a:ext>
            </a:extLst>
          </p:cNvPr>
          <p:cNvGrpSpPr/>
          <p:nvPr/>
        </p:nvGrpSpPr>
        <p:grpSpPr>
          <a:xfrm>
            <a:off x="538226" y="153800"/>
            <a:ext cx="811275" cy="1299746"/>
            <a:chOff x="538226" y="153800"/>
            <a:chExt cx="811275" cy="1299746"/>
          </a:xfrm>
        </p:grpSpPr>
        <p:sp>
          <p:nvSpPr>
            <p:cNvPr id="18" name="文本框 17">
              <a:extLst>
                <a:ext uri="{FF2B5EF4-FFF2-40B4-BE49-F238E27FC236}">
                  <a16:creationId xmlns:a16="http://schemas.microsoft.com/office/drawing/2014/main" id="{047BE48B-1410-4D2C-80EC-1B68D246668E}"/>
                </a:ext>
              </a:extLst>
            </p:cNvPr>
            <p:cNvSpPr txBox="1"/>
            <p:nvPr/>
          </p:nvSpPr>
          <p:spPr>
            <a:xfrm>
              <a:off x="538226" y="153800"/>
              <a:ext cx="567647" cy="1097280"/>
            </a:xfrm>
            <a:prstGeom prst="rect">
              <a:avLst/>
            </a:prstGeom>
            <a:noFill/>
          </p:spPr>
          <p:txBody>
            <a:bodyPr rtlCol="0" wrap="square">
              <a:spAutoFit/>
            </a:bodyPr>
            <a:lstStyle>
              <a:defPPr>
                <a:defRPr lang="en-US"/>
              </a:defPPr>
              <a:lvl1pPr>
                <a:defRPr sz="8000">
                  <a:gradFill>
                    <a:gsLst>
                      <a:gs pos="36000">
                        <a:schemeClr val="bg1"/>
                      </a:gs>
                      <a:gs pos="100000">
                        <a:schemeClr val="tx1">
                          <a:lumMod val="50000"/>
                          <a:lumOff val="50000"/>
                        </a:schemeClr>
                      </a:gs>
                    </a:gsLst>
                    <a:lin ang="5400000" scaled="1"/>
                  </a:gradFill>
                  <a:latin charset="-122" panose="00000500000000000000" pitchFamily="2" typeface="字魂5号-无外润黑体"/>
                  <a:ea charset="-122" panose="00000500000000000000" pitchFamily="2" typeface="字魂5号-无外润黑体"/>
                </a:defRPr>
              </a:lvl1pPr>
            </a:lstStyle>
            <a:p>
              <a:r>
                <a:rPr altLang="zh-CN" lang="en-US" sz="6600">
                  <a:gradFill>
                    <a:gsLst>
                      <a:gs pos="36000">
                        <a:schemeClr val="bg1"/>
                      </a:gs>
                      <a:gs pos="70000">
                        <a:schemeClr val="tx1">
                          <a:lumMod val="50000"/>
                          <a:lumOff val="50000"/>
                          <a:alpha val="0"/>
                        </a:schemeClr>
                      </a:gs>
                    </a:gsLst>
                    <a:lin ang="5400000" scaled="1"/>
                  </a:gradFill>
                  <a:latin charset="-122" panose="020b0300000000000000" pitchFamily="34" typeface="思源黑体 CN Light"/>
                  <a:ea charset="-122" panose="00000500000000000000" pitchFamily="2" typeface="字魂54号-贤黑"/>
                  <a:sym charset="-122" panose="020b0400000000000000" pitchFamily="34" typeface="思源黑体"/>
                </a:rPr>
                <a:t>3</a:t>
              </a:r>
            </a:p>
          </p:txBody>
        </p:sp>
        <p:grpSp>
          <p:nvGrpSpPr>
            <p:cNvPr id="19" name="组合 18">
              <a:extLst>
                <a:ext uri="{FF2B5EF4-FFF2-40B4-BE49-F238E27FC236}">
                  <a16:creationId xmlns:a16="http://schemas.microsoft.com/office/drawing/2014/main" id="{400ADCF1-629F-4C7E-80C5-64BC9A33E24E}"/>
                </a:ext>
              </a:extLst>
            </p:cNvPr>
            <p:cNvGrpSpPr/>
            <p:nvPr/>
          </p:nvGrpSpPr>
          <p:grpSpPr>
            <a:xfrm rot="1279383">
              <a:off x="538418" y="260428"/>
              <a:ext cx="811083" cy="1193118"/>
              <a:chOff x="5326021" y="1359499"/>
              <a:chExt cx="2273644" cy="3344573"/>
            </a:xfrm>
          </p:grpSpPr>
          <p:cxnSp>
            <p:nvCxnSpPr>
              <p:cNvPr id="20" name="直接连接符 19">
                <a:extLst>
                  <a:ext uri="{FF2B5EF4-FFF2-40B4-BE49-F238E27FC236}">
                    <a16:creationId xmlns:a16="http://schemas.microsoft.com/office/drawing/2014/main" id="{03ABB223-1F6C-4F9A-91C2-8B63D1DBBBC1}"/>
                  </a:ext>
                </a:extLst>
              </p:cNvPr>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1" name="任意多边形: 形状 20">
                <a:extLst>
                  <a:ext uri="{FF2B5EF4-FFF2-40B4-BE49-F238E27FC236}">
                    <a16:creationId xmlns:a16="http://schemas.microsoft.com/office/drawing/2014/main" id="{11D00284-40D7-4A2E-8023-F08790816549}"/>
                  </a:ext>
                </a:extLst>
              </p:cNvPr>
              <p:cNvSpPr/>
              <p:nvPr/>
            </p:nvSpPr>
            <p:spPr>
              <a:xfrm rot="2008142">
                <a:off x="5326021" y="3632692"/>
                <a:ext cx="319543" cy="1071380"/>
              </a:xfrm>
              <a:custGeom>
                <a:gdLst>
                  <a:gd fmla="*/ 278285 w 319543" name="connsiteX0"/>
                  <a:gd fmla="*/ 0 h 1071380" name="connsiteY0"/>
                  <a:gd fmla="*/ 319543 w 319543" name="connsiteX1"/>
                  <a:gd fmla="*/ 0 h 1071380" name="connsiteY1"/>
                  <a:gd fmla="*/ 319543 w 319543" name="connsiteX2"/>
                  <a:gd fmla="*/ 601405 h 1071380" name="connsiteY2"/>
                  <a:gd fmla="*/ 0 w 319543" name="connsiteX3"/>
                  <a:gd fmla="*/ 1071380 h 1071380" name="connsiteY3"/>
                  <a:gd fmla="*/ 0 w 319543" name="connsiteX4"/>
                  <a:gd fmla="*/ 409295 h 1071380"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1071380" w="319543">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400"/>
              </a:p>
            </p:txBody>
          </p:sp>
        </p:grpSp>
      </p:grpSp>
    </p:spTree>
    <p:extLst>
      <p:ext uri="{BB962C8B-B14F-4D97-AF65-F5344CB8AC3E}">
        <p14:creationId val="2781321762"/>
      </p:ext>
    </p:extLst>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afterEffect" presetClass="entr" presetID="42" presetSubtype="0">
                                  <p:stCondLst>
                                    <p:cond delay="0"/>
                                  </p:stCondLst>
                                  <p:childTnLst>
                                    <p:set>
                                      <p:cBhvr>
                                        <p:cTn dur="1" fill="hold" id="6">
                                          <p:stCondLst>
                                            <p:cond delay="0"/>
                                          </p:stCondLst>
                                        </p:cTn>
                                        <p:tgtEl>
                                          <p:spTgt spid="9"/>
                                        </p:tgtEl>
                                        <p:attrNameLst>
                                          <p:attrName>style.visibility</p:attrName>
                                        </p:attrNameLst>
                                      </p:cBhvr>
                                      <p:to>
                                        <p:strVal val="visible"/>
                                      </p:to>
                                    </p:set>
                                    <p:animEffect filter="fade" transition="in">
                                      <p:cBhvr>
                                        <p:cTn dur="1000" id="7"/>
                                        <p:tgtEl>
                                          <p:spTgt spid="9"/>
                                        </p:tgtEl>
                                      </p:cBhvr>
                                    </p:animEffect>
                                    <p:anim calcmode="lin" valueType="num">
                                      <p:cBhvr>
                                        <p:cTn dur="1000" fill="hold" id="8"/>
                                        <p:tgtEl>
                                          <p:spTgt spid="9"/>
                                        </p:tgtEl>
                                        <p:attrNameLst>
                                          <p:attrName>ppt_x</p:attrName>
                                        </p:attrNameLst>
                                      </p:cBhvr>
                                      <p:tavLst>
                                        <p:tav tm="0">
                                          <p:val>
                                            <p:strVal val="#ppt_x"/>
                                          </p:val>
                                        </p:tav>
                                        <p:tav tm="100000">
                                          <p:val>
                                            <p:strVal val="#ppt_x"/>
                                          </p:val>
                                        </p:tav>
                                      </p:tavLst>
                                    </p:anim>
                                    <p:anim calcmode="lin" valueType="num">
                                      <p:cBhvr>
                                        <p:cTn dur="1000" fill="hold" id="9"/>
                                        <p:tgtEl>
                                          <p:spTgt spid="9"/>
                                        </p:tgtEl>
                                        <p:attrNameLst>
                                          <p:attrName>ppt_y</p:attrName>
                                        </p:attrNameLst>
                                      </p:cBhvr>
                                      <p:tavLst>
                                        <p:tav tm="0">
                                          <p:val>
                                            <p:strVal val="#ppt_y+.1"/>
                                          </p:val>
                                        </p:tav>
                                        <p:tav tm="100000">
                                          <p:val>
                                            <p:strVal val="#ppt_y"/>
                                          </p:val>
                                        </p:tav>
                                      </p:tavLst>
                                    </p:anim>
                                  </p:childTnLst>
                                </p:cTn>
                              </p:par>
                            </p:childTnLst>
                          </p:cTn>
                        </p:par>
                        <p:par>
                          <p:cTn fill="hold" id="10" nodeType="afterGroup">
                            <p:stCondLst>
                              <p:cond delay="1000"/>
                            </p:stCondLst>
                            <p:childTnLst>
                              <p:par>
                                <p:cTn fill="hold" grpId="0" id="11" nodeType="afterEffect" presetClass="entr" presetID="42" presetSubtype="0">
                                  <p:stCondLst>
                                    <p:cond delay="0"/>
                                  </p:stCondLst>
                                  <p:childTnLst>
                                    <p:set>
                                      <p:cBhvr>
                                        <p:cTn dur="1" fill="hold" id="12">
                                          <p:stCondLst>
                                            <p:cond delay="0"/>
                                          </p:stCondLst>
                                        </p:cTn>
                                        <p:tgtEl>
                                          <p:spTgt spid="10"/>
                                        </p:tgtEl>
                                        <p:attrNameLst>
                                          <p:attrName>style.visibility</p:attrName>
                                        </p:attrNameLst>
                                      </p:cBhvr>
                                      <p:to>
                                        <p:strVal val="visible"/>
                                      </p:to>
                                    </p:set>
                                    <p:animEffect filter="fade" transition="in">
                                      <p:cBhvr>
                                        <p:cTn dur="1000" id="13"/>
                                        <p:tgtEl>
                                          <p:spTgt spid="10"/>
                                        </p:tgtEl>
                                      </p:cBhvr>
                                    </p:animEffect>
                                    <p:anim calcmode="lin" valueType="num">
                                      <p:cBhvr>
                                        <p:cTn dur="1000" fill="hold" id="14"/>
                                        <p:tgtEl>
                                          <p:spTgt spid="10"/>
                                        </p:tgtEl>
                                        <p:attrNameLst>
                                          <p:attrName>ppt_x</p:attrName>
                                        </p:attrNameLst>
                                      </p:cBhvr>
                                      <p:tavLst>
                                        <p:tav tm="0">
                                          <p:val>
                                            <p:strVal val="#ppt_x"/>
                                          </p:val>
                                        </p:tav>
                                        <p:tav tm="100000">
                                          <p:val>
                                            <p:strVal val="#ppt_x"/>
                                          </p:val>
                                        </p:tav>
                                      </p:tavLst>
                                    </p:anim>
                                    <p:anim calcmode="lin" valueType="num">
                                      <p:cBhvr>
                                        <p:cTn dur="1000" fill="hold" id="15"/>
                                        <p:tgtEl>
                                          <p:spTgt spid="10"/>
                                        </p:tgtEl>
                                        <p:attrNameLst>
                                          <p:attrName>ppt_y</p:attrName>
                                        </p:attrNameLst>
                                      </p:cBhvr>
                                      <p:tavLst>
                                        <p:tav tm="0">
                                          <p:val>
                                            <p:strVal val="#ppt_y+.1"/>
                                          </p:val>
                                        </p:tav>
                                        <p:tav tm="100000">
                                          <p:val>
                                            <p:strVal val="#ppt_y"/>
                                          </p:val>
                                        </p:tav>
                                      </p:tavLst>
                                    </p:anim>
                                  </p:childTnLst>
                                </p:cTn>
                              </p:par>
                            </p:childTnLst>
                          </p:cTn>
                        </p:par>
                        <p:par>
                          <p:cTn fill="hold" id="16" nodeType="afterGroup">
                            <p:stCondLst>
                              <p:cond delay="2000"/>
                            </p:stCondLst>
                            <p:childTnLst>
                              <p:par>
                                <p:cTn fill="hold" grpId="0" id="17" nodeType="afterEffect" presetClass="entr" presetID="42" presetSubtype="0">
                                  <p:stCondLst>
                                    <p:cond delay="0"/>
                                  </p:stCondLst>
                                  <p:childTnLst>
                                    <p:set>
                                      <p:cBhvr>
                                        <p:cTn dur="1" fill="hold" id="18">
                                          <p:stCondLst>
                                            <p:cond delay="0"/>
                                          </p:stCondLst>
                                        </p:cTn>
                                        <p:tgtEl>
                                          <p:spTgt spid="8"/>
                                        </p:tgtEl>
                                        <p:attrNameLst>
                                          <p:attrName>style.visibility</p:attrName>
                                        </p:attrNameLst>
                                      </p:cBhvr>
                                      <p:to>
                                        <p:strVal val="visible"/>
                                      </p:to>
                                    </p:set>
                                    <p:animEffect filter="fade" transition="in">
                                      <p:cBhvr>
                                        <p:cTn dur="1000" id="19"/>
                                        <p:tgtEl>
                                          <p:spTgt spid="8"/>
                                        </p:tgtEl>
                                      </p:cBhvr>
                                    </p:animEffect>
                                    <p:anim calcmode="lin" valueType="num">
                                      <p:cBhvr>
                                        <p:cTn dur="1000" fill="hold" id="20"/>
                                        <p:tgtEl>
                                          <p:spTgt spid="8"/>
                                        </p:tgtEl>
                                        <p:attrNameLst>
                                          <p:attrName>ppt_x</p:attrName>
                                        </p:attrNameLst>
                                      </p:cBhvr>
                                      <p:tavLst>
                                        <p:tav tm="0">
                                          <p:val>
                                            <p:strVal val="#ppt_x"/>
                                          </p:val>
                                        </p:tav>
                                        <p:tav tm="100000">
                                          <p:val>
                                            <p:strVal val="#ppt_x"/>
                                          </p:val>
                                        </p:tav>
                                      </p:tavLst>
                                    </p:anim>
                                    <p:anim calcmode="lin" valueType="num">
                                      <p:cBhvr>
                                        <p:cTn dur="1000" fill="hold" id="21"/>
                                        <p:tgtEl>
                                          <p:spTgt spid="8"/>
                                        </p:tgtEl>
                                        <p:attrNameLst>
                                          <p:attrName>ppt_y</p:attrName>
                                        </p:attrNameLst>
                                      </p:cBhvr>
                                      <p:tavLst>
                                        <p:tav tm="0">
                                          <p:val>
                                            <p:strVal val="#ppt_y+.1"/>
                                          </p:val>
                                        </p:tav>
                                        <p:tav tm="100000">
                                          <p:val>
                                            <p:strVal val="#ppt_y"/>
                                          </p:val>
                                        </p:tav>
                                      </p:tavLst>
                                    </p:anim>
                                  </p:childTnLst>
                                </p:cTn>
                              </p:par>
                            </p:childTnLst>
                          </p:cTn>
                        </p:par>
                        <p:par>
                          <p:cTn fill="hold" id="22" nodeType="afterGroup">
                            <p:stCondLst>
                              <p:cond delay="3000"/>
                            </p:stCondLst>
                            <p:childTnLst>
                              <p:par>
                                <p:cTn fill="hold" id="23" nodeType="afterEffect" presetClass="entr" presetID="42" presetSubtype="0">
                                  <p:stCondLst>
                                    <p:cond delay="0"/>
                                  </p:stCondLst>
                                  <p:childTnLst>
                                    <p:set>
                                      <p:cBhvr>
                                        <p:cTn dur="1" fill="hold" id="24">
                                          <p:stCondLst>
                                            <p:cond delay="0"/>
                                          </p:stCondLst>
                                        </p:cTn>
                                        <p:tgtEl>
                                          <p:spTgt spid="2"/>
                                        </p:tgtEl>
                                        <p:attrNameLst>
                                          <p:attrName>style.visibility</p:attrName>
                                        </p:attrNameLst>
                                      </p:cBhvr>
                                      <p:to>
                                        <p:strVal val="visible"/>
                                      </p:to>
                                    </p:set>
                                    <p:animEffect filter="fade" transition="in">
                                      <p:cBhvr>
                                        <p:cTn dur="1000" id="25"/>
                                        <p:tgtEl>
                                          <p:spTgt spid="2"/>
                                        </p:tgtEl>
                                      </p:cBhvr>
                                    </p:animEffect>
                                    <p:anim calcmode="lin" valueType="num">
                                      <p:cBhvr>
                                        <p:cTn dur="1000" fill="hold" id="26"/>
                                        <p:tgtEl>
                                          <p:spTgt spid="2"/>
                                        </p:tgtEl>
                                        <p:attrNameLst>
                                          <p:attrName>ppt_x</p:attrName>
                                        </p:attrNameLst>
                                      </p:cBhvr>
                                      <p:tavLst>
                                        <p:tav tm="0">
                                          <p:val>
                                            <p:strVal val="#ppt_x"/>
                                          </p:val>
                                        </p:tav>
                                        <p:tav tm="100000">
                                          <p:val>
                                            <p:strVal val="#ppt_x"/>
                                          </p:val>
                                        </p:tav>
                                      </p:tavLst>
                                    </p:anim>
                                    <p:anim calcmode="lin" valueType="num">
                                      <p:cBhvr>
                                        <p:cTn dur="1000" fill="hold" id="27"/>
                                        <p:tgtEl>
                                          <p:spTgt spid="2"/>
                                        </p:tgtEl>
                                        <p:attrNameLst>
                                          <p:attrName>ppt_y</p:attrName>
                                        </p:attrNameLst>
                                      </p:cBhvr>
                                      <p:tavLst>
                                        <p:tav tm="0">
                                          <p:val>
                                            <p:strVal val="#ppt_y+.1"/>
                                          </p:val>
                                        </p:tav>
                                        <p:tav tm="100000">
                                          <p:val>
                                            <p:strVal val="#ppt_y"/>
                                          </p:val>
                                        </p:tav>
                                      </p:tavLst>
                                    </p:anim>
                                  </p:childTnLst>
                                </p:cTn>
                              </p:par>
                            </p:childTnLst>
                          </p:cTn>
                        </p:par>
                        <p:par>
                          <p:cTn fill="hold" id="28" nodeType="afterGroup">
                            <p:stCondLst>
                              <p:cond delay="4000"/>
                            </p:stCondLst>
                            <p:childTnLst>
                              <p:par>
                                <p:cTn fill="hold" id="29" nodeType="afterEffect" presetClass="entr" presetID="42" presetSubtype="0">
                                  <p:stCondLst>
                                    <p:cond delay="0"/>
                                  </p:stCondLst>
                                  <p:childTnLst>
                                    <p:set>
                                      <p:cBhvr>
                                        <p:cTn dur="1" fill="hold" id="30">
                                          <p:stCondLst>
                                            <p:cond delay="0"/>
                                          </p:stCondLst>
                                        </p:cTn>
                                        <p:tgtEl>
                                          <p:spTgt spid="7"/>
                                        </p:tgtEl>
                                        <p:attrNameLst>
                                          <p:attrName>style.visibility</p:attrName>
                                        </p:attrNameLst>
                                      </p:cBhvr>
                                      <p:to>
                                        <p:strVal val="visible"/>
                                      </p:to>
                                    </p:set>
                                    <p:animEffect filter="fade" transition="in">
                                      <p:cBhvr>
                                        <p:cTn dur="1000" id="31"/>
                                        <p:tgtEl>
                                          <p:spTgt spid="7"/>
                                        </p:tgtEl>
                                      </p:cBhvr>
                                    </p:animEffect>
                                    <p:anim calcmode="lin" valueType="num">
                                      <p:cBhvr>
                                        <p:cTn dur="1000" fill="hold" id="32"/>
                                        <p:tgtEl>
                                          <p:spTgt spid="7"/>
                                        </p:tgtEl>
                                        <p:attrNameLst>
                                          <p:attrName>ppt_x</p:attrName>
                                        </p:attrNameLst>
                                      </p:cBhvr>
                                      <p:tavLst>
                                        <p:tav tm="0">
                                          <p:val>
                                            <p:strVal val="#ppt_x"/>
                                          </p:val>
                                        </p:tav>
                                        <p:tav tm="100000">
                                          <p:val>
                                            <p:strVal val="#ppt_x"/>
                                          </p:val>
                                        </p:tav>
                                      </p:tavLst>
                                    </p:anim>
                                    <p:anim calcmode="lin" valueType="num">
                                      <p:cBhvr>
                                        <p:cTn dur="1000" fill="hold" id="33"/>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8"/>
      <p:bldP grpId="0" spid="9"/>
      <p:bldP grpId="0" spid="10"/>
    </p:bldLst>
  </p:timing>
</p:sld>
</file>

<file path=ppt/slides/slide17.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17411" name="组合 1">
            <a:extLst>
              <a:ext uri="{FF2B5EF4-FFF2-40B4-BE49-F238E27FC236}">
                <a16:creationId xmlns:a16="http://schemas.microsoft.com/office/drawing/2014/main" id="{0B3784E8-1F8B-4A90-932D-92E8D1EF0279}"/>
              </a:ext>
            </a:extLst>
          </p:cNvPr>
          <p:cNvGrpSpPr/>
          <p:nvPr/>
        </p:nvGrpSpPr>
        <p:grpSpPr>
          <a:xfrm>
            <a:off x="4713288" y="1971675"/>
            <a:ext cx="3130550" cy="3548063"/>
            <a:chOff x="4714081" y="1971676"/>
            <a:chExt cx="3130550" cy="3548063"/>
          </a:xfrm>
        </p:grpSpPr>
        <p:sp>
          <p:nvSpPr>
            <p:cNvPr id="17419" name="Freeform 5">
              <a:extLst>
                <a:ext uri="{FF2B5EF4-FFF2-40B4-BE49-F238E27FC236}">
                  <a16:creationId xmlns:a16="http://schemas.microsoft.com/office/drawing/2014/main" id="{0933B115-21A6-44E4-AB13-B356729E2D48}"/>
                </a:ext>
              </a:extLst>
            </p:cNvPr>
            <p:cNvSpPr/>
            <p:nvPr/>
          </p:nvSpPr>
          <p:spPr bwMode="auto">
            <a:xfrm>
              <a:off x="6109493" y="3360738"/>
              <a:ext cx="631825" cy="923925"/>
            </a:xfrm>
            <a:custGeom>
              <a:gdLst>
                <a:gd fmla="*/ 2147483647 w 433" name="T0"/>
                <a:gd fmla="*/ 2147483647 h 635" name="T1"/>
                <a:gd fmla="*/ 2147483647 w 433" name="T2"/>
                <a:gd fmla="*/ 2147483647 h 635" name="T3"/>
                <a:gd fmla="*/ 2147483647 w 433" name="T4"/>
                <a:gd fmla="*/ 2147483647 h 635" name="T5"/>
                <a:gd fmla="*/ 2147483647 w 433" name="T6"/>
                <a:gd fmla="*/ 2147483647 h 635" name="T7"/>
                <a:gd fmla="*/ 2147483647 w 433" name="T8"/>
                <a:gd fmla="*/ 0 h 635" name="T9"/>
                <a:gd fmla="*/ 0 w 433" name="T10"/>
                <a:gd fmla="*/ 0 h 635" name="T11"/>
                <a:gd fmla="*/ 0 w 433" name="T12"/>
                <a:gd fmla="*/ 2147483647 h 635" name="T13"/>
                <a:gd fmla="*/ 2147483647 w 433" name="T14"/>
                <a:gd fmla="*/ 2147483647 h 635" name="T15"/>
                <a:gd fmla="*/ 2147483647 w 433" name="T16"/>
                <a:gd fmla="*/ 2147483647 h 635" name="T17"/>
                <a:gd fmla="*/ 2147483647 w 433" name="T18"/>
                <a:gd fmla="*/ 2147483647 h 635" name="T19"/>
                <a:gd fmla="*/ 2147483647 w 433" name="T20"/>
                <a:gd fmla="*/ 2147483647 h 635" name="T21"/>
                <a:gd fmla="*/ 2147483647 w 433" name="T22"/>
                <a:gd fmla="*/ 2147483647 h 635" name="T23"/>
                <a:gd fmla="*/ 2147483647 w 433" name="T24"/>
                <a:gd fmla="*/ 2147483647 h 635" name="T25"/>
                <a:gd fmla="*/ 2147483647 w 433" name="T26"/>
                <a:gd fmla="*/ 2147483647 h 635" name="T27"/>
                <a:gd fmla="*/ 2147483647 w 433" name="T28"/>
                <a:gd fmla="*/ 2147483647 h 635" name="T29"/>
                <a:gd fmla="*/ 2147483647 w 433" name="T30"/>
                <a:gd fmla="*/ 2147483647 h 635" name="T31"/>
                <a:gd fmla="*/ 2147483647 w 433" name="T32"/>
                <a:gd fmla="*/ 2147483647 h 635" name="T33"/>
                <a:gd fmla="*/ 2147483647 w 433" name="T34"/>
                <a:gd fmla="*/ 2147483647 h 635" name="T35"/>
                <a:gd fmla="*/ 2147483647 w 433" name="T36"/>
                <a:gd fmla="*/ 2147483647 h 635" name="T37"/>
                <a:gd fmla="*/ 2147483647 w 433" name="T38"/>
                <a:gd fmla="*/ 2147483647 h 635" name="T39"/>
                <a:gd fmla="*/ 2147483647 w 433" name="T40"/>
                <a:gd fmla="*/ 2147483647 h 635" name="T41"/>
                <a:gd fmla="*/ 2147483647 w 433" name="T42"/>
                <a:gd fmla="*/ 2147483647 h 635" name="T43"/>
                <a:gd fmla="*/ 2147483647 w 433" name="T44"/>
                <a:gd fmla="*/ 2147483647 h 635" name="T45"/>
                <a:gd fmla="*/ 2147483647 w 433" name="T46"/>
                <a:gd fmla="*/ 2147483647 h 635" name="T47"/>
                <a:gd fmla="*/ 2147483647 w 433" name="T48"/>
                <a:gd fmla="*/ 2147483647 h 635" name="T49"/>
                <a:gd fmla="*/ 0 60000 65536" name="T50"/>
                <a:gd fmla="*/ 0 60000 65536" name="T51"/>
                <a:gd fmla="*/ 0 60000 65536" name="T52"/>
                <a:gd fmla="*/ 0 60000 65536" name="T53"/>
                <a:gd fmla="*/ 0 60000 65536" name="T54"/>
                <a:gd fmla="*/ 0 60000 65536" name="T55"/>
                <a:gd fmla="*/ 0 60000 65536" name="T56"/>
                <a:gd fmla="*/ 0 60000 65536" name="T57"/>
                <a:gd fmla="*/ 0 60000 65536" name="T58"/>
                <a:gd fmla="*/ 0 60000 65536" name="T59"/>
                <a:gd fmla="*/ 0 60000 65536" name="T60"/>
                <a:gd fmla="*/ 0 60000 65536" name="T61"/>
                <a:gd fmla="*/ 0 60000 65536" name="T62"/>
                <a:gd fmla="*/ 0 60000 65536" name="T63"/>
                <a:gd fmla="*/ 0 60000 65536" name="T64"/>
                <a:gd fmla="*/ 0 60000 65536" name="T65"/>
                <a:gd fmla="*/ 0 60000 65536" name="T66"/>
                <a:gd fmla="*/ 0 60000 65536" name="T67"/>
                <a:gd fmla="*/ 0 60000 65536" name="T68"/>
                <a:gd fmla="*/ 0 60000 65536" name="T69"/>
                <a:gd fmla="*/ 0 60000 65536" name="T70"/>
                <a:gd fmla="*/ 0 60000 65536" name="T71"/>
                <a:gd fmla="*/ 0 60000 65536" name="T72"/>
                <a:gd fmla="*/ 0 60000 65536" name="T73"/>
                <a:gd fmla="*/ 0 60000 65536" name="T74"/>
              </a:gd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b="b" l="0" r="r" t="0"/>
              <a:pathLst>
                <a:path h="635" w="432">
                  <a:moveTo>
                    <a:pt x="293" y="94"/>
                  </a:moveTo>
                  <a:cubicBezTo>
                    <a:pt x="304" y="84"/>
                    <a:pt x="318" y="79"/>
                    <a:pt x="334" y="80"/>
                  </a:cubicBezTo>
                  <a:cubicBezTo>
                    <a:pt x="360" y="81"/>
                    <a:pt x="391" y="108"/>
                    <a:pt x="401" y="118"/>
                  </a:cubicBezTo>
                  <a:cubicBezTo>
                    <a:pt x="433" y="118"/>
                    <a:pt x="433" y="118"/>
                    <a:pt x="433" y="118"/>
                  </a:cubicBezTo>
                  <a:cubicBezTo>
                    <a:pt x="433" y="0"/>
                    <a:pt x="433" y="0"/>
                    <a:pt x="433" y="0"/>
                  </a:cubicBezTo>
                  <a:cubicBezTo>
                    <a:pt x="0" y="0"/>
                    <a:pt x="0" y="0"/>
                    <a:pt x="0" y="0"/>
                  </a:cubicBezTo>
                  <a:cubicBezTo>
                    <a:pt x="0" y="463"/>
                    <a:pt x="0" y="463"/>
                    <a:pt x="0" y="463"/>
                  </a:cubicBezTo>
                  <a:cubicBezTo>
                    <a:pt x="158" y="463"/>
                    <a:pt x="158" y="463"/>
                    <a:pt x="158" y="463"/>
                  </a:cubicBezTo>
                  <a:cubicBezTo>
                    <a:pt x="164" y="463"/>
                    <a:pt x="169" y="468"/>
                    <a:pt x="169" y="474"/>
                  </a:cubicBezTo>
                  <a:cubicBezTo>
                    <a:pt x="169" y="528"/>
                    <a:pt x="169" y="528"/>
                    <a:pt x="169" y="528"/>
                  </a:cubicBezTo>
                  <a:cubicBezTo>
                    <a:pt x="169" y="532"/>
                    <a:pt x="168" y="535"/>
                    <a:pt x="165" y="537"/>
                  </a:cubicBezTo>
                  <a:cubicBezTo>
                    <a:pt x="156" y="544"/>
                    <a:pt x="130" y="568"/>
                    <a:pt x="129" y="586"/>
                  </a:cubicBezTo>
                  <a:cubicBezTo>
                    <a:pt x="129" y="598"/>
                    <a:pt x="133" y="611"/>
                    <a:pt x="141" y="619"/>
                  </a:cubicBezTo>
                  <a:cubicBezTo>
                    <a:pt x="151" y="630"/>
                    <a:pt x="166" y="635"/>
                    <a:pt x="183" y="635"/>
                  </a:cubicBezTo>
                  <a:cubicBezTo>
                    <a:pt x="207" y="635"/>
                    <a:pt x="248" y="630"/>
                    <a:pt x="250" y="594"/>
                  </a:cubicBezTo>
                  <a:cubicBezTo>
                    <a:pt x="253" y="560"/>
                    <a:pt x="210" y="533"/>
                    <a:pt x="210" y="533"/>
                  </a:cubicBezTo>
                  <a:cubicBezTo>
                    <a:pt x="206" y="531"/>
                    <a:pt x="204" y="527"/>
                    <a:pt x="204" y="524"/>
                  </a:cubicBezTo>
                  <a:cubicBezTo>
                    <a:pt x="204" y="471"/>
                    <a:pt x="204" y="471"/>
                    <a:pt x="204" y="471"/>
                  </a:cubicBezTo>
                  <a:cubicBezTo>
                    <a:pt x="204" y="465"/>
                    <a:pt x="209" y="460"/>
                    <a:pt x="215" y="460"/>
                  </a:cubicBezTo>
                  <a:cubicBezTo>
                    <a:pt x="433" y="460"/>
                    <a:pt x="433" y="460"/>
                    <a:pt x="433" y="460"/>
                  </a:cubicBezTo>
                  <a:cubicBezTo>
                    <a:pt x="433" y="199"/>
                    <a:pt x="433" y="199"/>
                    <a:pt x="433" y="199"/>
                  </a:cubicBezTo>
                  <a:cubicBezTo>
                    <a:pt x="410" y="199"/>
                    <a:pt x="410" y="199"/>
                    <a:pt x="410" y="199"/>
                  </a:cubicBezTo>
                  <a:cubicBezTo>
                    <a:pt x="399" y="211"/>
                    <a:pt x="368" y="243"/>
                    <a:pt x="338" y="243"/>
                  </a:cubicBezTo>
                  <a:cubicBezTo>
                    <a:pt x="305" y="243"/>
                    <a:pt x="270" y="222"/>
                    <a:pt x="270" y="161"/>
                  </a:cubicBezTo>
                  <a:cubicBezTo>
                    <a:pt x="270" y="124"/>
                    <a:pt x="282" y="104"/>
                    <a:pt x="293" y="94"/>
                  </a:cubicBezTo>
                  <a:close/>
                </a:path>
              </a:pathLst>
            </a:custGeom>
            <a:solidFill>
              <a:schemeClr val="dk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20" name="Freeform 6">
              <a:extLst>
                <a:ext uri="{FF2B5EF4-FFF2-40B4-BE49-F238E27FC236}">
                  <a16:creationId xmlns:a16="http://schemas.microsoft.com/office/drawing/2014/main" id="{A3F71216-8B07-4B72-B56D-53CF051EB900}"/>
                </a:ext>
              </a:extLst>
            </p:cNvPr>
            <p:cNvSpPr/>
            <p:nvPr/>
          </p:nvSpPr>
          <p:spPr bwMode="auto">
            <a:xfrm>
              <a:off x="5444331" y="3360738"/>
              <a:ext cx="633413" cy="674688"/>
            </a:xfrm>
            <a:custGeom>
              <a:gdLst>
                <a:gd fmla="*/ 2147483647 w 435" name="T0"/>
                <a:gd fmla="*/ 0 h 463" name="T1"/>
                <a:gd fmla="*/ 2147483647 w 435" name="T2"/>
                <a:gd fmla="*/ 0 h 463" name="T3"/>
                <a:gd fmla="*/ 2147483647 w 435" name="T4"/>
                <a:gd fmla="*/ 2147483647 h 463" name="T5"/>
                <a:gd fmla="*/ 2147483647 w 435" name="T6"/>
                <a:gd fmla="*/ 2147483647 h 463" name="T7"/>
                <a:gd fmla="*/ 2147483647 w 435" name="T8"/>
                <a:gd fmla="*/ 2147483647 h 463" name="T9"/>
                <a:gd fmla="*/ 2147483647 w 435" name="T10"/>
                <a:gd fmla="*/ 2147483647 h 463" name="T11"/>
                <a:gd fmla="*/ 2147483647 w 435" name="T12"/>
                <a:gd fmla="*/ 2147483647 h 463" name="T13"/>
                <a:gd fmla="*/ 2147483647 w 435" name="T14"/>
                <a:gd fmla="*/ 2147483647 h 463" name="T15"/>
                <a:gd fmla="*/ 2147483647 w 435" name="T16"/>
                <a:gd fmla="*/ 2147483647 h 463" name="T17"/>
                <a:gd fmla="*/ 0 w 435" name="T18"/>
                <a:gd fmla="*/ 2147483647 h 463" name="T19"/>
                <a:gd fmla="*/ 0 w 435" name="T20"/>
                <a:gd fmla="*/ 2147483647 h 463" name="T21"/>
                <a:gd fmla="*/ 2147483647 w 435" name="T22"/>
                <a:gd fmla="*/ 2147483647 h 463" name="T23"/>
                <a:gd fmla="*/ 2147483647 w 435" name="T24"/>
                <a:gd fmla="*/ 2147483647 h 463" name="T25"/>
                <a:gd fmla="*/ 2147483647 w 435" name="T26"/>
                <a:gd fmla="*/ 0 h 463" name="T27"/>
                <a:gd fmla="*/ 0 60000 65536" name="T28"/>
                <a:gd fmla="*/ 0 60000 65536" name="T29"/>
                <a:gd fmla="*/ 0 60000 65536" name="T30"/>
                <a:gd fmla="*/ 0 60000 65536" name="T31"/>
                <a:gd fmla="*/ 0 60000 65536" name="T32"/>
                <a:gd fmla="*/ 0 60000 65536" name="T33"/>
                <a:gd fmla="*/ 0 60000 65536" name="T34"/>
                <a:gd fmla="*/ 0 60000 65536" name="T35"/>
                <a:gd fmla="*/ 0 60000 65536" name="T36"/>
                <a:gd fmla="*/ 0 60000 65536" name="T37"/>
                <a:gd fmla="*/ 0 60000 65536" name="T38"/>
                <a:gd fmla="*/ 0 60000 65536" name="T39"/>
                <a:gd fmla="*/ 0 60000 65536" name="T40"/>
                <a:gd fmla="*/ 0 60000 65536" name="T41"/>
              </a:gd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b="b" l="0" r="r" t="0"/>
              <a:pathLst>
                <a:path h="462" w="435">
                  <a:moveTo>
                    <a:pt x="435" y="0"/>
                  </a:moveTo>
                  <a:cubicBezTo>
                    <a:pt x="2" y="0"/>
                    <a:pt x="2" y="0"/>
                    <a:pt x="2" y="0"/>
                  </a:cubicBezTo>
                  <a:cubicBezTo>
                    <a:pt x="2" y="113"/>
                    <a:pt x="2" y="113"/>
                    <a:pt x="2" y="113"/>
                  </a:cubicBezTo>
                  <a:cubicBezTo>
                    <a:pt x="32" y="113"/>
                    <a:pt x="32" y="113"/>
                    <a:pt x="32" y="113"/>
                  </a:cubicBezTo>
                  <a:cubicBezTo>
                    <a:pt x="40" y="99"/>
                    <a:pt x="61" y="69"/>
                    <a:pt x="104" y="70"/>
                  </a:cubicBezTo>
                  <a:cubicBezTo>
                    <a:pt x="166" y="72"/>
                    <a:pt x="166" y="134"/>
                    <a:pt x="166" y="154"/>
                  </a:cubicBezTo>
                  <a:cubicBezTo>
                    <a:pt x="166" y="184"/>
                    <a:pt x="159" y="205"/>
                    <a:pt x="145" y="219"/>
                  </a:cubicBezTo>
                  <a:cubicBezTo>
                    <a:pt x="134" y="229"/>
                    <a:pt x="119" y="234"/>
                    <a:pt x="100" y="234"/>
                  </a:cubicBezTo>
                  <a:cubicBezTo>
                    <a:pt x="63" y="233"/>
                    <a:pt x="42" y="209"/>
                    <a:pt x="34" y="192"/>
                  </a:cubicBezTo>
                  <a:cubicBezTo>
                    <a:pt x="0" y="192"/>
                    <a:pt x="0" y="192"/>
                    <a:pt x="0" y="192"/>
                  </a:cubicBezTo>
                  <a:cubicBezTo>
                    <a:pt x="0" y="442"/>
                    <a:pt x="0" y="442"/>
                    <a:pt x="0" y="442"/>
                  </a:cubicBezTo>
                  <a:cubicBezTo>
                    <a:pt x="4" y="449"/>
                    <a:pt x="7" y="456"/>
                    <a:pt x="9" y="463"/>
                  </a:cubicBezTo>
                  <a:cubicBezTo>
                    <a:pt x="435" y="463"/>
                    <a:pt x="435" y="463"/>
                    <a:pt x="435" y="463"/>
                  </a:cubicBezTo>
                  <a:lnTo>
                    <a:pt x="435" y="0"/>
                  </a:lnTo>
                  <a:close/>
                </a:path>
              </a:pathLst>
            </a:custGeom>
            <a:solidFill>
              <a:schemeClr val="accent1"/>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21" name="Freeform 7">
              <a:extLst>
                <a:ext uri="{FF2B5EF4-FFF2-40B4-BE49-F238E27FC236}">
                  <a16:creationId xmlns:a16="http://schemas.microsoft.com/office/drawing/2014/main" id="{23360FCE-9FF1-4679-A211-36D84FA05B35}"/>
                </a:ext>
              </a:extLst>
            </p:cNvPr>
            <p:cNvSpPr/>
            <p:nvPr/>
          </p:nvSpPr>
          <p:spPr bwMode="auto">
            <a:xfrm>
              <a:off x="5447506" y="1971676"/>
              <a:ext cx="1622425" cy="896938"/>
            </a:xfrm>
            <a:custGeom>
              <a:gdLst>
                <a:gd fmla="*/ 0 w 1114" name="T0"/>
                <a:gd fmla="*/ 2147483647 h 616" name="T1"/>
                <a:gd fmla="*/ 2147483647 w 1114" name="T2"/>
                <a:gd fmla="*/ 2147483647 h 616" name="T3"/>
                <a:gd fmla="*/ 2147483647 w 1114" name="T4"/>
                <a:gd fmla="*/ 2147483647 h 616" name="T5"/>
                <a:gd fmla="*/ 2147483647 w 1114" name="T6"/>
                <a:gd fmla="*/ 2147483647 h 616" name="T7"/>
                <a:gd fmla="*/ 2147483647 w 1114" name="T8"/>
                <a:gd fmla="*/ 2147483647 h 616" name="T9"/>
                <a:gd fmla="*/ 2147483647 w 1114" name="T10"/>
                <a:gd fmla="*/ 2147483647 h 616" name="T11"/>
                <a:gd fmla="*/ 2147483647 w 1114" name="T12"/>
                <a:gd fmla="*/ 2147483647 h 616" name="T13"/>
                <a:gd fmla="*/ 2147483647 w 1114" name="T14"/>
                <a:gd fmla="*/ 2147483647 h 616" name="T15"/>
                <a:gd fmla="*/ 2147483647 w 1114" name="T16"/>
                <a:gd fmla="*/ 2147483647 h 616" name="T17"/>
                <a:gd fmla="*/ 2147483647 w 1114" name="T18"/>
                <a:gd fmla="*/ 2147483647 h 616" name="T19"/>
                <a:gd fmla="*/ 2147483647 w 1114" name="T20"/>
                <a:gd fmla="*/ 2147483647 h 616" name="T21"/>
                <a:gd fmla="*/ 2147483647 w 1114" name="T22"/>
                <a:gd fmla="*/ 2147483647 h 616" name="T23"/>
                <a:gd fmla="*/ 2147483647 w 1114" name="T24"/>
                <a:gd fmla="*/ 2147483647 h 616" name="T25"/>
                <a:gd fmla="*/ 2147483647 w 1114" name="T26"/>
                <a:gd fmla="*/ 2147483647 h 616" name="T27"/>
                <a:gd fmla="*/ 2147483647 w 1114" name="T28"/>
                <a:gd fmla="*/ 2147483647 h 616" name="T29"/>
                <a:gd fmla="*/ 2147483647 w 1114" name="T30"/>
                <a:gd fmla="*/ 2147483647 h 616" name="T31"/>
                <a:gd fmla="*/ 2147483647 w 1114" name="T32"/>
                <a:gd fmla="*/ 2147483647 h 616" name="T33"/>
                <a:gd fmla="*/ 2147483647 w 1114" name="T34"/>
                <a:gd fmla="*/ 2147483647 h 616" name="T35"/>
                <a:gd fmla="*/ 2147483647 w 1114" name="T36"/>
                <a:gd fmla="*/ 2147483647 h 616" name="T37"/>
                <a:gd fmla="*/ 2147483647 w 1114" name="T38"/>
                <a:gd fmla="*/ 2147483647 h 616" name="T39"/>
                <a:gd fmla="*/ 2147483647 w 1114" name="T40"/>
                <a:gd fmla="*/ 2147483647 h 616" name="T41"/>
                <a:gd fmla="*/ 2147483647 w 1114" name="T42"/>
                <a:gd fmla="*/ 2147483647 h 616" name="T43"/>
                <a:gd fmla="*/ 0 w 1114" name="T44"/>
                <a:gd fmla="*/ 2147483647 h 616" name="T45"/>
                <a:gd fmla="*/ 0 w 1114" name="T46"/>
                <a:gd fmla="*/ 2147483647 h 616" name="T47"/>
                <a:gd fmla="*/ 0 60000 65536" name="T48"/>
                <a:gd fmla="*/ 0 60000 65536" name="T49"/>
                <a:gd fmla="*/ 0 60000 65536" name="T50"/>
                <a:gd fmla="*/ 0 60000 65536" name="T51"/>
                <a:gd fmla="*/ 0 60000 65536" name="T52"/>
                <a:gd fmla="*/ 0 60000 65536" name="T53"/>
                <a:gd fmla="*/ 0 60000 65536" name="T54"/>
                <a:gd fmla="*/ 0 60000 65536" name="T55"/>
                <a:gd fmla="*/ 0 60000 65536" name="T56"/>
                <a:gd fmla="*/ 0 60000 65536" name="T57"/>
                <a:gd fmla="*/ 0 60000 65536" name="T58"/>
                <a:gd fmla="*/ 0 60000 65536" name="T59"/>
                <a:gd fmla="*/ 0 60000 65536" name="T60"/>
                <a:gd fmla="*/ 0 60000 65536" name="T61"/>
                <a:gd fmla="*/ 0 60000 65536" name="T62"/>
                <a:gd fmla="*/ 0 60000 65536" name="T63"/>
                <a:gd fmla="*/ 0 60000 65536" name="T64"/>
                <a:gd fmla="*/ 0 60000 65536" name="T65"/>
                <a:gd fmla="*/ 0 60000 65536" name="T66"/>
                <a:gd fmla="*/ 0 60000 65536" name="T67"/>
                <a:gd fmla="*/ 0 60000 65536" name="T68"/>
                <a:gd fmla="*/ 0 60000 65536" name="T69"/>
                <a:gd fmla="*/ 0 60000 65536" name="T70"/>
                <a:gd fmla="*/ 0 60000 65536" name="T71"/>
              </a:gd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b="b" l="0" r="r" t="0"/>
              <a:pathLst>
                <a:path h="616" w="1114">
                  <a:moveTo>
                    <a:pt x="0" y="445"/>
                  </a:moveTo>
                  <a:cubicBezTo>
                    <a:pt x="186" y="445"/>
                    <a:pt x="186" y="445"/>
                    <a:pt x="186" y="445"/>
                  </a:cubicBezTo>
                  <a:cubicBezTo>
                    <a:pt x="192" y="445"/>
                    <a:pt x="197" y="449"/>
                    <a:pt x="197" y="456"/>
                  </a:cubicBezTo>
                  <a:cubicBezTo>
                    <a:pt x="197" y="511"/>
                    <a:pt x="197" y="511"/>
                    <a:pt x="197" y="511"/>
                  </a:cubicBezTo>
                  <a:cubicBezTo>
                    <a:pt x="197" y="515"/>
                    <a:pt x="196" y="519"/>
                    <a:pt x="192" y="521"/>
                  </a:cubicBezTo>
                  <a:cubicBezTo>
                    <a:pt x="184" y="526"/>
                    <a:pt x="161" y="546"/>
                    <a:pt x="161" y="565"/>
                  </a:cubicBezTo>
                  <a:cubicBezTo>
                    <a:pt x="161" y="591"/>
                    <a:pt x="179" y="616"/>
                    <a:pt x="213" y="616"/>
                  </a:cubicBezTo>
                  <a:cubicBezTo>
                    <a:pt x="249" y="616"/>
                    <a:pt x="278" y="597"/>
                    <a:pt x="279" y="571"/>
                  </a:cubicBezTo>
                  <a:cubicBezTo>
                    <a:pt x="280" y="534"/>
                    <a:pt x="240" y="519"/>
                    <a:pt x="240" y="519"/>
                  </a:cubicBezTo>
                  <a:cubicBezTo>
                    <a:pt x="235" y="517"/>
                    <a:pt x="232" y="513"/>
                    <a:pt x="233" y="508"/>
                  </a:cubicBezTo>
                  <a:cubicBezTo>
                    <a:pt x="234" y="458"/>
                    <a:pt x="234" y="458"/>
                    <a:pt x="234" y="458"/>
                  </a:cubicBezTo>
                  <a:cubicBezTo>
                    <a:pt x="234" y="452"/>
                    <a:pt x="239" y="448"/>
                    <a:pt x="245" y="448"/>
                  </a:cubicBezTo>
                  <a:cubicBezTo>
                    <a:pt x="647" y="448"/>
                    <a:pt x="647" y="448"/>
                    <a:pt x="647" y="448"/>
                  </a:cubicBezTo>
                  <a:cubicBezTo>
                    <a:pt x="647" y="412"/>
                    <a:pt x="647" y="412"/>
                    <a:pt x="647" y="412"/>
                  </a:cubicBezTo>
                  <a:cubicBezTo>
                    <a:pt x="634" y="404"/>
                    <a:pt x="605" y="380"/>
                    <a:pt x="605" y="339"/>
                  </a:cubicBezTo>
                  <a:cubicBezTo>
                    <a:pt x="605" y="298"/>
                    <a:pt x="646" y="279"/>
                    <a:pt x="683" y="279"/>
                  </a:cubicBezTo>
                  <a:cubicBezTo>
                    <a:pt x="722" y="279"/>
                    <a:pt x="767" y="294"/>
                    <a:pt x="767" y="338"/>
                  </a:cubicBezTo>
                  <a:cubicBezTo>
                    <a:pt x="767" y="378"/>
                    <a:pt x="739" y="404"/>
                    <a:pt x="728" y="413"/>
                  </a:cubicBezTo>
                  <a:cubicBezTo>
                    <a:pt x="728" y="446"/>
                    <a:pt x="728" y="446"/>
                    <a:pt x="728" y="446"/>
                  </a:cubicBezTo>
                  <a:cubicBezTo>
                    <a:pt x="1114" y="446"/>
                    <a:pt x="1114" y="446"/>
                    <a:pt x="1114" y="446"/>
                  </a:cubicBezTo>
                  <a:cubicBezTo>
                    <a:pt x="1078" y="356"/>
                    <a:pt x="1025" y="265"/>
                    <a:pt x="952" y="204"/>
                  </a:cubicBezTo>
                  <a:cubicBezTo>
                    <a:pt x="809" y="83"/>
                    <a:pt x="677" y="5"/>
                    <a:pt x="460" y="2"/>
                  </a:cubicBezTo>
                  <a:cubicBezTo>
                    <a:pt x="326" y="0"/>
                    <a:pt x="149" y="37"/>
                    <a:pt x="0" y="148"/>
                  </a:cubicBezTo>
                  <a:lnTo>
                    <a:pt x="0" y="445"/>
                  </a:lnTo>
                  <a:close/>
                </a:path>
              </a:pathLst>
            </a:custGeom>
            <a:solidFill>
              <a:schemeClr val="accent1"/>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22" name="Freeform 8">
              <a:extLst>
                <a:ext uri="{FF2B5EF4-FFF2-40B4-BE49-F238E27FC236}">
                  <a16:creationId xmlns:a16="http://schemas.microsoft.com/office/drawing/2014/main" id="{E54C6E1D-3F36-4611-B5A7-1A2E9EA64739}"/>
                </a:ext>
              </a:extLst>
            </p:cNvPr>
            <p:cNvSpPr/>
            <p:nvPr/>
          </p:nvSpPr>
          <p:spPr bwMode="auto">
            <a:xfrm>
              <a:off x="6109493" y="2409826"/>
              <a:ext cx="869950" cy="919163"/>
            </a:xfrm>
            <a:custGeom>
              <a:gdLst>
                <a:gd fmla="*/ 2147483647 w 597" name="T0"/>
                <a:gd fmla="*/ 2147483647 h 631" name="T1"/>
                <a:gd fmla="*/ 2147483647 w 597" name="T2"/>
                <a:gd fmla="*/ 2147483647 h 631" name="T3"/>
                <a:gd fmla="*/ 2147483647 w 597" name="T4"/>
                <a:gd fmla="*/ 2147483647 h 631" name="T5"/>
                <a:gd fmla="*/ 2147483647 w 597" name="T6"/>
                <a:gd fmla="*/ 2147483647 h 631" name="T7"/>
                <a:gd fmla="*/ 2147483647 w 597" name="T8"/>
                <a:gd fmla="*/ 2147483647 h 631" name="T9"/>
                <a:gd fmla="*/ 2147483647 w 597" name="T10"/>
                <a:gd fmla="*/ 2147483647 h 631" name="T11"/>
                <a:gd fmla="*/ 2147483647 w 597" name="T12"/>
                <a:gd fmla="*/ 2147483647 h 631" name="T13"/>
                <a:gd fmla="*/ 2147483647 w 597" name="T14"/>
                <a:gd fmla="*/ 2147483647 h 631" name="T15"/>
                <a:gd fmla="*/ 2147483647 w 597" name="T16"/>
                <a:gd fmla="*/ 2147483647 h 631" name="T17"/>
                <a:gd fmla="*/ 2147483647 w 597" name="T18"/>
                <a:gd fmla="*/ 2147483647 h 631" name="T19"/>
                <a:gd fmla="*/ 2147483647 w 597" name="T20"/>
                <a:gd fmla="*/ 2147483647 h 631" name="T21"/>
                <a:gd fmla="*/ 2147483647 w 597" name="T22"/>
                <a:gd fmla="*/ 2147483647 h 631" name="T23"/>
                <a:gd fmla="*/ 2147483647 w 597" name="T24"/>
                <a:gd fmla="*/ 2147483647 h 631" name="T25"/>
                <a:gd fmla="*/ 2147483647 w 597" name="T26"/>
                <a:gd fmla="*/ 2147483647 h 631" name="T27"/>
                <a:gd fmla="*/ 2147483647 w 597" name="T28"/>
                <a:gd fmla="*/ 2147483647 h 631" name="T29"/>
                <a:gd fmla="*/ 2147483647 w 597" name="T30"/>
                <a:gd fmla="*/ 2147483647 h 631" name="T31"/>
                <a:gd fmla="*/ 2147483647 w 597" name="T32"/>
                <a:gd fmla="*/ 2147483647 h 631" name="T33"/>
                <a:gd fmla="*/ 2147483647 w 597" name="T34"/>
                <a:gd fmla="*/ 0 h 631" name="T35"/>
                <a:gd fmla="*/ 2147483647 w 597" name="T36"/>
                <a:gd fmla="*/ 2147483647 h 631" name="T37"/>
                <a:gd fmla="*/ 2147483647 w 597" name="T38"/>
                <a:gd fmla="*/ 2147483647 h 631" name="T39"/>
                <a:gd fmla="*/ 2147483647 w 597" name="T40"/>
                <a:gd fmla="*/ 2147483647 h 631" name="T41"/>
                <a:gd fmla="*/ 2147483647 w 597" name="T42"/>
                <a:gd fmla="*/ 2147483647 h 631" name="T43"/>
                <a:gd fmla="*/ 2147483647 w 597" name="T44"/>
                <a:gd fmla="*/ 2147483647 h 631" name="T45"/>
                <a:gd fmla="*/ 0 w 597" name="T46"/>
                <a:gd fmla="*/ 2147483647 h 631" name="T47"/>
                <a:gd fmla="*/ 0 w 597" name="T48"/>
                <a:gd fmla="*/ 2147483647 h 631" name="T49"/>
                <a:gd fmla="*/ 2147483647 w 597" name="T50"/>
                <a:gd fmla="*/ 2147483647 h 631" name="T51"/>
                <a:gd fmla="*/ 2147483647 w 597" name="T52"/>
                <a:gd fmla="*/ 2147483647 h 631" name="T53"/>
                <a:gd fmla="*/ 0 60000 65536" name="T54"/>
                <a:gd fmla="*/ 0 60000 65536" name="T55"/>
                <a:gd fmla="*/ 0 60000 65536" name="T56"/>
                <a:gd fmla="*/ 0 60000 65536" name="T57"/>
                <a:gd fmla="*/ 0 60000 65536" name="T58"/>
                <a:gd fmla="*/ 0 60000 65536" name="T59"/>
                <a:gd fmla="*/ 0 60000 65536" name="T60"/>
                <a:gd fmla="*/ 0 60000 65536" name="T61"/>
                <a:gd fmla="*/ 0 60000 65536" name="T62"/>
                <a:gd fmla="*/ 0 60000 65536" name="T63"/>
                <a:gd fmla="*/ 0 60000 65536" name="T64"/>
                <a:gd fmla="*/ 0 60000 65536" name="T65"/>
                <a:gd fmla="*/ 0 60000 65536" name="T66"/>
                <a:gd fmla="*/ 0 60000 65536" name="T67"/>
                <a:gd fmla="*/ 0 60000 65536" name="T68"/>
                <a:gd fmla="*/ 0 60000 65536" name="T69"/>
                <a:gd fmla="*/ 0 60000 65536" name="T70"/>
                <a:gd fmla="*/ 0 60000 65536" name="T71"/>
                <a:gd fmla="*/ 0 60000 65536" name="T72"/>
                <a:gd fmla="*/ 0 60000 65536" name="T73"/>
                <a:gd fmla="*/ 0 60000 65536" name="T74"/>
                <a:gd fmla="*/ 0 60000 65536" name="T75"/>
                <a:gd fmla="*/ 0 60000 65536" name="T76"/>
                <a:gd fmla="*/ 0 60000 65536" name="T77"/>
                <a:gd fmla="*/ 0 60000 65536" name="T78"/>
                <a:gd fmla="*/ 0 60000 65536" name="T79"/>
                <a:gd fmla="*/ 0 60000 65536" name="T80"/>
              </a:gd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b="b" l="0" r="r" t="0"/>
              <a:pathLst>
                <a:path h="631" w="597">
                  <a:moveTo>
                    <a:pt x="433" y="422"/>
                  </a:moveTo>
                  <a:cubicBezTo>
                    <a:pt x="433" y="416"/>
                    <a:pt x="438" y="411"/>
                    <a:pt x="445" y="411"/>
                  </a:cubicBezTo>
                  <a:cubicBezTo>
                    <a:pt x="492" y="411"/>
                    <a:pt x="492" y="411"/>
                    <a:pt x="492" y="411"/>
                  </a:cubicBezTo>
                  <a:cubicBezTo>
                    <a:pt x="496" y="411"/>
                    <a:pt x="499" y="413"/>
                    <a:pt x="501" y="415"/>
                  </a:cubicBezTo>
                  <a:cubicBezTo>
                    <a:pt x="509" y="425"/>
                    <a:pt x="533" y="451"/>
                    <a:pt x="556" y="451"/>
                  </a:cubicBezTo>
                  <a:cubicBezTo>
                    <a:pt x="587" y="451"/>
                    <a:pt x="597" y="419"/>
                    <a:pt x="597" y="389"/>
                  </a:cubicBezTo>
                  <a:cubicBezTo>
                    <a:pt x="597" y="356"/>
                    <a:pt x="583" y="336"/>
                    <a:pt x="557" y="334"/>
                  </a:cubicBezTo>
                  <a:cubicBezTo>
                    <a:pt x="540" y="333"/>
                    <a:pt x="513" y="358"/>
                    <a:pt x="499" y="374"/>
                  </a:cubicBezTo>
                  <a:cubicBezTo>
                    <a:pt x="497" y="376"/>
                    <a:pt x="494" y="377"/>
                    <a:pt x="491" y="377"/>
                  </a:cubicBezTo>
                  <a:cubicBezTo>
                    <a:pt x="441" y="377"/>
                    <a:pt x="441" y="377"/>
                    <a:pt x="441" y="377"/>
                  </a:cubicBezTo>
                  <a:cubicBezTo>
                    <a:pt x="435" y="377"/>
                    <a:pt x="430" y="372"/>
                    <a:pt x="430" y="366"/>
                  </a:cubicBezTo>
                  <a:cubicBezTo>
                    <a:pt x="430" y="167"/>
                    <a:pt x="430" y="167"/>
                    <a:pt x="430" y="167"/>
                  </a:cubicBezTo>
                  <a:cubicBezTo>
                    <a:pt x="261" y="167"/>
                    <a:pt x="261" y="167"/>
                    <a:pt x="261" y="167"/>
                  </a:cubicBezTo>
                  <a:cubicBezTo>
                    <a:pt x="255" y="167"/>
                    <a:pt x="250" y="162"/>
                    <a:pt x="250" y="156"/>
                  </a:cubicBezTo>
                  <a:cubicBezTo>
                    <a:pt x="250" y="107"/>
                    <a:pt x="250" y="107"/>
                    <a:pt x="250" y="107"/>
                  </a:cubicBezTo>
                  <a:cubicBezTo>
                    <a:pt x="250" y="103"/>
                    <a:pt x="252" y="100"/>
                    <a:pt x="256" y="98"/>
                  </a:cubicBezTo>
                  <a:cubicBezTo>
                    <a:pt x="256" y="97"/>
                    <a:pt x="290" y="75"/>
                    <a:pt x="290" y="37"/>
                  </a:cubicBezTo>
                  <a:cubicBezTo>
                    <a:pt x="290" y="2"/>
                    <a:pt x="238" y="0"/>
                    <a:pt x="228" y="0"/>
                  </a:cubicBezTo>
                  <a:cubicBezTo>
                    <a:pt x="207" y="0"/>
                    <a:pt x="172" y="8"/>
                    <a:pt x="172" y="38"/>
                  </a:cubicBezTo>
                  <a:cubicBezTo>
                    <a:pt x="172" y="76"/>
                    <a:pt x="206" y="95"/>
                    <a:pt x="208" y="96"/>
                  </a:cubicBezTo>
                  <a:cubicBezTo>
                    <a:pt x="211" y="97"/>
                    <a:pt x="214" y="101"/>
                    <a:pt x="214" y="105"/>
                  </a:cubicBezTo>
                  <a:cubicBezTo>
                    <a:pt x="214" y="158"/>
                    <a:pt x="214" y="158"/>
                    <a:pt x="214" y="158"/>
                  </a:cubicBezTo>
                  <a:cubicBezTo>
                    <a:pt x="214" y="164"/>
                    <a:pt x="209" y="169"/>
                    <a:pt x="203" y="169"/>
                  </a:cubicBezTo>
                  <a:cubicBezTo>
                    <a:pt x="0" y="169"/>
                    <a:pt x="0" y="169"/>
                    <a:pt x="0" y="169"/>
                  </a:cubicBezTo>
                  <a:cubicBezTo>
                    <a:pt x="0" y="631"/>
                    <a:pt x="0" y="631"/>
                    <a:pt x="0" y="631"/>
                  </a:cubicBezTo>
                  <a:cubicBezTo>
                    <a:pt x="433" y="631"/>
                    <a:pt x="433" y="631"/>
                    <a:pt x="433" y="631"/>
                  </a:cubicBezTo>
                  <a:lnTo>
                    <a:pt x="433" y="422"/>
                  </a:lnTo>
                  <a:close/>
                </a:path>
              </a:pathLst>
            </a:custGeom>
            <a:solidFill>
              <a:schemeClr val="accent1"/>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23" name="Freeform 9">
              <a:extLst>
                <a:ext uri="{FF2B5EF4-FFF2-40B4-BE49-F238E27FC236}">
                  <a16:creationId xmlns:a16="http://schemas.microsoft.com/office/drawing/2014/main" id="{BD8DE2B3-0EEB-4565-A975-26EBFBF047C9}"/>
                </a:ext>
              </a:extLst>
            </p:cNvPr>
            <p:cNvSpPr/>
            <p:nvPr/>
          </p:nvSpPr>
          <p:spPr bwMode="auto">
            <a:xfrm>
              <a:off x="6534943" y="2655888"/>
              <a:ext cx="609600" cy="1319213"/>
            </a:xfrm>
            <a:custGeom>
              <a:gdLst>
                <a:gd fmla="*/ 2147483647 w 418" name="T0"/>
                <a:gd fmla="*/ 0 h 906" name="T1"/>
                <a:gd fmla="*/ 2147483647 w 418" name="T2"/>
                <a:gd fmla="*/ 2147483647 h 906" name="T3"/>
                <a:gd fmla="*/ 2147483647 w 418" name="T4"/>
                <a:gd fmla="*/ 2147483647 h 906" name="T5"/>
                <a:gd fmla="*/ 2147483647 w 418" name="T6"/>
                <a:gd fmla="*/ 2147483647 h 906" name="T7"/>
                <a:gd fmla="*/ 2147483647 w 418" name="T8"/>
                <a:gd fmla="*/ 2147483647 h 906" name="T9"/>
                <a:gd fmla="*/ 2147483647 w 418" name="T10"/>
                <a:gd fmla="*/ 2147483647 h 906" name="T11"/>
                <a:gd fmla="*/ 2147483647 w 418" name="T12"/>
                <a:gd fmla="*/ 2147483647 h 906" name="T13"/>
                <a:gd fmla="*/ 2147483647 w 418" name="T14"/>
                <a:gd fmla="*/ 2147483647 h 906" name="T15"/>
                <a:gd fmla="*/ 2147483647 w 418" name="T16"/>
                <a:gd fmla="*/ 2147483647 h 906" name="T17"/>
                <a:gd fmla="*/ 2147483647 w 418" name="T18"/>
                <a:gd fmla="*/ 2147483647 h 906" name="T19"/>
                <a:gd fmla="*/ 2147483647 w 418" name="T20"/>
                <a:gd fmla="*/ 2147483647 h 906" name="T21"/>
                <a:gd fmla="*/ 2147483647 w 418" name="T22"/>
                <a:gd fmla="*/ 2147483647 h 906" name="T23"/>
                <a:gd fmla="*/ 2147483647 w 418" name="T24"/>
                <a:gd fmla="*/ 2147483647 h 906" name="T25"/>
                <a:gd fmla="*/ 2147483647 w 418" name="T26"/>
                <a:gd fmla="*/ 2147483647 h 906" name="T27"/>
                <a:gd fmla="*/ 0 w 418" name="T28"/>
                <a:gd fmla="*/ 2147483647 h 906" name="T29"/>
                <a:gd fmla="*/ 2147483647 w 418" name="T30"/>
                <a:gd fmla="*/ 2147483647 h 906" name="T31"/>
                <a:gd fmla="*/ 2147483647 w 418" name="T32"/>
                <a:gd fmla="*/ 2147483647 h 906" name="T33"/>
                <a:gd fmla="*/ 2147483647 w 418" name="T34"/>
                <a:gd fmla="*/ 2147483647 h 906" name="T35"/>
                <a:gd fmla="*/ 2147483647 w 418" name="T36"/>
                <a:gd fmla="*/ 2147483647 h 906" name="T37"/>
                <a:gd fmla="*/ 2147483647 w 418" name="T38"/>
                <a:gd fmla="*/ 2147483647 h 906" name="T39"/>
                <a:gd fmla="*/ 2147483647 w 418" name="T40"/>
                <a:gd fmla="*/ 2147483647 h 906" name="T41"/>
                <a:gd fmla="*/ 2147483647 w 418" name="T42"/>
                <a:gd fmla="*/ 2147483647 h 906" name="T43"/>
                <a:gd fmla="*/ 2147483647 w 418" name="T44"/>
                <a:gd fmla="*/ 2147483647 h 906" name="T45"/>
                <a:gd fmla="*/ 2147483647 w 418" name="T46"/>
                <a:gd fmla="*/ 0 h 906" name="T47"/>
                <a:gd fmla="*/ 2147483647 w 418" name="T48"/>
                <a:gd fmla="*/ 0 h 906" name="T49"/>
                <a:gd fmla="*/ 0 60000 65536" name="T50"/>
                <a:gd fmla="*/ 0 60000 65536" name="T51"/>
                <a:gd fmla="*/ 0 60000 65536" name="T52"/>
                <a:gd fmla="*/ 0 60000 65536" name="T53"/>
                <a:gd fmla="*/ 0 60000 65536" name="T54"/>
                <a:gd fmla="*/ 0 60000 65536" name="T55"/>
                <a:gd fmla="*/ 0 60000 65536" name="T56"/>
                <a:gd fmla="*/ 0 60000 65536" name="T57"/>
                <a:gd fmla="*/ 0 60000 65536" name="T58"/>
                <a:gd fmla="*/ 0 60000 65536" name="T59"/>
                <a:gd fmla="*/ 0 60000 65536" name="T60"/>
                <a:gd fmla="*/ 0 60000 65536" name="T61"/>
                <a:gd fmla="*/ 0 60000 65536" name="T62"/>
                <a:gd fmla="*/ 0 60000 65536" name="T63"/>
                <a:gd fmla="*/ 0 60000 65536" name="T64"/>
                <a:gd fmla="*/ 0 60000 65536" name="T65"/>
                <a:gd fmla="*/ 0 60000 65536" name="T66"/>
                <a:gd fmla="*/ 0 60000 65536" name="T67"/>
                <a:gd fmla="*/ 0 60000 65536" name="T68"/>
                <a:gd fmla="*/ 0 60000 65536" name="T69"/>
                <a:gd fmla="*/ 0 60000 65536" name="T70"/>
                <a:gd fmla="*/ 0 60000 65536" name="T71"/>
                <a:gd fmla="*/ 0 60000 65536" name="T72"/>
                <a:gd fmla="*/ 0 60000 65536" name="T73"/>
                <a:gd fmla="*/ 0 60000 65536" name="T74"/>
              </a:gd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b="b" l="0" r="r" t="0"/>
              <a:pathLst>
                <a:path h="905" w="418">
                  <a:moveTo>
                    <a:pt x="160" y="0"/>
                  </a:moveTo>
                  <a:cubicBezTo>
                    <a:pt x="160" y="186"/>
                    <a:pt x="160" y="186"/>
                    <a:pt x="160" y="186"/>
                  </a:cubicBezTo>
                  <a:cubicBezTo>
                    <a:pt x="194" y="186"/>
                    <a:pt x="194" y="186"/>
                    <a:pt x="194" y="186"/>
                  </a:cubicBezTo>
                  <a:cubicBezTo>
                    <a:pt x="205" y="174"/>
                    <a:pt x="238" y="142"/>
                    <a:pt x="266" y="143"/>
                  </a:cubicBezTo>
                  <a:cubicBezTo>
                    <a:pt x="296" y="145"/>
                    <a:pt x="328" y="166"/>
                    <a:pt x="328" y="220"/>
                  </a:cubicBezTo>
                  <a:cubicBezTo>
                    <a:pt x="328" y="271"/>
                    <a:pt x="303" y="304"/>
                    <a:pt x="264" y="304"/>
                  </a:cubicBezTo>
                  <a:cubicBezTo>
                    <a:pt x="232" y="304"/>
                    <a:pt x="205" y="275"/>
                    <a:pt x="195" y="264"/>
                  </a:cubicBezTo>
                  <a:cubicBezTo>
                    <a:pt x="164" y="264"/>
                    <a:pt x="164" y="264"/>
                    <a:pt x="164" y="264"/>
                  </a:cubicBezTo>
                  <a:cubicBezTo>
                    <a:pt x="164" y="613"/>
                    <a:pt x="164" y="613"/>
                    <a:pt x="164" y="613"/>
                  </a:cubicBezTo>
                  <a:cubicBezTo>
                    <a:pt x="164" y="619"/>
                    <a:pt x="159" y="624"/>
                    <a:pt x="153" y="624"/>
                  </a:cubicBezTo>
                  <a:cubicBezTo>
                    <a:pt x="105" y="624"/>
                    <a:pt x="105" y="624"/>
                    <a:pt x="105" y="624"/>
                  </a:cubicBezTo>
                  <a:cubicBezTo>
                    <a:pt x="102" y="624"/>
                    <a:pt x="99" y="623"/>
                    <a:pt x="97" y="621"/>
                  </a:cubicBezTo>
                  <a:cubicBezTo>
                    <a:pt x="88" y="611"/>
                    <a:pt x="59" y="587"/>
                    <a:pt x="40" y="586"/>
                  </a:cubicBezTo>
                  <a:cubicBezTo>
                    <a:pt x="31" y="585"/>
                    <a:pt x="22" y="588"/>
                    <a:pt x="16" y="594"/>
                  </a:cubicBezTo>
                  <a:cubicBezTo>
                    <a:pt x="5" y="604"/>
                    <a:pt x="0" y="622"/>
                    <a:pt x="0" y="645"/>
                  </a:cubicBezTo>
                  <a:cubicBezTo>
                    <a:pt x="0" y="683"/>
                    <a:pt x="16" y="705"/>
                    <a:pt x="46" y="705"/>
                  </a:cubicBezTo>
                  <a:cubicBezTo>
                    <a:pt x="66" y="705"/>
                    <a:pt x="96" y="675"/>
                    <a:pt x="104" y="665"/>
                  </a:cubicBezTo>
                  <a:cubicBezTo>
                    <a:pt x="106" y="662"/>
                    <a:pt x="109" y="661"/>
                    <a:pt x="113" y="661"/>
                  </a:cubicBezTo>
                  <a:cubicBezTo>
                    <a:pt x="153" y="661"/>
                    <a:pt x="153" y="661"/>
                    <a:pt x="153" y="661"/>
                  </a:cubicBezTo>
                  <a:cubicBezTo>
                    <a:pt x="159" y="661"/>
                    <a:pt x="164" y="666"/>
                    <a:pt x="164" y="672"/>
                  </a:cubicBezTo>
                  <a:cubicBezTo>
                    <a:pt x="164" y="906"/>
                    <a:pt x="164" y="906"/>
                    <a:pt x="164" y="906"/>
                  </a:cubicBezTo>
                  <a:cubicBezTo>
                    <a:pt x="207" y="808"/>
                    <a:pt x="270" y="669"/>
                    <a:pt x="318" y="573"/>
                  </a:cubicBezTo>
                  <a:cubicBezTo>
                    <a:pt x="393" y="422"/>
                    <a:pt x="418" y="329"/>
                    <a:pt x="418" y="210"/>
                  </a:cubicBezTo>
                  <a:cubicBezTo>
                    <a:pt x="418" y="156"/>
                    <a:pt x="404" y="79"/>
                    <a:pt x="376" y="0"/>
                  </a:cubicBezTo>
                  <a:lnTo>
                    <a:pt x="160" y="0"/>
                  </a:lnTo>
                  <a:close/>
                </a:path>
              </a:pathLst>
            </a:custGeom>
            <a:solidFill>
              <a:schemeClr val="accent5"/>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24" name="Freeform 10">
              <a:extLst>
                <a:ext uri="{FF2B5EF4-FFF2-40B4-BE49-F238E27FC236}">
                  <a16:creationId xmlns:a16="http://schemas.microsoft.com/office/drawing/2014/main" id="{DD9CBE78-645B-41DC-989A-ED5EE38FAABB}"/>
                </a:ext>
              </a:extLst>
            </p:cNvPr>
            <p:cNvSpPr/>
            <p:nvPr/>
          </p:nvSpPr>
          <p:spPr bwMode="auto">
            <a:xfrm>
              <a:off x="5471318" y="4062413"/>
              <a:ext cx="1263650" cy="520700"/>
            </a:xfrm>
            <a:custGeom>
              <a:gdLst>
                <a:gd fmla="*/ 2147483647 w 868" name="T0"/>
                <a:gd fmla="*/ 0 h 358" name="T1"/>
                <a:gd fmla="*/ 2147483647 w 868" name="T2"/>
                <a:gd fmla="*/ 2147483647 h 358" name="T3"/>
                <a:gd fmla="*/ 2147483647 w 868" name="T4"/>
                <a:gd fmla="*/ 2147483647 h 358" name="T5"/>
                <a:gd fmla="*/ 2147483647 w 868" name="T6"/>
                <a:gd fmla="*/ 2147483647 h 358" name="T7"/>
                <a:gd fmla="*/ 2147483647 w 868" name="T8"/>
                <a:gd fmla="*/ 2147483647 h 358" name="T9"/>
                <a:gd fmla="*/ 2147483647 w 868" name="T10"/>
                <a:gd fmla="*/ 2147483647 h 358" name="T11"/>
                <a:gd fmla="*/ 2147483647 w 868" name="T12"/>
                <a:gd fmla="*/ 2147483647 h 358" name="T13"/>
                <a:gd fmla="*/ 2147483647 w 868" name="T14"/>
                <a:gd fmla="*/ 2147483647 h 358" name="T15"/>
                <a:gd fmla="*/ 0 w 868" name="T16"/>
                <a:gd fmla="*/ 2147483647 h 358" name="T17"/>
                <a:gd fmla="*/ 2147483647 w 868" name="T18"/>
                <a:gd fmla="*/ 2147483647 h 358" name="T19"/>
                <a:gd fmla="*/ 2147483647 w 868" name="T20"/>
                <a:gd fmla="*/ 2147483647 h 358" name="T21"/>
                <a:gd fmla="*/ 2147483647 w 868" name="T22"/>
                <a:gd fmla="*/ 2147483647 h 358" name="T23"/>
                <a:gd fmla="*/ 2147483647 w 868" name="T24"/>
                <a:gd fmla="*/ 2147483647 h 358" name="T25"/>
                <a:gd fmla="*/ 2147483647 w 868" name="T26"/>
                <a:gd fmla="*/ 2147483647 h 358" name="T27"/>
                <a:gd fmla="*/ 2147483647 w 868" name="T28"/>
                <a:gd fmla="*/ 0 h 358" name="T29"/>
                <a:gd fmla="*/ 2147483647 w 868" name="T30"/>
                <a:gd fmla="*/ 0 h 358" name="T31"/>
                <a:gd fmla="*/ 0 60000 65536" name="T32"/>
                <a:gd fmla="*/ 0 60000 65536" name="T33"/>
                <a:gd fmla="*/ 0 60000 65536" name="T34"/>
                <a:gd fmla="*/ 0 60000 65536" name="T35"/>
                <a:gd fmla="*/ 0 60000 65536" name="T36"/>
                <a:gd fmla="*/ 0 60000 65536" name="T37"/>
                <a:gd fmla="*/ 0 60000 65536" name="T38"/>
                <a:gd fmla="*/ 0 60000 65536" name="T39"/>
                <a:gd fmla="*/ 0 60000 65536" name="T40"/>
                <a:gd fmla="*/ 0 60000 65536" name="T41"/>
                <a:gd fmla="*/ 0 60000 65536" name="T42"/>
                <a:gd fmla="*/ 0 60000 65536" name="T43"/>
                <a:gd fmla="*/ 0 60000 65536" name="T44"/>
                <a:gd fmla="*/ 0 60000 65536" name="T45"/>
                <a:gd fmla="*/ 0 60000 65536" name="T46"/>
                <a:gd fmla="*/ 0 60000 65536" name="T47"/>
              </a:gd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b="b" l="0" r="r" t="0"/>
              <a:pathLst>
                <a:path h="358" w="866">
                  <a:moveTo>
                    <a:pt x="665" y="0"/>
                  </a:moveTo>
                  <a:cubicBezTo>
                    <a:pt x="665" y="36"/>
                    <a:pt x="665" y="36"/>
                    <a:pt x="665" y="36"/>
                  </a:cubicBezTo>
                  <a:cubicBezTo>
                    <a:pt x="679" y="46"/>
                    <a:pt x="715" y="75"/>
                    <a:pt x="712" y="114"/>
                  </a:cubicBezTo>
                  <a:cubicBezTo>
                    <a:pt x="709" y="152"/>
                    <a:pt x="675" y="175"/>
                    <a:pt x="622" y="175"/>
                  </a:cubicBezTo>
                  <a:cubicBezTo>
                    <a:pt x="592" y="175"/>
                    <a:pt x="574" y="163"/>
                    <a:pt x="564" y="153"/>
                  </a:cubicBezTo>
                  <a:cubicBezTo>
                    <a:pt x="552" y="139"/>
                    <a:pt x="545" y="121"/>
                    <a:pt x="546" y="103"/>
                  </a:cubicBezTo>
                  <a:cubicBezTo>
                    <a:pt x="548" y="77"/>
                    <a:pt x="575" y="51"/>
                    <a:pt x="586" y="41"/>
                  </a:cubicBezTo>
                  <a:cubicBezTo>
                    <a:pt x="586" y="3"/>
                    <a:pt x="586" y="3"/>
                    <a:pt x="586" y="3"/>
                  </a:cubicBezTo>
                  <a:cubicBezTo>
                    <a:pt x="0" y="3"/>
                    <a:pt x="0" y="3"/>
                    <a:pt x="0" y="3"/>
                  </a:cubicBezTo>
                  <a:cubicBezTo>
                    <a:pt x="16" y="45"/>
                    <a:pt x="26" y="81"/>
                    <a:pt x="26" y="104"/>
                  </a:cubicBezTo>
                  <a:cubicBezTo>
                    <a:pt x="18" y="303"/>
                    <a:pt x="126" y="358"/>
                    <a:pt x="167" y="358"/>
                  </a:cubicBezTo>
                  <a:cubicBezTo>
                    <a:pt x="315" y="358"/>
                    <a:pt x="651" y="358"/>
                    <a:pt x="700" y="358"/>
                  </a:cubicBezTo>
                  <a:cubicBezTo>
                    <a:pt x="750" y="358"/>
                    <a:pt x="799" y="291"/>
                    <a:pt x="821" y="241"/>
                  </a:cubicBezTo>
                  <a:cubicBezTo>
                    <a:pt x="844" y="190"/>
                    <a:pt x="829" y="88"/>
                    <a:pt x="845" y="51"/>
                  </a:cubicBezTo>
                  <a:cubicBezTo>
                    <a:pt x="849" y="43"/>
                    <a:pt x="857" y="25"/>
                    <a:pt x="868" y="0"/>
                  </a:cubicBezTo>
                  <a:lnTo>
                    <a:pt x="665" y="0"/>
                  </a:lnTo>
                  <a:close/>
                </a:path>
              </a:pathLst>
            </a:custGeom>
            <a:solidFill>
              <a:schemeClr val="accent1"/>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25" name="Freeform 11">
              <a:extLst>
                <a:ext uri="{FF2B5EF4-FFF2-40B4-BE49-F238E27FC236}">
                  <a16:creationId xmlns:a16="http://schemas.microsoft.com/office/drawing/2014/main" id="{A5F8D1FE-236E-47AC-B127-8E857EA93B7F}"/>
                </a:ext>
              </a:extLst>
            </p:cNvPr>
            <p:cNvSpPr/>
            <p:nvPr/>
          </p:nvSpPr>
          <p:spPr bwMode="auto">
            <a:xfrm>
              <a:off x="4926806" y="2211388"/>
              <a:ext cx="727075" cy="1720850"/>
            </a:xfrm>
            <a:custGeom>
              <a:gdLst>
                <a:gd fmla="*/ 2147483647 w 500" name="T0"/>
                <a:gd fmla="*/ 2147483647 h 1182" name="T1"/>
                <a:gd fmla="*/ 2147483647 w 500" name="T2"/>
                <a:gd fmla="*/ 2147483647 h 1182" name="T3"/>
                <a:gd fmla="*/ 2147483647 w 500" name="T4"/>
                <a:gd fmla="*/ 2147483647 h 1182" name="T5"/>
                <a:gd fmla="*/ 2147483647 w 500" name="T6"/>
                <a:gd fmla="*/ 2147483647 h 1182" name="T7"/>
                <a:gd fmla="*/ 2147483647 w 500" name="T8"/>
                <a:gd fmla="*/ 2147483647 h 1182" name="T9"/>
                <a:gd fmla="*/ 2147483647 w 500" name="T10"/>
                <a:gd fmla="*/ 2147483647 h 1182" name="T11"/>
                <a:gd fmla="*/ 2147483647 w 500" name="T12"/>
                <a:gd fmla="*/ 2147483647 h 1182" name="T13"/>
                <a:gd fmla="*/ 2147483647 w 500" name="T14"/>
                <a:gd fmla="*/ 2147483647 h 1182" name="T15"/>
                <a:gd fmla="*/ 2147483647 w 500" name="T16"/>
                <a:gd fmla="*/ 2147483647 h 1182" name="T17"/>
                <a:gd fmla="*/ 2147483647 w 500" name="T18"/>
                <a:gd fmla="*/ 2147483647 h 1182" name="T19"/>
                <a:gd fmla="*/ 2147483647 w 500" name="T20"/>
                <a:gd fmla="*/ 2147483647 h 1182" name="T21"/>
                <a:gd fmla="*/ 2147483647 w 500" name="T22"/>
                <a:gd fmla="*/ 2147483647 h 1182" name="T23"/>
                <a:gd fmla="*/ 2147483647 w 500" name="T24"/>
                <a:gd fmla="*/ 2147483647 h 1182" name="T25"/>
                <a:gd fmla="*/ 2147483647 w 500" name="T26"/>
                <a:gd fmla="*/ 2147483647 h 1182" name="T27"/>
                <a:gd fmla="*/ 2147483647 w 500" name="T28"/>
                <a:gd fmla="*/ 2147483647 h 1182" name="T29"/>
                <a:gd fmla="*/ 2147483647 w 500" name="T30"/>
                <a:gd fmla="*/ 0 h 1182" name="T31"/>
                <a:gd fmla="*/ 2147483647 w 500" name="T32"/>
                <a:gd fmla="*/ 2147483647 h 1182" name="T33"/>
                <a:gd fmla="*/ 2147483647 w 500" name="T34"/>
                <a:gd fmla="*/ 2147483647 h 1182" name="T35"/>
                <a:gd fmla="*/ 2147483647 w 500" name="T36"/>
                <a:gd fmla="*/ 2147483647 h 1182" name="T37"/>
                <a:gd fmla="*/ 2147483647 w 500" name="T38"/>
                <a:gd fmla="*/ 2147483647 h 1182" name="T39"/>
                <a:gd fmla="*/ 0 60000 65536" name="T40"/>
                <a:gd fmla="*/ 0 60000 65536" name="T41"/>
                <a:gd fmla="*/ 0 60000 65536" name="T42"/>
                <a:gd fmla="*/ 0 60000 65536" name="T43"/>
                <a:gd fmla="*/ 0 60000 65536" name="T44"/>
                <a:gd fmla="*/ 0 60000 65536" name="T45"/>
                <a:gd fmla="*/ 0 60000 65536" name="T46"/>
                <a:gd fmla="*/ 0 60000 65536" name="T47"/>
                <a:gd fmla="*/ 0 60000 65536" name="T48"/>
                <a:gd fmla="*/ 0 60000 65536" name="T49"/>
                <a:gd fmla="*/ 0 60000 65536" name="T50"/>
                <a:gd fmla="*/ 0 60000 65536" name="T51"/>
                <a:gd fmla="*/ 0 60000 65536" name="T52"/>
                <a:gd fmla="*/ 0 60000 65536" name="T53"/>
                <a:gd fmla="*/ 0 60000 65536" name="T54"/>
                <a:gd fmla="*/ 0 60000 65536" name="T55"/>
                <a:gd fmla="*/ 0 60000 65536" name="T56"/>
                <a:gd fmla="*/ 0 60000 65536" name="T57"/>
                <a:gd fmla="*/ 0 60000 65536" name="T58"/>
                <a:gd fmla="*/ 0 60000 65536" name="T59"/>
              </a:gd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b="b" l="0" r="r" t="0"/>
              <a:pathLst>
                <a:path h="1182" w="500">
                  <a:moveTo>
                    <a:pt x="334" y="970"/>
                  </a:moveTo>
                  <a:cubicBezTo>
                    <a:pt x="334" y="964"/>
                    <a:pt x="339" y="959"/>
                    <a:pt x="345" y="959"/>
                  </a:cubicBezTo>
                  <a:cubicBezTo>
                    <a:pt x="398" y="959"/>
                    <a:pt x="398" y="959"/>
                    <a:pt x="398" y="959"/>
                  </a:cubicBezTo>
                  <a:cubicBezTo>
                    <a:pt x="403" y="959"/>
                    <a:pt x="407" y="963"/>
                    <a:pt x="409" y="967"/>
                  </a:cubicBezTo>
                  <a:cubicBezTo>
                    <a:pt x="409" y="969"/>
                    <a:pt x="418" y="999"/>
                    <a:pt x="457" y="1001"/>
                  </a:cubicBezTo>
                  <a:cubicBezTo>
                    <a:pt x="470" y="1001"/>
                    <a:pt x="479" y="998"/>
                    <a:pt x="486" y="992"/>
                  </a:cubicBezTo>
                  <a:cubicBezTo>
                    <a:pt x="495" y="983"/>
                    <a:pt x="500" y="966"/>
                    <a:pt x="500" y="943"/>
                  </a:cubicBezTo>
                  <a:cubicBezTo>
                    <a:pt x="500" y="907"/>
                    <a:pt x="493" y="882"/>
                    <a:pt x="460" y="881"/>
                  </a:cubicBezTo>
                  <a:cubicBezTo>
                    <a:pt x="420" y="880"/>
                    <a:pt x="406" y="916"/>
                    <a:pt x="405" y="917"/>
                  </a:cubicBezTo>
                  <a:cubicBezTo>
                    <a:pt x="403" y="921"/>
                    <a:pt x="399" y="924"/>
                    <a:pt x="395" y="924"/>
                  </a:cubicBezTo>
                  <a:cubicBezTo>
                    <a:pt x="347" y="924"/>
                    <a:pt x="347" y="924"/>
                    <a:pt x="347" y="924"/>
                  </a:cubicBezTo>
                  <a:cubicBezTo>
                    <a:pt x="341" y="924"/>
                    <a:pt x="336" y="919"/>
                    <a:pt x="336" y="913"/>
                  </a:cubicBezTo>
                  <a:cubicBezTo>
                    <a:pt x="336" y="783"/>
                    <a:pt x="336" y="783"/>
                    <a:pt x="336" y="783"/>
                  </a:cubicBezTo>
                  <a:cubicBezTo>
                    <a:pt x="335" y="782"/>
                    <a:pt x="334" y="780"/>
                    <a:pt x="334" y="778"/>
                  </a:cubicBezTo>
                  <a:cubicBezTo>
                    <a:pt x="334" y="776"/>
                    <a:pt x="335" y="774"/>
                    <a:pt x="336" y="772"/>
                  </a:cubicBezTo>
                  <a:cubicBezTo>
                    <a:pt x="336" y="0"/>
                    <a:pt x="336" y="0"/>
                    <a:pt x="336" y="0"/>
                  </a:cubicBezTo>
                  <a:cubicBezTo>
                    <a:pt x="254" y="67"/>
                    <a:pt x="182" y="159"/>
                    <a:pt x="134" y="281"/>
                  </a:cubicBezTo>
                  <a:cubicBezTo>
                    <a:pt x="0" y="619"/>
                    <a:pt x="191" y="899"/>
                    <a:pt x="221" y="959"/>
                  </a:cubicBezTo>
                  <a:cubicBezTo>
                    <a:pt x="238" y="992"/>
                    <a:pt x="290" y="1088"/>
                    <a:pt x="334" y="1182"/>
                  </a:cubicBezTo>
                  <a:lnTo>
                    <a:pt x="334" y="970"/>
                  </a:lnTo>
                  <a:close/>
                </a:path>
              </a:pathLst>
            </a:custGeom>
            <a:solidFill>
              <a:schemeClr val="dk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26" name="Freeform 12">
              <a:extLst>
                <a:ext uri="{FF2B5EF4-FFF2-40B4-BE49-F238E27FC236}">
                  <a16:creationId xmlns:a16="http://schemas.microsoft.com/office/drawing/2014/main" id="{74FC950B-B8C9-4133-AA9F-DDF7DE054FD1}"/>
                </a:ext>
              </a:extLst>
            </p:cNvPr>
            <p:cNvSpPr/>
            <p:nvPr/>
          </p:nvSpPr>
          <p:spPr bwMode="auto">
            <a:xfrm>
              <a:off x="5447506" y="2651126"/>
              <a:ext cx="630238" cy="677863"/>
            </a:xfrm>
            <a:custGeom>
              <a:gdLst>
                <a:gd fmla="*/ 2147483647 w 433" name="T0"/>
                <a:gd fmla="*/ 2147483647 h 465" name="T1"/>
                <a:gd fmla="*/ 2147483647 w 433" name="T2"/>
                <a:gd fmla="*/ 2147483647 h 465" name="T3"/>
                <a:gd fmla="*/ 2147483647 w 433" name="T4"/>
                <a:gd fmla="*/ 2147483647 h 465" name="T5"/>
                <a:gd fmla="*/ 2147483647 w 433" name="T6"/>
                <a:gd fmla="*/ 2147483647 h 465" name="T7"/>
                <a:gd fmla="*/ 2147483647 w 433" name="T8"/>
                <a:gd fmla="*/ 2147483647 h 465" name="T9"/>
                <a:gd fmla="*/ 2147483647 w 433" name="T10"/>
                <a:gd fmla="*/ 2147483647 h 465" name="T11"/>
                <a:gd fmla="*/ 2147483647 w 433" name="T12"/>
                <a:gd fmla="*/ 2147483647 h 465" name="T13"/>
                <a:gd fmla="*/ 2147483647 w 433" name="T14"/>
                <a:gd fmla="*/ 0 h 465" name="T15"/>
                <a:gd fmla="*/ 0 w 433" name="T16"/>
                <a:gd fmla="*/ 0 h 465" name="T17"/>
                <a:gd fmla="*/ 0 w 433" name="T18"/>
                <a:gd fmla="*/ 2147483647 h 465" name="T19"/>
                <a:gd fmla="*/ 2147483647 w 433" name="T20"/>
                <a:gd fmla="*/ 2147483647 h 465" name="T21"/>
                <a:gd fmla="*/ 2147483647 w 433" name="T22"/>
                <a:gd fmla="*/ 2147483647 h 465" name="T23"/>
                <a:gd fmla="*/ 0 60000 65536" name="T24"/>
                <a:gd fmla="*/ 0 60000 65536" name="T25"/>
                <a:gd fmla="*/ 0 60000 65536" name="T26"/>
                <a:gd fmla="*/ 0 60000 65536" name="T27"/>
                <a:gd fmla="*/ 0 60000 65536" name="T28"/>
                <a:gd fmla="*/ 0 60000 65536" name="T29"/>
                <a:gd fmla="*/ 0 60000 65536" name="T30"/>
                <a:gd fmla="*/ 0 60000 65536" name="T31"/>
                <a:gd fmla="*/ 0 60000 65536" name="T32"/>
                <a:gd fmla="*/ 0 60000 65536" name="T33"/>
                <a:gd fmla="*/ 0 60000 65536" name="T34"/>
                <a:gd fmla="*/ 0 60000 65536" name="T35"/>
              </a:gd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b="b" l="0" r="r" t="0"/>
              <a:pathLst>
                <a:path h="465" w="432">
                  <a:moveTo>
                    <a:pt x="433" y="3"/>
                  </a:moveTo>
                  <a:cubicBezTo>
                    <a:pt x="256" y="3"/>
                    <a:pt x="256" y="3"/>
                    <a:pt x="256" y="3"/>
                  </a:cubicBezTo>
                  <a:cubicBezTo>
                    <a:pt x="255" y="34"/>
                    <a:pt x="255" y="34"/>
                    <a:pt x="255" y="34"/>
                  </a:cubicBezTo>
                  <a:cubicBezTo>
                    <a:pt x="270" y="42"/>
                    <a:pt x="302" y="63"/>
                    <a:pt x="301" y="105"/>
                  </a:cubicBezTo>
                  <a:cubicBezTo>
                    <a:pt x="300" y="142"/>
                    <a:pt x="261" y="172"/>
                    <a:pt x="213" y="172"/>
                  </a:cubicBezTo>
                  <a:cubicBezTo>
                    <a:pt x="165" y="172"/>
                    <a:pt x="139" y="134"/>
                    <a:pt x="139" y="98"/>
                  </a:cubicBezTo>
                  <a:cubicBezTo>
                    <a:pt x="139" y="70"/>
                    <a:pt x="164" y="47"/>
                    <a:pt x="175" y="39"/>
                  </a:cubicBezTo>
                  <a:cubicBezTo>
                    <a:pt x="175" y="0"/>
                    <a:pt x="175" y="0"/>
                    <a:pt x="175" y="0"/>
                  </a:cubicBezTo>
                  <a:cubicBezTo>
                    <a:pt x="0" y="0"/>
                    <a:pt x="0" y="0"/>
                    <a:pt x="0" y="0"/>
                  </a:cubicBezTo>
                  <a:cubicBezTo>
                    <a:pt x="0" y="465"/>
                    <a:pt x="0" y="465"/>
                    <a:pt x="0" y="465"/>
                  </a:cubicBezTo>
                  <a:cubicBezTo>
                    <a:pt x="433" y="465"/>
                    <a:pt x="433" y="465"/>
                    <a:pt x="433" y="465"/>
                  </a:cubicBezTo>
                  <a:lnTo>
                    <a:pt x="433" y="3"/>
                  </a:lnTo>
                  <a:close/>
                </a:path>
              </a:pathLst>
            </a:custGeom>
            <a:solidFill>
              <a:schemeClr val="lt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27" name="Freeform 13">
              <a:extLst>
                <a:ext uri="{FF2B5EF4-FFF2-40B4-BE49-F238E27FC236}">
                  <a16:creationId xmlns:a16="http://schemas.microsoft.com/office/drawing/2014/main" id="{2B040F66-DFD6-4AA4-B35A-95D4077293B6}"/>
                </a:ext>
              </a:extLst>
            </p:cNvPr>
            <p:cNvSpPr>
              <a:spLocks noEditPoints="1"/>
            </p:cNvSpPr>
            <p:nvPr/>
          </p:nvSpPr>
          <p:spPr bwMode="auto">
            <a:xfrm>
              <a:off x="6214268" y="2792413"/>
              <a:ext cx="412750" cy="414338"/>
            </a:xfrm>
            <a:custGeom>
              <a:gdLst>
                <a:gd fmla="*/ 2147483647 w 283" name="T0"/>
                <a:gd fmla="*/ 0 h 284" name="T1"/>
                <a:gd fmla="*/ 2147483647 w 283" name="T2"/>
                <a:gd fmla="*/ 2147483647 h 284" name="T3"/>
                <a:gd fmla="*/ 2147483647 w 283" name="T4"/>
                <a:gd fmla="*/ 2147483647 h 284" name="T5"/>
                <a:gd fmla="*/ 2147483647 w 283" name="T6"/>
                <a:gd fmla="*/ 2147483647 h 284" name="T7"/>
                <a:gd fmla="*/ 2147483647 w 283" name="T8"/>
                <a:gd fmla="*/ 2147483647 h 284" name="T9"/>
                <a:gd fmla="*/ 2147483647 w 283" name="T10"/>
                <a:gd fmla="*/ 2147483647 h 284" name="T11"/>
                <a:gd fmla="*/ 2147483647 w 283" name="T12"/>
                <a:gd fmla="*/ 2147483647 h 284" name="T13"/>
                <a:gd fmla="*/ 2147483647 w 283" name="T14"/>
                <a:gd fmla="*/ 2147483647 h 284" name="T15"/>
                <a:gd fmla="*/ 0 w 283" name="T16"/>
                <a:gd fmla="*/ 2147483647 h 284" name="T17"/>
                <a:gd fmla="*/ 2147483647 w 283" name="T18"/>
                <a:gd fmla="*/ 2147483647 h 284" name="T19"/>
                <a:gd fmla="*/ 2147483647 w 283" name="T20"/>
                <a:gd fmla="*/ 2147483647 h 284" name="T21"/>
                <a:gd fmla="*/ 2147483647 w 283" name="T22"/>
                <a:gd fmla="*/ 2147483647 h 284" name="T23"/>
                <a:gd fmla="*/ 2147483647 w 283" name="T24"/>
                <a:gd fmla="*/ 2147483647 h 284" name="T25"/>
                <a:gd fmla="*/ 2147483647 w 283" name="T26"/>
                <a:gd fmla="*/ 2147483647 h 284" name="T27"/>
                <a:gd fmla="*/ 2147483647 w 283" name="T28"/>
                <a:gd fmla="*/ 2147483647 h 284" name="T29"/>
                <a:gd fmla="*/ 2147483647 w 283" name="T30"/>
                <a:gd fmla="*/ 2147483647 h 284" name="T31"/>
                <a:gd fmla="*/ 2147483647 w 283" name="T32"/>
                <a:gd fmla="*/ 2147483647 h 284" name="T33"/>
                <a:gd fmla="*/ 2147483647 w 283" name="T34"/>
                <a:gd fmla="*/ 2147483647 h 284" name="T35"/>
                <a:gd fmla="*/ 2147483647 w 283" name="T36"/>
                <a:gd fmla="*/ 2147483647 h 284" name="T37"/>
                <a:gd fmla="*/ 2147483647 w 283" name="T38"/>
                <a:gd fmla="*/ 2147483647 h 284" name="T39"/>
                <a:gd fmla="*/ 2147483647 w 283" name="T40"/>
                <a:gd fmla="*/ 2147483647 h 284" name="T41"/>
                <a:gd fmla="*/ 2147483647 w 283" name="T42"/>
                <a:gd fmla="*/ 2147483647 h 284" name="T43"/>
                <a:gd fmla="*/ 2147483647 w 283" name="T44"/>
                <a:gd fmla="*/ 2147483647 h 284" name="T45"/>
                <a:gd fmla="*/ 2147483647 w 283" name="T46"/>
                <a:gd fmla="*/ 2147483647 h 284" name="T47"/>
                <a:gd fmla="*/ 2147483647 w 283" name="T48"/>
                <a:gd fmla="*/ 2147483647 h 284" name="T49"/>
                <a:gd fmla="*/ 2147483647 w 283" name="T50"/>
                <a:gd fmla="*/ 2147483647 h 284" name="T51"/>
                <a:gd fmla="*/ 2147483647 w 283" name="T52"/>
                <a:gd fmla="*/ 2147483647 h 284" name="T53"/>
                <a:gd fmla="*/ 2147483647 w 283" name="T54"/>
                <a:gd fmla="*/ 2147483647 h 284" name="T55"/>
                <a:gd fmla="*/ 2147483647 w 283" name="T56"/>
                <a:gd fmla="*/ 2147483647 h 284" name="T57"/>
                <a:gd fmla="*/ 2147483647 w 283" name="T58"/>
                <a:gd fmla="*/ 2147483647 h 284" name="T59"/>
                <a:gd fmla="*/ 2147483647 w 283" name="T60"/>
                <a:gd fmla="*/ 2147483647 h 284" name="T61"/>
                <a:gd fmla="*/ 2147483647 w 283" name="T62"/>
                <a:gd fmla="*/ 2147483647 h 284" name="T63"/>
                <a:gd fmla="*/ 2147483647 w 283" name="T64"/>
                <a:gd fmla="*/ 2147483647 h 284" name="T65"/>
                <a:gd fmla="*/ 2147483647 w 283" name="T66"/>
                <a:gd fmla="*/ 2147483647 h 284" name="T67"/>
                <a:gd fmla="*/ 2147483647 w 283" name="T68"/>
                <a:gd fmla="*/ 2147483647 h 284" name="T69"/>
                <a:gd fmla="*/ 2147483647 w 283" name="T70"/>
                <a:gd fmla="*/ 2147483647 h 284" name="T71"/>
                <a:gd fmla="*/ 2147483647 w 283" name="T72"/>
                <a:gd fmla="*/ 2147483647 h 284" name="T73"/>
                <a:gd fmla="*/ 2147483647 w 283" name="T74"/>
                <a:gd fmla="*/ 2147483647 h 284" name="T75"/>
                <a:gd fmla="*/ 2147483647 w 283" name="T76"/>
                <a:gd fmla="*/ 2147483647 h 284" name="T77"/>
                <a:gd fmla="*/ 2147483647 w 283" name="T78"/>
                <a:gd fmla="*/ 2147483647 h 284" name="T79"/>
                <a:gd fmla="*/ 2147483647 w 283" name="T80"/>
                <a:gd fmla="*/ 2147483647 h 284" name="T81"/>
                <a:gd fmla="*/ 2147483647 w 283" name="T82"/>
                <a:gd fmla="*/ 2147483647 h 284" name="T83"/>
                <a:gd fmla="*/ 2147483647 w 283" name="T84"/>
                <a:gd fmla="*/ 2147483647 h 284" name="T85"/>
                <a:gd fmla="*/ 2147483647 w 283" name="T86"/>
                <a:gd fmla="*/ 2147483647 h 284" name="T87"/>
                <a:gd fmla="*/ 2147483647 w 283" name="T88"/>
                <a:gd fmla="*/ 2147483647 h 284" name="T89"/>
                <a:gd fmla="*/ 2147483647 w 283" name="T90"/>
                <a:gd fmla="*/ 2147483647 h 284" name="T91"/>
                <a:gd fmla="*/ 2147483647 w 283" name="T92"/>
                <a:gd fmla="*/ 2147483647 h 284" name="T93"/>
                <a:gd fmla="*/ 2147483647 w 283" name="T94"/>
                <a:gd fmla="*/ 2147483647 h 284" name="T95"/>
                <a:gd fmla="*/ 2147483647 w 283" name="T96"/>
                <a:gd fmla="*/ 2147483647 h 284" name="T97"/>
                <a:gd fmla="*/ 2147483647 w 283" name="T98"/>
                <a:gd fmla="*/ 2147483647 h 284" name="T99"/>
                <a:gd fmla="*/ 2147483647 w 283" name="T100"/>
                <a:gd fmla="*/ 2147483647 h 284" name="T101"/>
                <a:gd fmla="*/ 2147483647 w 283" name="T102"/>
                <a:gd fmla="*/ 2147483647 h 284" name="T103"/>
                <a:gd fmla="*/ 2147483647 w 283" name="T104"/>
                <a:gd fmla="*/ 2147483647 h 284" name="T105"/>
                <a:gd fmla="*/ 2147483647 w 283" name="T106"/>
                <a:gd fmla="*/ 2147483647 h 284" name="T107"/>
                <a:gd fmla="*/ 2147483647 w 283" name="T108"/>
                <a:gd fmla="*/ 2147483647 h 284" name="T109"/>
                <a:gd fmla="*/ 2147483647 w 283" name="T110"/>
                <a:gd fmla="*/ 2147483647 h 284" name="T111"/>
                <a:gd fmla="*/ 2147483647 w 283" name="T112"/>
                <a:gd fmla="*/ 2147483647 h 284" name="T113"/>
                <a:gd fmla="*/ 2147483647 w 283" name="T114"/>
                <a:gd fmla="*/ 2147483647 h 284" name="T115"/>
                <a:gd fmla="*/ 2147483647 w 283" name="T116"/>
                <a:gd fmla="*/ 2147483647 h 284"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 fmla="*/ 0 60000 65536" name="T168"/>
                <a:gd fmla="*/ 0 60000 65536" name="T169"/>
                <a:gd fmla="*/ 0 60000 65536" name="T170"/>
                <a:gd fmla="*/ 0 60000 65536" name="T171"/>
                <a:gd fmla="*/ 0 60000 65536" name="T172"/>
                <a:gd fmla="*/ 0 60000 65536" name="T173"/>
                <a:gd fmla="*/ 0 60000 65536" name="T174"/>
                <a:gd fmla="*/ 0 60000 65536" name="T175"/>
                <a:gd fmla="*/ 0 60000 65536" name="T176"/>
              </a:gd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b="b" l="0" r="r" t="0"/>
              <a:pathLst>
                <a:path h="284" w="283">
                  <a:moveTo>
                    <a:pt x="133" y="0"/>
                  </a:moveTo>
                  <a:cubicBezTo>
                    <a:pt x="139" y="0"/>
                    <a:pt x="144" y="0"/>
                    <a:pt x="150" y="0"/>
                  </a:cubicBezTo>
                  <a:cubicBezTo>
                    <a:pt x="154" y="1"/>
                    <a:pt x="157" y="1"/>
                    <a:pt x="161" y="2"/>
                  </a:cubicBezTo>
                  <a:cubicBezTo>
                    <a:pt x="189" y="6"/>
                    <a:pt x="214" y="17"/>
                    <a:pt x="235" y="36"/>
                  </a:cubicBezTo>
                  <a:cubicBezTo>
                    <a:pt x="260" y="58"/>
                    <a:pt x="275" y="85"/>
                    <a:pt x="281" y="118"/>
                  </a:cubicBezTo>
                  <a:cubicBezTo>
                    <a:pt x="282" y="123"/>
                    <a:pt x="283" y="129"/>
                    <a:pt x="283" y="134"/>
                  </a:cubicBezTo>
                  <a:cubicBezTo>
                    <a:pt x="283" y="139"/>
                    <a:pt x="283" y="145"/>
                    <a:pt x="283" y="151"/>
                  </a:cubicBezTo>
                  <a:cubicBezTo>
                    <a:pt x="283" y="151"/>
                    <a:pt x="283" y="152"/>
                    <a:pt x="283" y="153"/>
                  </a:cubicBezTo>
                  <a:cubicBezTo>
                    <a:pt x="282" y="159"/>
                    <a:pt x="282" y="164"/>
                    <a:pt x="281" y="169"/>
                  </a:cubicBezTo>
                  <a:cubicBezTo>
                    <a:pt x="275" y="197"/>
                    <a:pt x="263" y="221"/>
                    <a:pt x="242" y="242"/>
                  </a:cubicBezTo>
                  <a:cubicBezTo>
                    <a:pt x="221" y="263"/>
                    <a:pt x="196" y="277"/>
                    <a:pt x="166" y="282"/>
                  </a:cubicBezTo>
                  <a:cubicBezTo>
                    <a:pt x="161" y="283"/>
                    <a:pt x="155" y="283"/>
                    <a:pt x="150" y="284"/>
                  </a:cubicBezTo>
                  <a:cubicBezTo>
                    <a:pt x="144" y="284"/>
                    <a:pt x="139" y="284"/>
                    <a:pt x="133" y="284"/>
                  </a:cubicBezTo>
                  <a:cubicBezTo>
                    <a:pt x="129" y="284"/>
                    <a:pt x="126" y="283"/>
                    <a:pt x="122" y="283"/>
                  </a:cubicBezTo>
                  <a:cubicBezTo>
                    <a:pt x="94" y="279"/>
                    <a:pt x="69" y="268"/>
                    <a:pt x="48" y="249"/>
                  </a:cubicBezTo>
                  <a:cubicBezTo>
                    <a:pt x="23" y="227"/>
                    <a:pt x="8" y="199"/>
                    <a:pt x="2" y="167"/>
                  </a:cubicBezTo>
                  <a:cubicBezTo>
                    <a:pt x="1" y="161"/>
                    <a:pt x="0" y="156"/>
                    <a:pt x="0" y="151"/>
                  </a:cubicBezTo>
                  <a:cubicBezTo>
                    <a:pt x="0" y="145"/>
                    <a:pt x="0" y="139"/>
                    <a:pt x="0" y="134"/>
                  </a:cubicBezTo>
                  <a:cubicBezTo>
                    <a:pt x="0" y="133"/>
                    <a:pt x="0" y="132"/>
                    <a:pt x="0" y="131"/>
                  </a:cubicBezTo>
                  <a:cubicBezTo>
                    <a:pt x="1" y="126"/>
                    <a:pt x="1" y="121"/>
                    <a:pt x="2" y="116"/>
                  </a:cubicBezTo>
                  <a:cubicBezTo>
                    <a:pt x="8" y="87"/>
                    <a:pt x="20" y="63"/>
                    <a:pt x="41" y="43"/>
                  </a:cubicBezTo>
                  <a:cubicBezTo>
                    <a:pt x="62" y="21"/>
                    <a:pt x="87" y="8"/>
                    <a:pt x="117" y="3"/>
                  </a:cubicBezTo>
                  <a:cubicBezTo>
                    <a:pt x="122" y="2"/>
                    <a:pt x="128" y="1"/>
                    <a:pt x="133" y="0"/>
                  </a:cubicBezTo>
                  <a:close/>
                  <a:moveTo>
                    <a:pt x="168" y="263"/>
                  </a:moveTo>
                  <a:cubicBezTo>
                    <a:pt x="166" y="262"/>
                    <a:pt x="164" y="263"/>
                    <a:pt x="162" y="262"/>
                  </a:cubicBezTo>
                  <a:cubicBezTo>
                    <a:pt x="153" y="260"/>
                    <a:pt x="147" y="254"/>
                    <a:pt x="140" y="249"/>
                  </a:cubicBezTo>
                  <a:cubicBezTo>
                    <a:pt x="136" y="246"/>
                    <a:pt x="133" y="242"/>
                    <a:pt x="132" y="237"/>
                  </a:cubicBezTo>
                  <a:cubicBezTo>
                    <a:pt x="132" y="236"/>
                    <a:pt x="132" y="235"/>
                    <a:pt x="132" y="233"/>
                  </a:cubicBezTo>
                  <a:cubicBezTo>
                    <a:pt x="130" y="222"/>
                    <a:pt x="128" y="210"/>
                    <a:pt x="126" y="199"/>
                  </a:cubicBezTo>
                  <a:cubicBezTo>
                    <a:pt x="125" y="194"/>
                    <a:pt x="123" y="189"/>
                    <a:pt x="119" y="185"/>
                  </a:cubicBezTo>
                  <a:cubicBezTo>
                    <a:pt x="117" y="181"/>
                    <a:pt x="113" y="179"/>
                    <a:pt x="108" y="179"/>
                  </a:cubicBezTo>
                  <a:cubicBezTo>
                    <a:pt x="103" y="178"/>
                    <a:pt x="97" y="178"/>
                    <a:pt x="92" y="176"/>
                  </a:cubicBezTo>
                  <a:cubicBezTo>
                    <a:pt x="78" y="174"/>
                    <a:pt x="68" y="163"/>
                    <a:pt x="66" y="150"/>
                  </a:cubicBezTo>
                  <a:cubicBezTo>
                    <a:pt x="64" y="139"/>
                    <a:pt x="67" y="129"/>
                    <a:pt x="73" y="119"/>
                  </a:cubicBezTo>
                  <a:cubicBezTo>
                    <a:pt x="79" y="110"/>
                    <a:pt x="89" y="108"/>
                    <a:pt x="99" y="104"/>
                  </a:cubicBezTo>
                  <a:cubicBezTo>
                    <a:pt x="99" y="104"/>
                    <a:pt x="99" y="104"/>
                    <a:pt x="99" y="104"/>
                  </a:cubicBezTo>
                  <a:cubicBezTo>
                    <a:pt x="106" y="103"/>
                    <a:pt x="112" y="106"/>
                    <a:pt x="117" y="110"/>
                  </a:cubicBezTo>
                  <a:cubicBezTo>
                    <a:pt x="122" y="113"/>
                    <a:pt x="127" y="117"/>
                    <a:pt x="132" y="121"/>
                  </a:cubicBezTo>
                  <a:cubicBezTo>
                    <a:pt x="136" y="125"/>
                    <a:pt x="141" y="127"/>
                    <a:pt x="147" y="127"/>
                  </a:cubicBezTo>
                  <a:cubicBezTo>
                    <a:pt x="148" y="128"/>
                    <a:pt x="149" y="127"/>
                    <a:pt x="150" y="127"/>
                  </a:cubicBezTo>
                  <a:cubicBezTo>
                    <a:pt x="153" y="125"/>
                    <a:pt x="156" y="123"/>
                    <a:pt x="159" y="122"/>
                  </a:cubicBezTo>
                  <a:cubicBezTo>
                    <a:pt x="163" y="119"/>
                    <a:pt x="169" y="117"/>
                    <a:pt x="173" y="114"/>
                  </a:cubicBezTo>
                  <a:cubicBezTo>
                    <a:pt x="176" y="113"/>
                    <a:pt x="178" y="111"/>
                    <a:pt x="179" y="109"/>
                  </a:cubicBezTo>
                  <a:cubicBezTo>
                    <a:pt x="174" y="107"/>
                    <a:pt x="173" y="106"/>
                    <a:pt x="177" y="102"/>
                  </a:cubicBezTo>
                  <a:cubicBezTo>
                    <a:pt x="179" y="100"/>
                    <a:pt x="181" y="99"/>
                    <a:pt x="183" y="97"/>
                  </a:cubicBezTo>
                  <a:cubicBezTo>
                    <a:pt x="184" y="95"/>
                    <a:pt x="185" y="93"/>
                    <a:pt x="183" y="92"/>
                  </a:cubicBezTo>
                  <a:cubicBezTo>
                    <a:pt x="181" y="91"/>
                    <a:pt x="179" y="89"/>
                    <a:pt x="177" y="89"/>
                  </a:cubicBezTo>
                  <a:cubicBezTo>
                    <a:pt x="170" y="90"/>
                    <a:pt x="163" y="94"/>
                    <a:pt x="162" y="102"/>
                  </a:cubicBezTo>
                  <a:cubicBezTo>
                    <a:pt x="161" y="105"/>
                    <a:pt x="162" y="108"/>
                    <a:pt x="163" y="111"/>
                  </a:cubicBezTo>
                  <a:cubicBezTo>
                    <a:pt x="160" y="111"/>
                    <a:pt x="158" y="111"/>
                    <a:pt x="155" y="111"/>
                  </a:cubicBezTo>
                  <a:cubicBezTo>
                    <a:pt x="150" y="109"/>
                    <a:pt x="147" y="106"/>
                    <a:pt x="144" y="102"/>
                  </a:cubicBezTo>
                  <a:cubicBezTo>
                    <a:pt x="141" y="98"/>
                    <a:pt x="138" y="95"/>
                    <a:pt x="134" y="91"/>
                  </a:cubicBezTo>
                  <a:cubicBezTo>
                    <a:pt x="130" y="86"/>
                    <a:pt x="124" y="86"/>
                    <a:pt x="119" y="89"/>
                  </a:cubicBezTo>
                  <a:cubicBezTo>
                    <a:pt x="118" y="89"/>
                    <a:pt x="117" y="90"/>
                    <a:pt x="117" y="91"/>
                  </a:cubicBezTo>
                  <a:cubicBezTo>
                    <a:pt x="115" y="99"/>
                    <a:pt x="105" y="103"/>
                    <a:pt x="98" y="98"/>
                  </a:cubicBezTo>
                  <a:cubicBezTo>
                    <a:pt x="96" y="97"/>
                    <a:pt x="96" y="95"/>
                    <a:pt x="98" y="94"/>
                  </a:cubicBezTo>
                  <a:cubicBezTo>
                    <a:pt x="100" y="93"/>
                    <a:pt x="101" y="93"/>
                    <a:pt x="103" y="92"/>
                  </a:cubicBezTo>
                  <a:cubicBezTo>
                    <a:pt x="107" y="91"/>
                    <a:pt x="108" y="90"/>
                    <a:pt x="105" y="86"/>
                  </a:cubicBezTo>
                  <a:cubicBezTo>
                    <a:pt x="104" y="85"/>
                    <a:pt x="102" y="84"/>
                    <a:pt x="101" y="82"/>
                  </a:cubicBezTo>
                  <a:cubicBezTo>
                    <a:pt x="100" y="81"/>
                    <a:pt x="100" y="81"/>
                    <a:pt x="99" y="80"/>
                  </a:cubicBezTo>
                  <a:cubicBezTo>
                    <a:pt x="100" y="80"/>
                    <a:pt x="101" y="80"/>
                    <a:pt x="102" y="80"/>
                  </a:cubicBezTo>
                  <a:cubicBezTo>
                    <a:pt x="109" y="79"/>
                    <a:pt x="116" y="77"/>
                    <a:pt x="122" y="72"/>
                  </a:cubicBezTo>
                  <a:cubicBezTo>
                    <a:pt x="123" y="71"/>
                    <a:pt x="125" y="70"/>
                    <a:pt x="123" y="68"/>
                  </a:cubicBezTo>
                  <a:cubicBezTo>
                    <a:pt x="126" y="66"/>
                    <a:pt x="129" y="66"/>
                    <a:pt x="132" y="68"/>
                  </a:cubicBezTo>
                  <a:cubicBezTo>
                    <a:pt x="134" y="69"/>
                    <a:pt x="137" y="70"/>
                    <a:pt x="139" y="72"/>
                  </a:cubicBezTo>
                  <a:cubicBezTo>
                    <a:pt x="146" y="75"/>
                    <a:pt x="150" y="74"/>
                    <a:pt x="153" y="68"/>
                  </a:cubicBezTo>
                  <a:cubicBezTo>
                    <a:pt x="154" y="66"/>
                    <a:pt x="155" y="64"/>
                    <a:pt x="156" y="63"/>
                  </a:cubicBezTo>
                  <a:cubicBezTo>
                    <a:pt x="157" y="58"/>
                    <a:pt x="155" y="55"/>
                    <a:pt x="150" y="55"/>
                  </a:cubicBezTo>
                  <a:cubicBezTo>
                    <a:pt x="149" y="55"/>
                    <a:pt x="147" y="56"/>
                    <a:pt x="146" y="56"/>
                  </a:cubicBezTo>
                  <a:cubicBezTo>
                    <a:pt x="144" y="57"/>
                    <a:pt x="142" y="58"/>
                    <a:pt x="141" y="58"/>
                  </a:cubicBezTo>
                  <a:cubicBezTo>
                    <a:pt x="139" y="56"/>
                    <a:pt x="140" y="54"/>
                    <a:pt x="141" y="52"/>
                  </a:cubicBezTo>
                  <a:cubicBezTo>
                    <a:pt x="144" y="47"/>
                    <a:pt x="148" y="43"/>
                    <a:pt x="153" y="40"/>
                  </a:cubicBezTo>
                  <a:cubicBezTo>
                    <a:pt x="159" y="36"/>
                    <a:pt x="165" y="32"/>
                    <a:pt x="173" y="31"/>
                  </a:cubicBezTo>
                  <a:cubicBezTo>
                    <a:pt x="174" y="31"/>
                    <a:pt x="176" y="32"/>
                    <a:pt x="177" y="33"/>
                  </a:cubicBezTo>
                  <a:cubicBezTo>
                    <a:pt x="179" y="34"/>
                    <a:pt x="182" y="36"/>
                    <a:pt x="184" y="37"/>
                  </a:cubicBezTo>
                  <a:cubicBezTo>
                    <a:pt x="189" y="38"/>
                    <a:pt x="193" y="37"/>
                    <a:pt x="195" y="33"/>
                  </a:cubicBezTo>
                  <a:cubicBezTo>
                    <a:pt x="195" y="31"/>
                    <a:pt x="195" y="30"/>
                    <a:pt x="193" y="29"/>
                  </a:cubicBezTo>
                  <a:cubicBezTo>
                    <a:pt x="178" y="22"/>
                    <a:pt x="162" y="19"/>
                    <a:pt x="146" y="18"/>
                  </a:cubicBezTo>
                  <a:cubicBezTo>
                    <a:pt x="124" y="18"/>
                    <a:pt x="104" y="22"/>
                    <a:pt x="85" y="32"/>
                  </a:cubicBezTo>
                  <a:cubicBezTo>
                    <a:pt x="79" y="35"/>
                    <a:pt x="73" y="39"/>
                    <a:pt x="67" y="42"/>
                  </a:cubicBezTo>
                  <a:cubicBezTo>
                    <a:pt x="69" y="43"/>
                    <a:pt x="70" y="44"/>
                    <a:pt x="71" y="45"/>
                  </a:cubicBezTo>
                  <a:cubicBezTo>
                    <a:pt x="74" y="47"/>
                    <a:pt x="74" y="49"/>
                    <a:pt x="72" y="52"/>
                  </a:cubicBezTo>
                  <a:cubicBezTo>
                    <a:pt x="71" y="52"/>
                    <a:pt x="71" y="53"/>
                    <a:pt x="70" y="54"/>
                  </a:cubicBezTo>
                  <a:cubicBezTo>
                    <a:pt x="67" y="61"/>
                    <a:pt x="63" y="67"/>
                    <a:pt x="57" y="71"/>
                  </a:cubicBezTo>
                  <a:cubicBezTo>
                    <a:pt x="51" y="77"/>
                    <a:pt x="44" y="81"/>
                    <a:pt x="36" y="80"/>
                  </a:cubicBezTo>
                  <a:cubicBezTo>
                    <a:pt x="35" y="80"/>
                    <a:pt x="34" y="81"/>
                    <a:pt x="33" y="82"/>
                  </a:cubicBezTo>
                  <a:cubicBezTo>
                    <a:pt x="26" y="94"/>
                    <a:pt x="22" y="108"/>
                    <a:pt x="19" y="122"/>
                  </a:cubicBezTo>
                  <a:cubicBezTo>
                    <a:pt x="19" y="124"/>
                    <a:pt x="19" y="125"/>
                    <a:pt x="21" y="126"/>
                  </a:cubicBezTo>
                  <a:cubicBezTo>
                    <a:pt x="26" y="127"/>
                    <a:pt x="30" y="130"/>
                    <a:pt x="32" y="134"/>
                  </a:cubicBezTo>
                  <a:cubicBezTo>
                    <a:pt x="33" y="137"/>
                    <a:pt x="33" y="139"/>
                    <a:pt x="31" y="141"/>
                  </a:cubicBezTo>
                  <a:cubicBezTo>
                    <a:pt x="25" y="146"/>
                    <a:pt x="21" y="154"/>
                    <a:pt x="19" y="162"/>
                  </a:cubicBezTo>
                  <a:cubicBezTo>
                    <a:pt x="19" y="162"/>
                    <a:pt x="19" y="163"/>
                    <a:pt x="19" y="164"/>
                  </a:cubicBezTo>
                  <a:cubicBezTo>
                    <a:pt x="23" y="185"/>
                    <a:pt x="31" y="204"/>
                    <a:pt x="45" y="220"/>
                  </a:cubicBezTo>
                  <a:cubicBezTo>
                    <a:pt x="77" y="258"/>
                    <a:pt x="117" y="272"/>
                    <a:pt x="166" y="264"/>
                  </a:cubicBezTo>
                  <a:cubicBezTo>
                    <a:pt x="167" y="264"/>
                    <a:pt x="167" y="263"/>
                    <a:pt x="168" y="263"/>
                  </a:cubicBezTo>
                  <a:cubicBezTo>
                    <a:pt x="169" y="263"/>
                    <a:pt x="170" y="263"/>
                    <a:pt x="171" y="263"/>
                  </a:cubicBezTo>
                  <a:cubicBezTo>
                    <a:pt x="174" y="262"/>
                    <a:pt x="176" y="261"/>
                    <a:pt x="179" y="261"/>
                  </a:cubicBezTo>
                  <a:cubicBezTo>
                    <a:pt x="214" y="249"/>
                    <a:pt x="239" y="226"/>
                    <a:pt x="255" y="193"/>
                  </a:cubicBezTo>
                  <a:cubicBezTo>
                    <a:pt x="258" y="185"/>
                    <a:pt x="261" y="177"/>
                    <a:pt x="263" y="168"/>
                  </a:cubicBezTo>
                  <a:cubicBezTo>
                    <a:pt x="262" y="168"/>
                    <a:pt x="262" y="168"/>
                    <a:pt x="262" y="169"/>
                  </a:cubicBezTo>
                  <a:cubicBezTo>
                    <a:pt x="258" y="172"/>
                    <a:pt x="256" y="172"/>
                    <a:pt x="255" y="167"/>
                  </a:cubicBezTo>
                  <a:cubicBezTo>
                    <a:pt x="254" y="164"/>
                    <a:pt x="254" y="162"/>
                    <a:pt x="253" y="159"/>
                  </a:cubicBezTo>
                  <a:cubicBezTo>
                    <a:pt x="252" y="153"/>
                    <a:pt x="249" y="151"/>
                    <a:pt x="243" y="151"/>
                  </a:cubicBezTo>
                  <a:cubicBezTo>
                    <a:pt x="240" y="150"/>
                    <a:pt x="238" y="151"/>
                    <a:pt x="235" y="150"/>
                  </a:cubicBezTo>
                  <a:cubicBezTo>
                    <a:pt x="231" y="150"/>
                    <a:pt x="227" y="149"/>
                    <a:pt x="222" y="148"/>
                  </a:cubicBezTo>
                  <a:cubicBezTo>
                    <a:pt x="222" y="148"/>
                    <a:pt x="221" y="148"/>
                    <a:pt x="220" y="148"/>
                  </a:cubicBezTo>
                  <a:cubicBezTo>
                    <a:pt x="216" y="150"/>
                    <a:pt x="212" y="150"/>
                    <a:pt x="208" y="149"/>
                  </a:cubicBezTo>
                  <a:cubicBezTo>
                    <a:pt x="204" y="148"/>
                    <a:pt x="199" y="147"/>
                    <a:pt x="195" y="146"/>
                  </a:cubicBezTo>
                  <a:cubicBezTo>
                    <a:pt x="188" y="145"/>
                    <a:pt x="186" y="148"/>
                    <a:pt x="186" y="154"/>
                  </a:cubicBezTo>
                  <a:cubicBezTo>
                    <a:pt x="186" y="155"/>
                    <a:pt x="186" y="156"/>
                    <a:pt x="186" y="156"/>
                  </a:cubicBezTo>
                  <a:cubicBezTo>
                    <a:pt x="187" y="161"/>
                    <a:pt x="189" y="163"/>
                    <a:pt x="193" y="162"/>
                  </a:cubicBezTo>
                  <a:cubicBezTo>
                    <a:pt x="196" y="162"/>
                    <a:pt x="199" y="161"/>
                    <a:pt x="202" y="160"/>
                  </a:cubicBezTo>
                  <a:cubicBezTo>
                    <a:pt x="205" y="160"/>
                    <a:pt x="208" y="158"/>
                    <a:pt x="210" y="158"/>
                  </a:cubicBezTo>
                  <a:cubicBezTo>
                    <a:pt x="213" y="157"/>
                    <a:pt x="214" y="158"/>
                    <a:pt x="213" y="161"/>
                  </a:cubicBezTo>
                  <a:cubicBezTo>
                    <a:pt x="213" y="163"/>
                    <a:pt x="212" y="165"/>
                    <a:pt x="211" y="166"/>
                  </a:cubicBezTo>
                  <a:cubicBezTo>
                    <a:pt x="203" y="180"/>
                    <a:pt x="196" y="193"/>
                    <a:pt x="189" y="206"/>
                  </a:cubicBezTo>
                  <a:cubicBezTo>
                    <a:pt x="183" y="216"/>
                    <a:pt x="179" y="226"/>
                    <a:pt x="177" y="237"/>
                  </a:cubicBezTo>
                  <a:cubicBezTo>
                    <a:pt x="176" y="242"/>
                    <a:pt x="176" y="247"/>
                    <a:pt x="176" y="252"/>
                  </a:cubicBezTo>
                  <a:cubicBezTo>
                    <a:pt x="176" y="258"/>
                    <a:pt x="173" y="262"/>
                    <a:pt x="168" y="263"/>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28" name="Freeform 14">
              <a:extLst>
                <a:ext uri="{FF2B5EF4-FFF2-40B4-BE49-F238E27FC236}">
                  <a16:creationId xmlns:a16="http://schemas.microsoft.com/office/drawing/2014/main" id="{0BCDA179-BDE8-449B-9485-99B5030B6F2E}"/>
                </a:ext>
              </a:extLst>
            </p:cNvPr>
            <p:cNvSpPr>
              <a:spLocks noEditPoints="1"/>
            </p:cNvSpPr>
            <p:nvPr/>
          </p:nvSpPr>
          <p:spPr bwMode="auto">
            <a:xfrm>
              <a:off x="5147468" y="2992438"/>
              <a:ext cx="204788" cy="298450"/>
            </a:xfrm>
            <a:custGeom>
              <a:gdLst>
                <a:gd fmla="*/ 2147483647 w 141" name="T0"/>
                <a:gd fmla="*/ 2147483647 h 205" name="T1"/>
                <a:gd fmla="*/ 2147483647 w 141" name="T2"/>
                <a:gd fmla="*/ 2147483647 h 205" name="T3"/>
                <a:gd fmla="*/ 2147483647 w 141" name="T4"/>
                <a:gd fmla="*/ 2147483647 h 205" name="T5"/>
                <a:gd fmla="*/ 2147483647 w 141" name="T6"/>
                <a:gd fmla="*/ 2147483647 h 205" name="T7"/>
                <a:gd fmla="*/ 2147483647 w 141" name="T8"/>
                <a:gd fmla="*/ 2147483647 h 205" name="T9"/>
                <a:gd fmla="*/ 2147483647 w 141" name="T10"/>
                <a:gd fmla="*/ 2147483647 h 205" name="T11"/>
                <a:gd fmla="*/ 2147483647 w 141" name="T12"/>
                <a:gd fmla="*/ 2147483647 h 205" name="T13"/>
                <a:gd fmla="*/ 2147483647 w 141" name="T14"/>
                <a:gd fmla="*/ 2147483647 h 205" name="T15"/>
                <a:gd fmla="*/ 2147483647 w 141" name="T16"/>
                <a:gd fmla="*/ 2147483647 h 205" name="T17"/>
                <a:gd fmla="*/ 2147483647 w 141" name="T18"/>
                <a:gd fmla="*/ 2147483647 h 205" name="T19"/>
                <a:gd fmla="*/ 2147483647 w 141" name="T20"/>
                <a:gd fmla="*/ 2147483647 h 205" name="T21"/>
                <a:gd fmla="*/ 2147483647 w 141" name="T22"/>
                <a:gd fmla="*/ 2147483647 h 205" name="T23"/>
                <a:gd fmla="*/ 2147483647 w 141" name="T24"/>
                <a:gd fmla="*/ 2147483647 h 205" name="T25"/>
                <a:gd fmla="*/ 2147483647 w 141" name="T26"/>
                <a:gd fmla="*/ 0 h 205" name="T27"/>
                <a:gd fmla="*/ 2147483647 w 141" name="T28"/>
                <a:gd fmla="*/ 2147483647 h 205" name="T29"/>
                <a:gd fmla="*/ 2147483647 w 141" name="T30"/>
                <a:gd fmla="*/ 2147483647 h 205" name="T31"/>
                <a:gd fmla="*/ 2147483647 w 141" name="T32"/>
                <a:gd fmla="*/ 2147483647 h 205" name="T33"/>
                <a:gd fmla="*/ 2147483647 w 141" name="T34"/>
                <a:gd fmla="*/ 2147483647 h 205" name="T35"/>
                <a:gd fmla="*/ 2147483647 w 141" name="T36"/>
                <a:gd fmla="*/ 2147483647 h 205" name="T37"/>
                <a:gd fmla="*/ 2147483647 w 141" name="T38"/>
                <a:gd fmla="*/ 2147483647 h 205" name="T39"/>
                <a:gd fmla="*/ 2147483647 w 141" name="T40"/>
                <a:gd fmla="*/ 2147483647 h 205" name="T41"/>
                <a:gd fmla="*/ 2147483647 w 141" name="T42"/>
                <a:gd fmla="*/ 2147483647 h 205" name="T43"/>
                <a:gd fmla="*/ 2147483647 w 141" name="T44"/>
                <a:gd fmla="*/ 2147483647 h 205" name="T45"/>
                <a:gd fmla="*/ 2147483647 w 141" name="T46"/>
                <a:gd fmla="*/ 2147483647 h 205" name="T47"/>
                <a:gd fmla="*/ 2147483647 w 141" name="T48"/>
                <a:gd fmla="*/ 2147483647 h 205" name="T49"/>
                <a:gd fmla="*/ 2147483647 w 141" name="T50"/>
                <a:gd fmla="*/ 2147483647 h 205" name="T51"/>
                <a:gd fmla="*/ 2147483647 w 141" name="T52"/>
                <a:gd fmla="*/ 2147483647 h 205" name="T53"/>
                <a:gd fmla="*/ 2147483647 w 141" name="T54"/>
                <a:gd fmla="*/ 2147483647 h 205" name="T55"/>
                <a:gd fmla="*/ 2147483647 w 141" name="T56"/>
                <a:gd fmla="*/ 2147483647 h 205" name="T57"/>
                <a:gd fmla="*/ 2147483647 w 141" name="T58"/>
                <a:gd fmla="*/ 2147483647 h 205" name="T59"/>
                <a:gd fmla="*/ 2147483647 w 141" name="T60"/>
                <a:gd fmla="*/ 2147483647 h 205" name="T61"/>
                <a:gd fmla="*/ 2147483647 w 141" name="T62"/>
                <a:gd fmla="*/ 2147483647 h 205" name="T63"/>
                <a:gd fmla="*/ 0 60000 65536" name="T64"/>
                <a:gd fmla="*/ 0 60000 65536" name="T65"/>
                <a:gd fmla="*/ 0 60000 65536" name="T66"/>
                <a:gd fmla="*/ 0 60000 65536" name="T67"/>
                <a:gd fmla="*/ 0 60000 65536" name="T68"/>
                <a:gd fmla="*/ 0 60000 65536" name="T69"/>
                <a:gd fmla="*/ 0 60000 65536" name="T70"/>
                <a:gd fmla="*/ 0 60000 65536" name="T71"/>
                <a:gd fmla="*/ 0 60000 65536" name="T72"/>
                <a:gd fmla="*/ 0 60000 65536" name="T73"/>
                <a:gd fmla="*/ 0 60000 65536" name="T74"/>
                <a:gd fmla="*/ 0 60000 65536" name="T75"/>
                <a:gd fmla="*/ 0 60000 65536" name="T76"/>
                <a:gd fmla="*/ 0 60000 65536" name="T77"/>
                <a:gd fmla="*/ 0 60000 65536" name="T78"/>
                <a:gd fmla="*/ 0 60000 65536" name="T79"/>
                <a:gd fmla="*/ 0 60000 65536" name="T80"/>
                <a:gd fmla="*/ 0 60000 65536" name="T81"/>
                <a:gd fmla="*/ 0 60000 65536" name="T82"/>
                <a:gd fmla="*/ 0 60000 65536" name="T83"/>
                <a:gd fmla="*/ 0 60000 65536" name="T84"/>
                <a:gd fmla="*/ 0 60000 65536" name="T85"/>
                <a:gd fmla="*/ 0 60000 65536" name="T86"/>
                <a:gd fmla="*/ 0 60000 65536" name="T87"/>
                <a:gd fmla="*/ 0 60000 65536" name="T88"/>
                <a:gd fmla="*/ 0 60000 65536" name="T89"/>
                <a:gd fmla="*/ 0 60000 65536" name="T90"/>
                <a:gd fmla="*/ 0 60000 65536" name="T91"/>
                <a:gd fmla="*/ 0 60000 65536" name="T92"/>
                <a:gd fmla="*/ 0 60000 65536" name="T93"/>
                <a:gd fmla="*/ 0 60000 65536" name="T94"/>
                <a:gd fmla="*/ 0 60000 65536" name="T95"/>
              </a:gd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b="b" l="0" r="r" t="0"/>
              <a:pathLst>
                <a:path h="205" w="141">
                  <a:moveTo>
                    <a:pt x="74" y="0"/>
                  </a:moveTo>
                  <a:cubicBezTo>
                    <a:pt x="78" y="1"/>
                    <a:pt x="83" y="1"/>
                    <a:pt x="88" y="3"/>
                  </a:cubicBezTo>
                  <a:cubicBezTo>
                    <a:pt x="100" y="6"/>
                    <a:pt x="110" y="12"/>
                    <a:pt x="119" y="21"/>
                  </a:cubicBezTo>
                  <a:cubicBezTo>
                    <a:pt x="128" y="30"/>
                    <a:pt x="134" y="40"/>
                    <a:pt x="137" y="53"/>
                  </a:cubicBezTo>
                  <a:cubicBezTo>
                    <a:pt x="141" y="70"/>
                    <a:pt x="139" y="86"/>
                    <a:pt x="130" y="102"/>
                  </a:cubicBezTo>
                  <a:cubicBezTo>
                    <a:pt x="128" y="107"/>
                    <a:pt x="125" y="112"/>
                    <a:pt x="122" y="117"/>
                  </a:cubicBezTo>
                  <a:cubicBezTo>
                    <a:pt x="119" y="123"/>
                    <a:pt x="117" y="130"/>
                    <a:pt x="117" y="138"/>
                  </a:cubicBezTo>
                  <a:cubicBezTo>
                    <a:pt x="117" y="139"/>
                    <a:pt x="116" y="139"/>
                    <a:pt x="116" y="140"/>
                  </a:cubicBezTo>
                  <a:cubicBezTo>
                    <a:pt x="116" y="142"/>
                    <a:pt x="115" y="147"/>
                    <a:pt x="116" y="149"/>
                  </a:cubicBezTo>
                  <a:cubicBezTo>
                    <a:pt x="117" y="153"/>
                    <a:pt x="116" y="156"/>
                    <a:pt x="115" y="160"/>
                  </a:cubicBezTo>
                  <a:cubicBezTo>
                    <a:pt x="115" y="160"/>
                    <a:pt x="114" y="161"/>
                    <a:pt x="115" y="162"/>
                  </a:cubicBezTo>
                  <a:cubicBezTo>
                    <a:pt x="118" y="171"/>
                    <a:pt x="115" y="181"/>
                    <a:pt x="106" y="186"/>
                  </a:cubicBezTo>
                  <a:cubicBezTo>
                    <a:pt x="105" y="186"/>
                    <a:pt x="104" y="187"/>
                    <a:pt x="104" y="188"/>
                  </a:cubicBezTo>
                  <a:cubicBezTo>
                    <a:pt x="100" y="198"/>
                    <a:pt x="93" y="204"/>
                    <a:pt x="82" y="204"/>
                  </a:cubicBezTo>
                  <a:cubicBezTo>
                    <a:pt x="74" y="205"/>
                    <a:pt x="65" y="205"/>
                    <a:pt x="56" y="204"/>
                  </a:cubicBezTo>
                  <a:cubicBezTo>
                    <a:pt x="46" y="203"/>
                    <a:pt x="40" y="198"/>
                    <a:pt x="37" y="189"/>
                  </a:cubicBezTo>
                  <a:cubicBezTo>
                    <a:pt x="36" y="187"/>
                    <a:pt x="35" y="186"/>
                    <a:pt x="33" y="185"/>
                  </a:cubicBezTo>
                  <a:cubicBezTo>
                    <a:pt x="25" y="181"/>
                    <a:pt x="22" y="171"/>
                    <a:pt x="25" y="163"/>
                  </a:cubicBezTo>
                  <a:cubicBezTo>
                    <a:pt x="25" y="161"/>
                    <a:pt x="26" y="161"/>
                    <a:pt x="25" y="159"/>
                  </a:cubicBezTo>
                  <a:cubicBezTo>
                    <a:pt x="23" y="155"/>
                    <a:pt x="23" y="151"/>
                    <a:pt x="25" y="146"/>
                  </a:cubicBezTo>
                  <a:cubicBezTo>
                    <a:pt x="25" y="145"/>
                    <a:pt x="25" y="144"/>
                    <a:pt x="25" y="143"/>
                  </a:cubicBezTo>
                  <a:cubicBezTo>
                    <a:pt x="24" y="140"/>
                    <a:pt x="23" y="137"/>
                    <a:pt x="23" y="133"/>
                  </a:cubicBezTo>
                  <a:cubicBezTo>
                    <a:pt x="22" y="126"/>
                    <a:pt x="19" y="119"/>
                    <a:pt x="15" y="113"/>
                  </a:cubicBezTo>
                  <a:cubicBezTo>
                    <a:pt x="12" y="107"/>
                    <a:pt x="9" y="101"/>
                    <a:pt x="6" y="94"/>
                  </a:cubicBezTo>
                  <a:cubicBezTo>
                    <a:pt x="1" y="83"/>
                    <a:pt x="0" y="70"/>
                    <a:pt x="2" y="58"/>
                  </a:cubicBezTo>
                  <a:cubicBezTo>
                    <a:pt x="7" y="33"/>
                    <a:pt x="21" y="16"/>
                    <a:pt x="43" y="6"/>
                  </a:cubicBezTo>
                  <a:cubicBezTo>
                    <a:pt x="50" y="3"/>
                    <a:pt x="57" y="1"/>
                    <a:pt x="64" y="0"/>
                  </a:cubicBezTo>
                  <a:cubicBezTo>
                    <a:pt x="65" y="0"/>
                    <a:pt x="65" y="0"/>
                    <a:pt x="66" y="0"/>
                  </a:cubicBezTo>
                  <a:cubicBezTo>
                    <a:pt x="69" y="0"/>
                    <a:pt x="71" y="0"/>
                    <a:pt x="74" y="0"/>
                  </a:cubicBezTo>
                  <a:close/>
                  <a:moveTo>
                    <a:pt x="70" y="141"/>
                  </a:moveTo>
                  <a:cubicBezTo>
                    <a:pt x="79" y="141"/>
                    <a:pt x="88" y="141"/>
                    <a:pt x="97" y="141"/>
                  </a:cubicBezTo>
                  <a:cubicBezTo>
                    <a:pt x="102" y="141"/>
                    <a:pt x="103" y="140"/>
                    <a:pt x="104" y="135"/>
                  </a:cubicBezTo>
                  <a:cubicBezTo>
                    <a:pt x="105" y="129"/>
                    <a:pt x="106" y="123"/>
                    <a:pt x="108" y="118"/>
                  </a:cubicBezTo>
                  <a:cubicBezTo>
                    <a:pt x="111" y="110"/>
                    <a:pt x="115" y="104"/>
                    <a:pt x="118" y="97"/>
                  </a:cubicBezTo>
                  <a:cubicBezTo>
                    <a:pt x="122" y="90"/>
                    <a:pt x="125" y="82"/>
                    <a:pt x="126" y="74"/>
                  </a:cubicBezTo>
                  <a:cubicBezTo>
                    <a:pt x="127" y="55"/>
                    <a:pt x="120" y="38"/>
                    <a:pt x="105" y="26"/>
                  </a:cubicBezTo>
                  <a:cubicBezTo>
                    <a:pt x="86" y="10"/>
                    <a:pt x="61" y="9"/>
                    <a:pt x="40" y="21"/>
                  </a:cubicBezTo>
                  <a:cubicBezTo>
                    <a:pt x="21" y="34"/>
                    <a:pt x="11" y="56"/>
                    <a:pt x="15" y="80"/>
                  </a:cubicBezTo>
                  <a:cubicBezTo>
                    <a:pt x="16" y="88"/>
                    <a:pt x="20" y="95"/>
                    <a:pt x="24" y="102"/>
                  </a:cubicBezTo>
                  <a:cubicBezTo>
                    <a:pt x="30" y="113"/>
                    <a:pt x="35" y="124"/>
                    <a:pt x="36" y="136"/>
                  </a:cubicBezTo>
                  <a:cubicBezTo>
                    <a:pt x="36" y="140"/>
                    <a:pt x="38" y="141"/>
                    <a:pt x="42" y="141"/>
                  </a:cubicBezTo>
                  <a:cubicBezTo>
                    <a:pt x="52" y="141"/>
                    <a:pt x="61" y="141"/>
                    <a:pt x="70" y="141"/>
                  </a:cubicBezTo>
                  <a:close/>
                  <a:moveTo>
                    <a:pt x="70" y="147"/>
                  </a:moveTo>
                  <a:cubicBezTo>
                    <a:pt x="61" y="147"/>
                    <a:pt x="52" y="147"/>
                    <a:pt x="43" y="147"/>
                  </a:cubicBezTo>
                  <a:cubicBezTo>
                    <a:pt x="40" y="147"/>
                    <a:pt x="38" y="148"/>
                    <a:pt x="37" y="150"/>
                  </a:cubicBezTo>
                  <a:cubicBezTo>
                    <a:pt x="35" y="154"/>
                    <a:pt x="38" y="158"/>
                    <a:pt x="43" y="158"/>
                  </a:cubicBezTo>
                  <a:cubicBezTo>
                    <a:pt x="55" y="158"/>
                    <a:pt x="68" y="158"/>
                    <a:pt x="81" y="158"/>
                  </a:cubicBezTo>
                  <a:cubicBezTo>
                    <a:pt x="86" y="158"/>
                    <a:pt x="92" y="158"/>
                    <a:pt x="97" y="158"/>
                  </a:cubicBezTo>
                  <a:cubicBezTo>
                    <a:pt x="100" y="158"/>
                    <a:pt x="102" y="157"/>
                    <a:pt x="103" y="155"/>
                  </a:cubicBezTo>
                  <a:cubicBezTo>
                    <a:pt x="105" y="151"/>
                    <a:pt x="102" y="147"/>
                    <a:pt x="97" y="147"/>
                  </a:cubicBezTo>
                  <a:cubicBezTo>
                    <a:pt x="88" y="147"/>
                    <a:pt x="79" y="147"/>
                    <a:pt x="70" y="147"/>
                  </a:cubicBezTo>
                  <a:close/>
                  <a:moveTo>
                    <a:pt x="70" y="164"/>
                  </a:moveTo>
                  <a:cubicBezTo>
                    <a:pt x="61" y="164"/>
                    <a:pt x="52" y="164"/>
                    <a:pt x="43" y="164"/>
                  </a:cubicBezTo>
                  <a:cubicBezTo>
                    <a:pt x="40" y="164"/>
                    <a:pt x="38" y="165"/>
                    <a:pt x="37" y="167"/>
                  </a:cubicBezTo>
                  <a:cubicBezTo>
                    <a:pt x="35" y="171"/>
                    <a:pt x="38" y="175"/>
                    <a:pt x="43" y="175"/>
                  </a:cubicBezTo>
                  <a:cubicBezTo>
                    <a:pt x="55" y="175"/>
                    <a:pt x="68" y="175"/>
                    <a:pt x="81" y="175"/>
                  </a:cubicBezTo>
                  <a:cubicBezTo>
                    <a:pt x="86" y="175"/>
                    <a:pt x="92" y="175"/>
                    <a:pt x="97" y="175"/>
                  </a:cubicBezTo>
                  <a:cubicBezTo>
                    <a:pt x="100" y="175"/>
                    <a:pt x="102" y="174"/>
                    <a:pt x="103" y="171"/>
                  </a:cubicBezTo>
                  <a:cubicBezTo>
                    <a:pt x="105" y="168"/>
                    <a:pt x="102" y="164"/>
                    <a:pt x="97" y="164"/>
                  </a:cubicBezTo>
                  <a:cubicBezTo>
                    <a:pt x="88" y="164"/>
                    <a:pt x="79" y="164"/>
                    <a:pt x="70" y="164"/>
                  </a:cubicBezTo>
                  <a:close/>
                  <a:moveTo>
                    <a:pt x="48" y="181"/>
                  </a:moveTo>
                  <a:cubicBezTo>
                    <a:pt x="48" y="186"/>
                    <a:pt x="52" y="191"/>
                    <a:pt x="58" y="191"/>
                  </a:cubicBezTo>
                  <a:cubicBezTo>
                    <a:pt x="66" y="192"/>
                    <a:pt x="74" y="192"/>
                    <a:pt x="82" y="191"/>
                  </a:cubicBezTo>
                  <a:cubicBezTo>
                    <a:pt x="88" y="191"/>
                    <a:pt x="92" y="186"/>
                    <a:pt x="92" y="181"/>
                  </a:cubicBezTo>
                  <a:cubicBezTo>
                    <a:pt x="77" y="181"/>
                    <a:pt x="63" y="181"/>
                    <a:pt x="48" y="181"/>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grpSp>
          <p:nvGrpSpPr>
            <p:cNvPr id="14" name="组合 13">
              <a:extLst>
                <a:ext uri="{FF2B5EF4-FFF2-40B4-BE49-F238E27FC236}">
                  <a16:creationId xmlns:a16="http://schemas.microsoft.com/office/drawing/2014/main" id="{9D51113B-D543-4F46-A8E4-55009AD8ADE1}"/>
                </a:ext>
              </a:extLst>
            </p:cNvPr>
            <p:cNvGrpSpPr/>
            <p:nvPr/>
          </p:nvGrpSpPr>
          <p:grpSpPr>
            <a:xfrm>
              <a:off x="5704681" y="3705226"/>
              <a:ext cx="271463" cy="271462"/>
              <a:chOff x="5578476" y="3629026"/>
              <a:chExt cx="271463" cy="271462"/>
            </a:xfrm>
            <a:solidFill>
              <a:schemeClr val="bg1"/>
            </a:solidFill>
          </p:grpSpPr>
          <p:sp>
            <p:nvSpPr>
              <p:cNvPr id="15" name="Freeform 15">
                <a:extLst>
                  <a:ext uri="{FF2B5EF4-FFF2-40B4-BE49-F238E27FC236}">
                    <a16:creationId xmlns:a16="http://schemas.microsoft.com/office/drawing/2014/main" id="{C15AD188-9F5D-4A5C-B297-54CD2B623F18}"/>
                  </a:ext>
                </a:extLst>
              </p:cNvPr>
              <p:cNvSpPr>
                <a:spLocks noEditPoints="1"/>
              </p:cNvSpPr>
              <p:nvPr/>
            </p:nvSpPr>
            <p:spPr bwMode="auto">
              <a:xfrm>
                <a:off x="5578476" y="3629026"/>
                <a:ext cx="271463" cy="195263"/>
              </a:xfrm>
              <a:custGeom>
                <a:gdLst>
                  <a:gd fmla="*/ 177 w 186" name="T0"/>
                  <a:gd fmla="*/ 0 h 134" name="T1"/>
                  <a:gd fmla="*/ 185 w 186" name="T2"/>
                  <a:gd fmla="*/ 6 h 134" name="T3"/>
                  <a:gd fmla="*/ 186 w 186" name="T4"/>
                  <a:gd fmla="*/ 12 h 134" name="T5"/>
                  <a:gd fmla="*/ 186 w 186" name="T6"/>
                  <a:gd fmla="*/ 122 h 134" name="T7"/>
                  <a:gd fmla="*/ 174 w 186" name="T8"/>
                  <a:gd fmla="*/ 134 h 134" name="T9"/>
                  <a:gd fmla="*/ 13 w 186" name="T10"/>
                  <a:gd fmla="*/ 134 h 134" name="T11"/>
                  <a:gd fmla="*/ 1 w 186" name="T12"/>
                  <a:gd fmla="*/ 125 h 134" name="T13"/>
                  <a:gd fmla="*/ 0 w 186" name="T14"/>
                  <a:gd fmla="*/ 125 h 134" name="T15"/>
                  <a:gd fmla="*/ 0 w 186" name="T16"/>
                  <a:gd fmla="*/ 9 h 134" name="T17"/>
                  <a:gd fmla="*/ 1 w 186" name="T18"/>
                  <a:gd fmla="*/ 7 h 134" name="T19"/>
                  <a:gd fmla="*/ 9 w 186" name="T20"/>
                  <a:gd fmla="*/ 0 h 134" name="T21"/>
                  <a:gd fmla="*/ 177 w 186" name="T22"/>
                  <a:gd fmla="*/ 0 h 134" name="T23"/>
                  <a:gd fmla="*/ 174 w 186" name="T24"/>
                  <a:gd fmla="*/ 122 h 134" name="T25"/>
                  <a:gd fmla="*/ 174 w 186" name="T26"/>
                  <a:gd fmla="*/ 12 h 134" name="T27"/>
                  <a:gd fmla="*/ 12 w 186" name="T28"/>
                  <a:gd fmla="*/ 12 h 134" name="T29"/>
                  <a:gd fmla="*/ 12 w 186" name="T30"/>
                  <a:gd fmla="*/ 122 h 134" name="T31"/>
                  <a:gd fmla="*/ 174 w 186" name="T32"/>
                  <a:gd fmla="*/ 122 h 134" name="T3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b="b" l="0" r="r" t="0"/>
                <a:pathLst>
                  <a:path h="134" w="186">
                    <a:moveTo>
                      <a:pt x="177" y="0"/>
                    </a:moveTo>
                    <a:cubicBezTo>
                      <a:pt x="180" y="1"/>
                      <a:pt x="183" y="3"/>
                      <a:pt x="185" y="6"/>
                    </a:cubicBezTo>
                    <a:cubicBezTo>
                      <a:pt x="185" y="8"/>
                      <a:pt x="186" y="10"/>
                      <a:pt x="186" y="12"/>
                    </a:cubicBezTo>
                    <a:cubicBezTo>
                      <a:pt x="186" y="49"/>
                      <a:pt x="186" y="86"/>
                      <a:pt x="186" y="122"/>
                    </a:cubicBezTo>
                    <a:cubicBezTo>
                      <a:pt x="186" y="129"/>
                      <a:pt x="181" y="134"/>
                      <a:pt x="174" y="134"/>
                    </a:cubicBezTo>
                    <a:cubicBezTo>
                      <a:pt x="120" y="134"/>
                      <a:pt x="66" y="134"/>
                      <a:pt x="13" y="134"/>
                    </a:cubicBezTo>
                    <a:cubicBezTo>
                      <a:pt x="6" y="134"/>
                      <a:pt x="3" y="132"/>
                      <a:pt x="1" y="125"/>
                    </a:cubicBezTo>
                    <a:cubicBezTo>
                      <a:pt x="0" y="125"/>
                      <a:pt x="0" y="125"/>
                      <a:pt x="0" y="125"/>
                    </a:cubicBezTo>
                    <a:cubicBezTo>
                      <a:pt x="0" y="86"/>
                      <a:pt x="0" y="48"/>
                      <a:pt x="0" y="9"/>
                    </a:cubicBezTo>
                    <a:cubicBezTo>
                      <a:pt x="1" y="9"/>
                      <a:pt x="1" y="8"/>
                      <a:pt x="1" y="7"/>
                    </a:cubicBezTo>
                    <a:cubicBezTo>
                      <a:pt x="3" y="3"/>
                      <a:pt x="5" y="2"/>
                      <a:pt x="9" y="0"/>
                    </a:cubicBezTo>
                    <a:cubicBezTo>
                      <a:pt x="65" y="0"/>
                      <a:pt x="121" y="0"/>
                      <a:pt x="177" y="0"/>
                    </a:cubicBezTo>
                    <a:close/>
                    <a:moveTo>
                      <a:pt x="174" y="122"/>
                    </a:moveTo>
                    <a:cubicBezTo>
                      <a:pt x="174" y="85"/>
                      <a:pt x="174" y="49"/>
                      <a:pt x="174" y="12"/>
                    </a:cubicBezTo>
                    <a:cubicBezTo>
                      <a:pt x="120" y="12"/>
                      <a:pt x="66" y="12"/>
                      <a:pt x="12" y="12"/>
                    </a:cubicBezTo>
                    <a:cubicBezTo>
                      <a:pt x="12" y="49"/>
                      <a:pt x="12" y="85"/>
                      <a:pt x="12" y="122"/>
                    </a:cubicBezTo>
                    <a:cubicBezTo>
                      <a:pt x="66" y="122"/>
                      <a:pt x="120" y="122"/>
                      <a:pt x="174" y="122"/>
                    </a:cubicBezTo>
                    <a:close/>
                  </a:path>
                </a:pathLst>
              </a:custGeom>
              <a:grpFill/>
              <a:ln>
                <a:noFill/>
              </a:ln>
              <a:extLst>
                <a:ext uri="{91240B29-F687-4F45-9708-019B960494DF}">
                  <a14:hiddenLine w="9525">
                    <a:solidFill>
                      <a:srgbClr val="000000"/>
                    </a:solidFill>
                    <a:round/>
                    <a:headEnd/>
                    <a:tailEnd/>
                  </a14:hiddenLine>
                </a:ext>
              </a:extLst>
            </p:spPr>
            <p:txBody>
              <a:bodyPr/>
              <a:lstStyle/>
              <a:p>
                <a:pPr eaLnBrk="1" fontAlgn="auto" hangingPunct="1">
                  <a:spcBef>
                    <a:spcPct val="0"/>
                  </a:spcBef>
                  <a:spcAft>
                    <a:spcPct val="0"/>
                  </a:spcAft>
                  <a:defRPr/>
                </a:pPr>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 name="Freeform 16">
                <a:extLst>
                  <a:ext uri="{FF2B5EF4-FFF2-40B4-BE49-F238E27FC236}">
                    <a16:creationId xmlns:a16="http://schemas.microsoft.com/office/drawing/2014/main" id="{4119BDBF-6706-4BB9-8AF3-01549F480322}"/>
                  </a:ext>
                </a:extLst>
              </p:cNvPr>
              <p:cNvSpPr/>
              <p:nvPr/>
            </p:nvSpPr>
            <p:spPr bwMode="auto">
              <a:xfrm>
                <a:off x="5646738" y="3840163"/>
                <a:ext cx="134938" cy="60325"/>
              </a:xfrm>
              <a:custGeom>
                <a:gdLst>
                  <a:gd fmla="*/ 29 w 92" name="T0"/>
                  <a:gd fmla="*/ 0 h 41" name="T1"/>
                  <a:gd fmla="*/ 63 w 92" name="T2"/>
                  <a:gd fmla="*/ 0 h 41" name="T3"/>
                  <a:gd fmla="*/ 63 w 92" name="T4"/>
                  <a:gd fmla="*/ 2 h 41" name="T5"/>
                  <a:gd fmla="*/ 63 w 92" name="T6"/>
                  <a:gd fmla="*/ 17 h 41" name="T7"/>
                  <a:gd fmla="*/ 76 w 92" name="T8"/>
                  <a:gd fmla="*/ 29 h 41" name="T9"/>
                  <a:gd fmla="*/ 86 w 92" name="T10"/>
                  <a:gd fmla="*/ 29 h 41" name="T11"/>
                  <a:gd fmla="*/ 92 w 92" name="T12"/>
                  <a:gd fmla="*/ 35 h 41" name="T13"/>
                  <a:gd fmla="*/ 86 w 92" name="T14"/>
                  <a:gd fmla="*/ 41 h 41" name="T15"/>
                  <a:gd fmla="*/ 6 w 92" name="T16"/>
                  <a:gd fmla="*/ 41 h 41" name="T17"/>
                  <a:gd fmla="*/ 0 w 92" name="T18"/>
                  <a:gd fmla="*/ 35 h 41" name="T19"/>
                  <a:gd fmla="*/ 6 w 92" name="T20"/>
                  <a:gd fmla="*/ 29 h 41" name="T21"/>
                  <a:gd fmla="*/ 17 w 92" name="T22"/>
                  <a:gd fmla="*/ 29 h 41" name="T23"/>
                  <a:gd fmla="*/ 29 w 92" name="T24"/>
                  <a:gd fmla="*/ 17 h 41" name="T25"/>
                  <a:gd fmla="*/ 29 w 92" name="T26"/>
                  <a:gd fmla="*/ 0 h 41" name="T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41" w="92">
                    <a:moveTo>
                      <a:pt x="29" y="0"/>
                    </a:moveTo>
                    <a:cubicBezTo>
                      <a:pt x="40" y="0"/>
                      <a:pt x="52" y="0"/>
                      <a:pt x="63" y="0"/>
                    </a:cubicBezTo>
                    <a:cubicBezTo>
                      <a:pt x="63" y="1"/>
                      <a:pt x="63" y="2"/>
                      <a:pt x="63" y="2"/>
                    </a:cubicBezTo>
                    <a:cubicBezTo>
                      <a:pt x="63" y="7"/>
                      <a:pt x="63" y="12"/>
                      <a:pt x="63" y="17"/>
                    </a:cubicBezTo>
                    <a:cubicBezTo>
                      <a:pt x="64" y="24"/>
                      <a:pt x="68" y="29"/>
                      <a:pt x="76" y="29"/>
                    </a:cubicBezTo>
                    <a:cubicBezTo>
                      <a:pt x="79" y="29"/>
                      <a:pt x="83" y="29"/>
                      <a:pt x="86" y="29"/>
                    </a:cubicBezTo>
                    <a:cubicBezTo>
                      <a:pt x="90" y="29"/>
                      <a:pt x="92" y="32"/>
                      <a:pt x="92" y="35"/>
                    </a:cubicBezTo>
                    <a:cubicBezTo>
                      <a:pt x="92" y="38"/>
                      <a:pt x="90" y="41"/>
                      <a:pt x="86" y="41"/>
                    </a:cubicBezTo>
                    <a:cubicBezTo>
                      <a:pt x="59" y="41"/>
                      <a:pt x="33" y="41"/>
                      <a:pt x="6" y="41"/>
                    </a:cubicBezTo>
                    <a:cubicBezTo>
                      <a:pt x="2" y="41"/>
                      <a:pt x="0" y="38"/>
                      <a:pt x="0" y="35"/>
                    </a:cubicBezTo>
                    <a:cubicBezTo>
                      <a:pt x="0" y="32"/>
                      <a:pt x="2" y="29"/>
                      <a:pt x="6" y="29"/>
                    </a:cubicBezTo>
                    <a:cubicBezTo>
                      <a:pt x="10" y="29"/>
                      <a:pt x="13" y="29"/>
                      <a:pt x="17" y="29"/>
                    </a:cubicBezTo>
                    <a:cubicBezTo>
                      <a:pt x="24" y="29"/>
                      <a:pt x="29" y="24"/>
                      <a:pt x="29" y="17"/>
                    </a:cubicBezTo>
                    <a:cubicBezTo>
                      <a:pt x="29" y="12"/>
                      <a:pt x="29" y="6"/>
                      <a:pt x="29" y="0"/>
                    </a:cubicBezTo>
                    <a:close/>
                  </a:path>
                </a:pathLst>
              </a:custGeom>
              <a:grpFill/>
              <a:ln>
                <a:noFill/>
              </a:ln>
              <a:extLst>
                <a:ext uri="{91240B29-F687-4F45-9708-019B960494DF}">
                  <a14:hiddenLine w="9525">
                    <a:solidFill>
                      <a:srgbClr val="000000"/>
                    </a:solidFill>
                    <a:round/>
                    <a:headEnd/>
                    <a:tailEnd/>
                  </a14:hiddenLine>
                </a:ext>
              </a:extLst>
            </p:spPr>
            <p:txBody>
              <a:bodyPr/>
              <a:lstStyle/>
              <a:p>
                <a:pPr eaLnBrk="1" fontAlgn="auto" hangingPunct="1">
                  <a:spcBef>
                    <a:spcPct val="0"/>
                  </a:spcBef>
                  <a:spcAft>
                    <a:spcPct val="0"/>
                  </a:spcAft>
                  <a:defRPr/>
                </a:pPr>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grpSp>
        <p:sp>
          <p:nvSpPr>
            <p:cNvPr id="17430" name="Freeform 17">
              <a:extLst>
                <a:ext uri="{FF2B5EF4-FFF2-40B4-BE49-F238E27FC236}">
                  <a16:creationId xmlns:a16="http://schemas.microsoft.com/office/drawing/2014/main" id="{EBBCF1C6-9521-44CC-8DC3-8E570E3DBA41}"/>
                </a:ext>
              </a:extLst>
            </p:cNvPr>
            <p:cNvSpPr>
              <a:spLocks noEditPoints="1"/>
            </p:cNvSpPr>
            <p:nvPr/>
          </p:nvSpPr>
          <p:spPr bwMode="auto">
            <a:xfrm>
              <a:off x="5733256" y="4130676"/>
              <a:ext cx="220663" cy="355600"/>
            </a:xfrm>
            <a:custGeom>
              <a:gdLst>
                <a:gd fmla="*/ 2147483647 w 152" name="T0"/>
                <a:gd fmla="*/ 0 h 244" name="T1"/>
                <a:gd fmla="*/ 2147483647 w 152" name="T2"/>
                <a:gd fmla="*/ 2147483647 h 244" name="T3"/>
                <a:gd fmla="*/ 2147483647 w 152" name="T4"/>
                <a:gd fmla="*/ 2147483647 h 244" name="T5"/>
                <a:gd fmla="*/ 2147483647 w 152" name="T6"/>
                <a:gd fmla="*/ 2147483647 h 244" name="T7"/>
                <a:gd fmla="*/ 2147483647 w 152" name="T8"/>
                <a:gd fmla="*/ 2147483647 h 244" name="T9"/>
                <a:gd fmla="*/ 2147483647 w 152" name="T10"/>
                <a:gd fmla="*/ 2147483647 h 244" name="T11"/>
                <a:gd fmla="*/ 2147483647 w 152" name="T12"/>
                <a:gd fmla="*/ 2147483647 h 244" name="T13"/>
                <a:gd fmla="*/ 0 w 152" name="T14"/>
                <a:gd fmla="*/ 2147483647 h 244" name="T15"/>
                <a:gd fmla="*/ 0 w 152" name="T16"/>
                <a:gd fmla="*/ 2147483647 h 244" name="T17"/>
                <a:gd fmla="*/ 2147483647 w 152" name="T18"/>
                <a:gd fmla="*/ 0 h 244" name="T19"/>
                <a:gd fmla="*/ 2147483647 w 152" name="T20"/>
                <a:gd fmla="*/ 0 h 244" name="T21"/>
                <a:gd fmla="*/ 2147483647 w 152" name="T22"/>
                <a:gd fmla="*/ 2147483647 h 244" name="T23"/>
                <a:gd fmla="*/ 2147483647 w 152" name="T24"/>
                <a:gd fmla="*/ 2147483647 h 244" name="T25"/>
                <a:gd fmla="*/ 2147483647 w 152" name="T26"/>
                <a:gd fmla="*/ 2147483647 h 244" name="T27"/>
                <a:gd fmla="*/ 2147483647 w 152" name="T28"/>
                <a:gd fmla="*/ 2147483647 h 244" name="T29"/>
                <a:gd fmla="*/ 2147483647 w 152" name="T30"/>
                <a:gd fmla="*/ 2147483647 h 244" name="T31"/>
                <a:gd fmla="*/ 2147483647 w 152" name="T32"/>
                <a:gd fmla="*/ 2147483647 h 244" name="T33"/>
                <a:gd fmla="*/ 2147483647 w 152" name="T34"/>
                <a:gd fmla="*/ 2147483647 h 244" name="T35"/>
                <a:gd fmla="*/ 2147483647 w 152" name="T36"/>
                <a:gd fmla="*/ 2147483647 h 244" name="T37"/>
                <a:gd fmla="*/ 2147483647 w 152" name="T38"/>
                <a:gd fmla="*/ 2147483647 h 244" name="T39"/>
                <a:gd fmla="*/ 2147483647 w 152" name="T40"/>
                <a:gd fmla="*/ 2147483647 h 244" name="T41"/>
                <a:gd fmla="*/ 2147483647 w 152" name="T42"/>
                <a:gd fmla="*/ 2147483647 h 244" name="T43"/>
                <a:gd fmla="*/ 2147483647 w 152" name="T44"/>
                <a:gd fmla="*/ 2147483647 h 244" name="T45"/>
                <a:gd fmla="*/ 2147483647 w 152" name="T46"/>
                <a:gd fmla="*/ 2147483647 h 244" name="T47"/>
                <a:gd fmla="*/ 2147483647 w 152" name="T48"/>
                <a:gd fmla="*/ 2147483647 h 244" name="T49"/>
                <a:gd fmla="*/ 2147483647 w 152" name="T50"/>
                <a:gd fmla="*/ 2147483647 h 244" name="T51"/>
                <a:gd fmla="*/ 2147483647 w 152" name="T52"/>
                <a:gd fmla="*/ 2147483647 h 244" name="T53"/>
                <a:gd fmla="*/ 2147483647 w 152" name="T54"/>
                <a:gd fmla="*/ 2147483647 h 244" name="T55"/>
                <a:gd fmla="*/ 2147483647 w 152" name="T56"/>
                <a:gd fmla="*/ 2147483647 h 244" name="T57"/>
                <a:gd fmla="*/ 2147483647 w 152" name="T58"/>
                <a:gd fmla="*/ 2147483647 h 244" name="T59"/>
                <a:gd fmla="*/ 2147483647 w 152" name="T60"/>
                <a:gd fmla="*/ 2147483647 h 244" name="T61"/>
                <a:gd fmla="*/ 2147483647 w 152" name="T62"/>
                <a:gd fmla="*/ 2147483647 h 244" name="T63"/>
                <a:gd fmla="*/ 2147483647 w 152" name="T64"/>
                <a:gd fmla="*/ 2147483647 h 244" name="T65"/>
                <a:gd fmla="*/ 0 60000 65536" name="T66"/>
                <a:gd fmla="*/ 0 60000 65536" name="T67"/>
                <a:gd fmla="*/ 0 60000 65536" name="T68"/>
                <a:gd fmla="*/ 0 60000 65536" name="T69"/>
                <a:gd fmla="*/ 0 60000 65536" name="T70"/>
                <a:gd fmla="*/ 0 60000 65536" name="T71"/>
                <a:gd fmla="*/ 0 60000 65536" name="T72"/>
                <a:gd fmla="*/ 0 60000 65536" name="T73"/>
                <a:gd fmla="*/ 0 60000 65536" name="T74"/>
                <a:gd fmla="*/ 0 60000 65536" name="T75"/>
                <a:gd fmla="*/ 0 60000 65536" name="T76"/>
                <a:gd fmla="*/ 0 60000 65536" name="T77"/>
                <a:gd fmla="*/ 0 60000 65536" name="T78"/>
                <a:gd fmla="*/ 0 60000 65536" name="T79"/>
                <a:gd fmla="*/ 0 60000 65536" name="T80"/>
                <a:gd fmla="*/ 0 60000 65536" name="T81"/>
                <a:gd fmla="*/ 0 60000 65536" name="T82"/>
                <a:gd fmla="*/ 0 60000 65536" name="T83"/>
                <a:gd fmla="*/ 0 60000 65536" name="T84"/>
                <a:gd fmla="*/ 0 60000 65536" name="T85"/>
                <a:gd fmla="*/ 0 60000 65536" name="T86"/>
                <a:gd fmla="*/ 0 60000 65536" name="T87"/>
                <a:gd fmla="*/ 0 60000 65536" name="T88"/>
                <a:gd fmla="*/ 0 60000 65536" name="T89"/>
                <a:gd fmla="*/ 0 60000 65536" name="T90"/>
                <a:gd fmla="*/ 0 60000 65536" name="T91"/>
                <a:gd fmla="*/ 0 60000 65536" name="T92"/>
                <a:gd fmla="*/ 0 60000 65536" name="T93"/>
                <a:gd fmla="*/ 0 60000 65536" name="T94"/>
                <a:gd fmla="*/ 0 60000 65536" name="T95"/>
                <a:gd fmla="*/ 0 60000 65536" name="T96"/>
                <a:gd fmla="*/ 0 60000 65536" name="T97"/>
                <a:gd fmla="*/ 0 60000 65536" name="T98"/>
              </a:gd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b="b" l="0" r="r" t="0"/>
              <a:pathLst>
                <a:path h="244" w="152">
                  <a:moveTo>
                    <a:pt x="139" y="0"/>
                  </a:moveTo>
                  <a:cubicBezTo>
                    <a:pt x="144" y="2"/>
                    <a:pt x="148" y="4"/>
                    <a:pt x="150" y="9"/>
                  </a:cubicBezTo>
                  <a:cubicBezTo>
                    <a:pt x="151" y="11"/>
                    <a:pt x="152" y="14"/>
                    <a:pt x="152" y="17"/>
                  </a:cubicBezTo>
                  <a:cubicBezTo>
                    <a:pt x="152" y="58"/>
                    <a:pt x="152" y="100"/>
                    <a:pt x="152" y="141"/>
                  </a:cubicBezTo>
                  <a:cubicBezTo>
                    <a:pt x="152" y="170"/>
                    <a:pt x="152" y="198"/>
                    <a:pt x="152" y="227"/>
                  </a:cubicBezTo>
                  <a:cubicBezTo>
                    <a:pt x="152" y="238"/>
                    <a:pt x="146" y="244"/>
                    <a:pt x="135" y="244"/>
                  </a:cubicBezTo>
                  <a:cubicBezTo>
                    <a:pt x="96" y="244"/>
                    <a:pt x="56" y="244"/>
                    <a:pt x="17" y="244"/>
                  </a:cubicBezTo>
                  <a:cubicBezTo>
                    <a:pt x="6" y="244"/>
                    <a:pt x="0" y="238"/>
                    <a:pt x="0" y="227"/>
                  </a:cubicBezTo>
                  <a:cubicBezTo>
                    <a:pt x="0" y="158"/>
                    <a:pt x="0" y="89"/>
                    <a:pt x="0" y="19"/>
                  </a:cubicBezTo>
                  <a:cubicBezTo>
                    <a:pt x="0" y="8"/>
                    <a:pt x="2" y="4"/>
                    <a:pt x="12" y="0"/>
                  </a:cubicBezTo>
                  <a:cubicBezTo>
                    <a:pt x="55" y="0"/>
                    <a:pt x="97" y="0"/>
                    <a:pt x="139" y="0"/>
                  </a:cubicBezTo>
                  <a:close/>
                  <a:moveTo>
                    <a:pt x="137" y="206"/>
                  </a:moveTo>
                  <a:cubicBezTo>
                    <a:pt x="137" y="150"/>
                    <a:pt x="137" y="94"/>
                    <a:pt x="137" y="39"/>
                  </a:cubicBezTo>
                  <a:cubicBezTo>
                    <a:pt x="96" y="39"/>
                    <a:pt x="55" y="39"/>
                    <a:pt x="15" y="39"/>
                  </a:cubicBezTo>
                  <a:cubicBezTo>
                    <a:pt x="15" y="95"/>
                    <a:pt x="15" y="150"/>
                    <a:pt x="15" y="206"/>
                  </a:cubicBezTo>
                  <a:cubicBezTo>
                    <a:pt x="56" y="206"/>
                    <a:pt x="96" y="206"/>
                    <a:pt x="137" y="206"/>
                  </a:cubicBezTo>
                  <a:close/>
                  <a:moveTo>
                    <a:pt x="76" y="16"/>
                  </a:moveTo>
                  <a:cubicBezTo>
                    <a:pt x="68" y="16"/>
                    <a:pt x="60" y="16"/>
                    <a:pt x="52" y="16"/>
                  </a:cubicBezTo>
                  <a:cubicBezTo>
                    <a:pt x="51" y="16"/>
                    <a:pt x="50" y="16"/>
                    <a:pt x="49" y="16"/>
                  </a:cubicBezTo>
                  <a:cubicBezTo>
                    <a:pt x="47" y="16"/>
                    <a:pt x="45" y="17"/>
                    <a:pt x="45" y="19"/>
                  </a:cubicBezTo>
                  <a:cubicBezTo>
                    <a:pt x="45" y="21"/>
                    <a:pt x="47" y="23"/>
                    <a:pt x="49" y="23"/>
                  </a:cubicBezTo>
                  <a:cubicBezTo>
                    <a:pt x="50" y="23"/>
                    <a:pt x="50" y="23"/>
                    <a:pt x="51" y="23"/>
                  </a:cubicBezTo>
                  <a:cubicBezTo>
                    <a:pt x="68" y="23"/>
                    <a:pt x="84" y="23"/>
                    <a:pt x="101" y="23"/>
                  </a:cubicBezTo>
                  <a:cubicBezTo>
                    <a:pt x="102" y="23"/>
                    <a:pt x="103" y="23"/>
                    <a:pt x="103" y="23"/>
                  </a:cubicBezTo>
                  <a:cubicBezTo>
                    <a:pt x="105" y="23"/>
                    <a:pt x="106" y="21"/>
                    <a:pt x="106" y="19"/>
                  </a:cubicBezTo>
                  <a:cubicBezTo>
                    <a:pt x="106" y="18"/>
                    <a:pt x="105" y="16"/>
                    <a:pt x="103" y="16"/>
                  </a:cubicBezTo>
                  <a:cubicBezTo>
                    <a:pt x="103" y="16"/>
                    <a:pt x="102" y="16"/>
                    <a:pt x="101" y="16"/>
                  </a:cubicBezTo>
                  <a:cubicBezTo>
                    <a:pt x="92" y="16"/>
                    <a:pt x="84" y="16"/>
                    <a:pt x="76" y="16"/>
                  </a:cubicBezTo>
                  <a:close/>
                  <a:moveTo>
                    <a:pt x="87" y="225"/>
                  </a:moveTo>
                  <a:cubicBezTo>
                    <a:pt x="87" y="219"/>
                    <a:pt x="82" y="214"/>
                    <a:pt x="76" y="214"/>
                  </a:cubicBezTo>
                  <a:cubicBezTo>
                    <a:pt x="70" y="214"/>
                    <a:pt x="65" y="219"/>
                    <a:pt x="64" y="225"/>
                  </a:cubicBezTo>
                  <a:cubicBezTo>
                    <a:pt x="64" y="231"/>
                    <a:pt x="70" y="237"/>
                    <a:pt x="76" y="237"/>
                  </a:cubicBezTo>
                  <a:cubicBezTo>
                    <a:pt x="82" y="237"/>
                    <a:pt x="87" y="231"/>
                    <a:pt x="87" y="225"/>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31" name="Freeform 18">
              <a:extLst>
                <a:ext uri="{FF2B5EF4-FFF2-40B4-BE49-F238E27FC236}">
                  <a16:creationId xmlns:a16="http://schemas.microsoft.com/office/drawing/2014/main" id="{B0357C1A-28F5-47B7-8F7E-3D62216D9D81}"/>
                </a:ext>
              </a:extLst>
            </p:cNvPr>
            <p:cNvSpPr/>
            <p:nvPr/>
          </p:nvSpPr>
          <p:spPr bwMode="auto">
            <a:xfrm>
              <a:off x="7284243" y="3573463"/>
              <a:ext cx="257175" cy="298450"/>
            </a:xfrm>
            <a:custGeom>
              <a:gdLst>
                <a:gd fmla="*/ 2147483647 w 177" name="T0"/>
                <a:gd fmla="*/ 2147483647 h 205" name="T1"/>
                <a:gd fmla="*/ 2147483647 w 177" name="T2"/>
                <a:gd fmla="*/ 2147483647 h 205" name="T3"/>
                <a:gd fmla="*/ 2147483647 w 177" name="T4"/>
                <a:gd fmla="*/ 2147483647 h 205" name="T5"/>
                <a:gd fmla="*/ 2147483647 w 177" name="T6"/>
                <a:gd fmla="*/ 2147483647 h 205" name="T7"/>
                <a:gd fmla="*/ 2147483647 w 177" name="T8"/>
                <a:gd fmla="*/ 2147483647 h 205" name="T9"/>
                <a:gd fmla="*/ 2147483647 w 177" name="T10"/>
                <a:gd fmla="*/ 2147483647 h 205" name="T11"/>
                <a:gd fmla="*/ 2147483647 w 177" name="T12"/>
                <a:gd fmla="*/ 2147483647 h 205" name="T13"/>
                <a:gd fmla="*/ 2147483647 w 177" name="T14"/>
                <a:gd fmla="*/ 2147483647 h 205" name="T15"/>
                <a:gd fmla="*/ 2147483647 w 177" name="T16"/>
                <a:gd fmla="*/ 2147483647 h 205" name="T17"/>
                <a:gd fmla="*/ 2147483647 w 177" name="T18"/>
                <a:gd fmla="*/ 2147483647 h 205" name="T19"/>
                <a:gd fmla="*/ 2147483647 w 177" name="T20"/>
                <a:gd fmla="*/ 2147483647 h 205" name="T21"/>
                <a:gd fmla="*/ 2147483647 w 177" name="T22"/>
                <a:gd fmla="*/ 2147483647 h 205" name="T23"/>
                <a:gd fmla="*/ 2147483647 w 177" name="T24"/>
                <a:gd fmla="*/ 0 h 205" name="T25"/>
                <a:gd fmla="*/ 2147483647 w 177" name="T26"/>
                <a:gd fmla="*/ 0 h 205" name="T27"/>
                <a:gd fmla="*/ 2147483647 w 177" name="T28"/>
                <a:gd fmla="*/ 0 h 205" name="T29"/>
                <a:gd fmla="*/ 2147483647 w 177" name="T30"/>
                <a:gd fmla="*/ 0 h 205" name="T31"/>
                <a:gd fmla="*/ 2147483647 w 177" name="T32"/>
                <a:gd fmla="*/ 2147483647 h 205" name="T33"/>
                <a:gd fmla="*/ 2147483647 w 177" name="T34"/>
                <a:gd fmla="*/ 2147483647 h 205" name="T35"/>
                <a:gd fmla="*/ 0 w 177" name="T36"/>
                <a:gd fmla="*/ 2147483647 h 205" name="T37"/>
                <a:gd fmla="*/ 0 w 177" name="T38"/>
                <a:gd fmla="*/ 2147483647 h 205" name="T39"/>
                <a:gd fmla="*/ 0 w 177" name="T40"/>
                <a:gd fmla="*/ 2147483647 h 205" name="T41"/>
                <a:gd fmla="*/ 2147483647 w 177" name="T42"/>
                <a:gd fmla="*/ 2147483647 h 205" name="T43"/>
                <a:gd fmla="*/ 2147483647 w 177" name="T44"/>
                <a:gd fmla="*/ 2147483647 h 205" name="T45"/>
                <a:gd fmla="*/ 2147483647 w 177" name="T46"/>
                <a:gd fmla="*/ 2147483647 h 205" name="T47"/>
                <a:gd fmla="*/ 2147483647 w 177" name="T48"/>
                <a:gd fmla="*/ 2147483647 h 205" name="T49"/>
                <a:gd fmla="*/ 2147483647 w 177" name="T50"/>
                <a:gd fmla="*/ 2147483647 h 205" name="T51"/>
                <a:gd fmla="*/ 2147483647 w 177" name="T52"/>
                <a:gd fmla="*/ 2147483647 h 205" name="T53"/>
                <a:gd fmla="*/ 2147483647 w 177" name="T54"/>
                <a:gd fmla="*/ 2147483647 h 205" name="T55"/>
                <a:gd fmla="*/ 2147483647 w 177" name="T56"/>
                <a:gd fmla="*/ 2147483647 h 205" name="T57"/>
                <a:gd fmla="*/ 2147483647 w 177" name="T58"/>
                <a:gd fmla="*/ 2147483647 h 205" name="T59"/>
                <a:gd fmla="*/ 2147483647 w 177" name="T60"/>
                <a:gd fmla="*/ 2147483647 h 205" name="T61"/>
                <a:gd fmla="*/ 2147483647 w 177" name="T62"/>
                <a:gd fmla="*/ 2147483647 h 205" name="T63"/>
                <a:gd fmla="*/ 2147483647 w 177" name="T64"/>
                <a:gd fmla="*/ 2147483647 h 205" name="T65"/>
                <a:gd fmla="*/ 2147483647 w 177" name="T66"/>
                <a:gd fmla="*/ 2147483647 h 205" name="T67"/>
                <a:gd fmla="*/ 2147483647 w 177" name="T68"/>
                <a:gd fmla="*/ 2147483647 h 205" name="T69"/>
                <a:gd fmla="*/ 2147483647 w 177" name="T70"/>
                <a:gd fmla="*/ 2147483647 h 205" name="T71"/>
                <a:gd fmla="*/ 2147483647 w 177" name="T72"/>
                <a:gd fmla="*/ 2147483647 h 205" name="T73"/>
                <a:gd fmla="*/ 2147483647 w 177" name="T74"/>
                <a:gd fmla="*/ 2147483647 h 205" name="T75"/>
                <a:gd fmla="*/ 2147483647 w 177" name="T76"/>
                <a:gd fmla="*/ 2147483647 h 205" name="T77"/>
                <a:gd fmla="*/ 2147483647 w 177" name="T78"/>
                <a:gd fmla="*/ 2147483647 h 205" name="T79"/>
                <a:gd fmla="*/ 2147483647 w 177" name="T80"/>
                <a:gd fmla="*/ 2147483647 h 205" name="T81"/>
                <a:gd fmla="*/ 2147483647 w 177" name="T82"/>
                <a:gd fmla="*/ 2147483647 h 205" name="T83"/>
                <a:gd fmla="*/ 2147483647 w 177" name="T84"/>
                <a:gd fmla="*/ 2147483647 h 205" name="T85"/>
                <a:gd fmla="*/ 2147483647 w 177" name="T86"/>
                <a:gd fmla="*/ 2147483647 h 205" name="T87"/>
                <a:gd fmla="*/ 2147483647 w 177" name="T88"/>
                <a:gd fmla="*/ 2147483647 h 205" name="T89"/>
                <a:gd fmla="*/ 2147483647 w 177" name="T90"/>
                <a:gd fmla="*/ 2147483647 h 205" name="T91"/>
                <a:gd fmla="*/ 2147483647 w 177" name="T92"/>
                <a:gd fmla="*/ 2147483647 h 205"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b="b" l="0" r="r" t="0"/>
              <a:pathLst>
                <a:path h="205" w="177">
                  <a:moveTo>
                    <a:pt x="176" y="113"/>
                  </a:moveTo>
                  <a:cubicBezTo>
                    <a:pt x="174" y="106"/>
                    <a:pt x="171" y="99"/>
                    <a:pt x="169" y="93"/>
                  </a:cubicBezTo>
                  <a:cubicBezTo>
                    <a:pt x="168" y="90"/>
                    <a:pt x="167" y="87"/>
                    <a:pt x="167" y="85"/>
                  </a:cubicBezTo>
                  <a:cubicBezTo>
                    <a:pt x="166" y="84"/>
                    <a:pt x="167" y="82"/>
                    <a:pt x="167" y="81"/>
                  </a:cubicBezTo>
                  <a:cubicBezTo>
                    <a:pt x="169" y="79"/>
                    <a:pt x="168" y="77"/>
                    <a:pt x="168" y="74"/>
                  </a:cubicBezTo>
                  <a:cubicBezTo>
                    <a:pt x="165" y="64"/>
                    <a:pt x="162" y="54"/>
                    <a:pt x="157" y="45"/>
                  </a:cubicBezTo>
                  <a:cubicBezTo>
                    <a:pt x="157" y="44"/>
                    <a:pt x="156" y="43"/>
                    <a:pt x="156" y="42"/>
                  </a:cubicBezTo>
                  <a:cubicBezTo>
                    <a:pt x="157" y="41"/>
                    <a:pt x="159" y="40"/>
                    <a:pt x="160" y="39"/>
                  </a:cubicBezTo>
                  <a:cubicBezTo>
                    <a:pt x="156" y="32"/>
                    <a:pt x="151" y="25"/>
                    <a:pt x="144" y="19"/>
                  </a:cubicBezTo>
                  <a:cubicBezTo>
                    <a:pt x="146" y="18"/>
                    <a:pt x="147" y="18"/>
                    <a:pt x="148" y="17"/>
                  </a:cubicBezTo>
                  <a:cubicBezTo>
                    <a:pt x="148" y="17"/>
                    <a:pt x="148" y="17"/>
                    <a:pt x="148" y="17"/>
                  </a:cubicBezTo>
                  <a:cubicBezTo>
                    <a:pt x="144" y="15"/>
                    <a:pt x="141" y="12"/>
                    <a:pt x="137" y="10"/>
                  </a:cubicBezTo>
                  <a:cubicBezTo>
                    <a:pt x="124" y="4"/>
                    <a:pt x="111" y="1"/>
                    <a:pt x="97" y="0"/>
                  </a:cubicBezTo>
                  <a:cubicBezTo>
                    <a:pt x="96" y="0"/>
                    <a:pt x="96" y="0"/>
                    <a:pt x="95" y="0"/>
                  </a:cubicBezTo>
                  <a:cubicBezTo>
                    <a:pt x="92" y="0"/>
                    <a:pt x="89" y="0"/>
                    <a:pt x="86" y="0"/>
                  </a:cubicBezTo>
                  <a:cubicBezTo>
                    <a:pt x="84" y="0"/>
                    <a:pt x="81" y="0"/>
                    <a:pt x="78" y="0"/>
                  </a:cubicBezTo>
                  <a:cubicBezTo>
                    <a:pt x="62" y="2"/>
                    <a:pt x="47" y="6"/>
                    <a:pt x="33" y="15"/>
                  </a:cubicBezTo>
                  <a:cubicBezTo>
                    <a:pt x="21" y="23"/>
                    <a:pt x="13" y="33"/>
                    <a:pt x="7" y="46"/>
                  </a:cubicBezTo>
                  <a:cubicBezTo>
                    <a:pt x="3" y="54"/>
                    <a:pt x="1" y="62"/>
                    <a:pt x="0" y="71"/>
                  </a:cubicBezTo>
                  <a:cubicBezTo>
                    <a:pt x="0" y="71"/>
                    <a:pt x="0" y="72"/>
                    <a:pt x="0" y="72"/>
                  </a:cubicBezTo>
                  <a:cubicBezTo>
                    <a:pt x="0" y="75"/>
                    <a:pt x="0" y="78"/>
                    <a:pt x="0" y="80"/>
                  </a:cubicBezTo>
                  <a:cubicBezTo>
                    <a:pt x="1" y="84"/>
                    <a:pt x="1" y="89"/>
                    <a:pt x="2" y="93"/>
                  </a:cubicBezTo>
                  <a:cubicBezTo>
                    <a:pt x="3" y="98"/>
                    <a:pt x="5" y="104"/>
                    <a:pt x="8" y="109"/>
                  </a:cubicBezTo>
                  <a:cubicBezTo>
                    <a:pt x="10" y="111"/>
                    <a:pt x="11" y="114"/>
                    <a:pt x="13" y="116"/>
                  </a:cubicBezTo>
                  <a:cubicBezTo>
                    <a:pt x="17" y="123"/>
                    <a:pt x="21" y="130"/>
                    <a:pt x="27" y="137"/>
                  </a:cubicBezTo>
                  <a:cubicBezTo>
                    <a:pt x="36" y="147"/>
                    <a:pt x="42" y="159"/>
                    <a:pt x="44" y="173"/>
                  </a:cubicBezTo>
                  <a:cubicBezTo>
                    <a:pt x="45" y="176"/>
                    <a:pt x="46" y="180"/>
                    <a:pt x="46" y="183"/>
                  </a:cubicBezTo>
                  <a:cubicBezTo>
                    <a:pt x="46" y="189"/>
                    <a:pt x="46" y="196"/>
                    <a:pt x="46" y="202"/>
                  </a:cubicBezTo>
                  <a:cubicBezTo>
                    <a:pt x="46" y="203"/>
                    <a:pt x="46" y="203"/>
                    <a:pt x="46" y="205"/>
                  </a:cubicBezTo>
                  <a:cubicBezTo>
                    <a:pt x="75" y="205"/>
                    <a:pt x="105" y="205"/>
                    <a:pt x="134" y="205"/>
                  </a:cubicBezTo>
                  <a:cubicBezTo>
                    <a:pt x="134" y="204"/>
                    <a:pt x="134" y="203"/>
                    <a:pt x="134" y="203"/>
                  </a:cubicBezTo>
                  <a:cubicBezTo>
                    <a:pt x="135" y="195"/>
                    <a:pt x="135" y="188"/>
                    <a:pt x="135" y="181"/>
                  </a:cubicBezTo>
                  <a:cubicBezTo>
                    <a:pt x="135" y="179"/>
                    <a:pt x="135" y="177"/>
                    <a:pt x="136" y="175"/>
                  </a:cubicBezTo>
                  <a:cubicBezTo>
                    <a:pt x="136" y="172"/>
                    <a:pt x="138" y="171"/>
                    <a:pt x="140" y="170"/>
                  </a:cubicBezTo>
                  <a:cubicBezTo>
                    <a:pt x="144" y="169"/>
                    <a:pt x="147" y="169"/>
                    <a:pt x="151" y="169"/>
                  </a:cubicBezTo>
                  <a:cubicBezTo>
                    <a:pt x="153" y="169"/>
                    <a:pt x="155" y="170"/>
                    <a:pt x="157" y="170"/>
                  </a:cubicBezTo>
                  <a:cubicBezTo>
                    <a:pt x="161" y="171"/>
                    <a:pt x="168" y="168"/>
                    <a:pt x="168" y="163"/>
                  </a:cubicBezTo>
                  <a:cubicBezTo>
                    <a:pt x="168" y="162"/>
                    <a:pt x="168" y="161"/>
                    <a:pt x="168" y="159"/>
                  </a:cubicBezTo>
                  <a:cubicBezTo>
                    <a:pt x="167" y="157"/>
                    <a:pt x="168" y="155"/>
                    <a:pt x="169" y="152"/>
                  </a:cubicBezTo>
                  <a:cubicBezTo>
                    <a:pt x="172" y="148"/>
                    <a:pt x="172" y="145"/>
                    <a:pt x="167" y="142"/>
                  </a:cubicBezTo>
                  <a:cubicBezTo>
                    <a:pt x="167" y="141"/>
                    <a:pt x="167" y="141"/>
                    <a:pt x="167" y="141"/>
                  </a:cubicBezTo>
                  <a:cubicBezTo>
                    <a:pt x="168" y="140"/>
                    <a:pt x="169" y="140"/>
                    <a:pt x="170" y="139"/>
                  </a:cubicBezTo>
                  <a:cubicBezTo>
                    <a:pt x="172" y="137"/>
                    <a:pt x="172" y="136"/>
                    <a:pt x="172" y="133"/>
                  </a:cubicBezTo>
                  <a:cubicBezTo>
                    <a:pt x="171" y="130"/>
                    <a:pt x="170" y="126"/>
                    <a:pt x="170" y="123"/>
                  </a:cubicBezTo>
                  <a:cubicBezTo>
                    <a:pt x="169" y="122"/>
                    <a:pt x="170" y="121"/>
                    <a:pt x="171" y="121"/>
                  </a:cubicBezTo>
                  <a:cubicBezTo>
                    <a:pt x="172" y="120"/>
                    <a:pt x="173" y="120"/>
                    <a:pt x="175" y="119"/>
                  </a:cubicBezTo>
                  <a:cubicBezTo>
                    <a:pt x="177" y="117"/>
                    <a:pt x="177" y="116"/>
                    <a:pt x="176" y="113"/>
                  </a:cubicBezTo>
                  <a:close/>
                </a:path>
              </a:pathLst>
            </a:custGeom>
            <a:solidFill>
              <a:schemeClr val="dk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32" name="Freeform 19">
              <a:extLst>
                <a:ext uri="{FF2B5EF4-FFF2-40B4-BE49-F238E27FC236}">
                  <a16:creationId xmlns:a16="http://schemas.microsoft.com/office/drawing/2014/main" id="{193B0A6C-8C98-46B2-949B-22C81F62DEF8}"/>
                </a:ext>
              </a:extLst>
            </p:cNvPr>
            <p:cNvSpPr/>
            <p:nvPr/>
          </p:nvSpPr>
          <p:spPr bwMode="auto">
            <a:xfrm>
              <a:off x="5050631" y="3970338"/>
              <a:ext cx="134938" cy="227013"/>
            </a:xfrm>
            <a:custGeom>
              <a:gdLst>
                <a:gd fmla="*/ 2147483647 w 92" name="T0"/>
                <a:gd fmla="*/ 0 h 156" name="T1"/>
                <a:gd fmla="*/ 2147483647 w 92" name="T2"/>
                <a:gd fmla="*/ 2147483647 h 156" name="T3"/>
                <a:gd fmla="*/ 2147483647 w 92" name="T4"/>
                <a:gd fmla="*/ 2147483647 h 156" name="T5"/>
                <a:gd fmla="*/ 2147483647 w 92" name="T6"/>
                <a:gd fmla="*/ 2147483647 h 156" name="T7"/>
                <a:gd fmla="*/ 2147483647 w 92" name="T8"/>
                <a:gd fmla="*/ 2147483647 h 156" name="T9"/>
                <a:gd fmla="*/ 2147483647 w 92" name="T10"/>
                <a:gd fmla="*/ 2147483647 h 156" name="T11"/>
                <a:gd fmla="*/ 2147483647 w 92" name="T12"/>
                <a:gd fmla="*/ 2147483647 h 156" name="T13"/>
                <a:gd fmla="*/ 0 w 92" name="T14"/>
                <a:gd fmla="*/ 2147483647 h 156" name="T15"/>
                <a:gd fmla="*/ 0 w 92" name="T16"/>
                <a:gd fmla="*/ 2147483647 h 156" name="T17"/>
                <a:gd fmla="*/ 2147483647 w 92" name="T18"/>
                <a:gd fmla="*/ 2147483647 h 156" name="T19"/>
                <a:gd fmla="*/ 2147483647 w 92" name="T20"/>
                <a:gd fmla="*/ 2147483647 h 156" name="T21"/>
                <a:gd fmla="*/ 2147483647 w 92" name="T22"/>
                <a:gd fmla="*/ 2147483647 h 156" name="T23"/>
                <a:gd fmla="*/ 2147483647 w 92" name="T24"/>
                <a:gd fmla="*/ 0 h 156" name="T25"/>
                <a:gd fmla="*/ 2147483647 w 92" name="T26"/>
                <a:gd fmla="*/ 0 h 156" name="T27"/>
                <a:gd fmla="*/ 0 60000 65536" name="T28"/>
                <a:gd fmla="*/ 0 60000 65536" name="T29"/>
                <a:gd fmla="*/ 0 60000 65536" name="T30"/>
                <a:gd fmla="*/ 0 60000 65536" name="T31"/>
                <a:gd fmla="*/ 0 60000 65536" name="T32"/>
                <a:gd fmla="*/ 0 60000 65536" name="T33"/>
                <a:gd fmla="*/ 0 60000 65536" name="T34"/>
                <a:gd fmla="*/ 0 60000 65536" name="T35"/>
                <a:gd fmla="*/ 0 60000 65536" name="T36"/>
                <a:gd fmla="*/ 0 60000 65536" name="T37"/>
                <a:gd fmla="*/ 0 60000 65536" name="T38"/>
                <a:gd fmla="*/ 0 60000 65536" name="T39"/>
                <a:gd fmla="*/ 0 60000 65536" name="T40"/>
                <a:gd fmla="*/ 0 60000 65536" name="T41"/>
              </a:gd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b="b" l="0" r="r" t="0"/>
              <a:pathLst>
                <a:path h="156" w="92">
                  <a:moveTo>
                    <a:pt x="92" y="0"/>
                  </a:moveTo>
                  <a:cubicBezTo>
                    <a:pt x="92" y="30"/>
                    <a:pt x="92" y="60"/>
                    <a:pt x="92" y="90"/>
                  </a:cubicBezTo>
                  <a:cubicBezTo>
                    <a:pt x="92" y="91"/>
                    <a:pt x="91" y="92"/>
                    <a:pt x="91" y="93"/>
                  </a:cubicBezTo>
                  <a:cubicBezTo>
                    <a:pt x="70" y="114"/>
                    <a:pt x="49" y="134"/>
                    <a:pt x="28" y="155"/>
                  </a:cubicBezTo>
                  <a:cubicBezTo>
                    <a:pt x="28" y="156"/>
                    <a:pt x="28" y="156"/>
                    <a:pt x="27" y="156"/>
                  </a:cubicBezTo>
                  <a:cubicBezTo>
                    <a:pt x="24" y="153"/>
                    <a:pt x="21" y="149"/>
                    <a:pt x="18" y="146"/>
                  </a:cubicBezTo>
                  <a:cubicBezTo>
                    <a:pt x="8" y="132"/>
                    <a:pt x="2" y="116"/>
                    <a:pt x="1" y="99"/>
                  </a:cubicBezTo>
                  <a:cubicBezTo>
                    <a:pt x="1" y="98"/>
                    <a:pt x="0" y="98"/>
                    <a:pt x="0" y="97"/>
                  </a:cubicBezTo>
                  <a:cubicBezTo>
                    <a:pt x="0" y="93"/>
                    <a:pt x="0" y="89"/>
                    <a:pt x="0" y="86"/>
                  </a:cubicBezTo>
                  <a:cubicBezTo>
                    <a:pt x="0" y="85"/>
                    <a:pt x="1" y="85"/>
                    <a:pt x="1" y="84"/>
                  </a:cubicBezTo>
                  <a:cubicBezTo>
                    <a:pt x="2" y="67"/>
                    <a:pt x="8" y="51"/>
                    <a:pt x="18" y="38"/>
                  </a:cubicBezTo>
                  <a:cubicBezTo>
                    <a:pt x="32" y="18"/>
                    <a:pt x="52" y="6"/>
                    <a:pt x="76" y="1"/>
                  </a:cubicBezTo>
                  <a:cubicBezTo>
                    <a:pt x="79" y="1"/>
                    <a:pt x="83" y="0"/>
                    <a:pt x="86" y="0"/>
                  </a:cubicBezTo>
                  <a:cubicBezTo>
                    <a:pt x="88" y="0"/>
                    <a:pt x="90" y="0"/>
                    <a:pt x="92" y="0"/>
                  </a:cubicBezTo>
                  <a:close/>
                </a:path>
              </a:pathLst>
            </a:custGeom>
            <a:solidFill>
              <a:schemeClr val="accent1"/>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33" name="Freeform 20">
              <a:extLst>
                <a:ext uri="{FF2B5EF4-FFF2-40B4-BE49-F238E27FC236}">
                  <a16:creationId xmlns:a16="http://schemas.microsoft.com/office/drawing/2014/main" id="{14E25599-B59C-40B3-A57A-0F9384997EBF}"/>
                </a:ext>
              </a:extLst>
            </p:cNvPr>
            <p:cNvSpPr/>
            <p:nvPr/>
          </p:nvSpPr>
          <p:spPr bwMode="auto">
            <a:xfrm>
              <a:off x="5203031" y="3970338"/>
              <a:ext cx="131763" cy="133350"/>
            </a:xfrm>
            <a:custGeom>
              <a:gdLst>
                <a:gd fmla="*/ 2147483647 w 91" name="T0"/>
                <a:gd fmla="*/ 0 h 91" name="T1"/>
                <a:gd fmla="*/ 2147483647 w 91" name="T2"/>
                <a:gd fmla="*/ 2147483647 h 91" name="T3"/>
                <a:gd fmla="*/ 2147483647 w 91" name="T4"/>
                <a:gd fmla="*/ 2147483647 h 91" name="T5"/>
                <a:gd fmla="*/ 2147483647 w 91" name="T6"/>
                <a:gd fmla="*/ 2147483647 h 91" name="T7"/>
                <a:gd fmla="*/ 2147483647 w 91" name="T8"/>
                <a:gd fmla="*/ 2147483647 h 91" name="T9"/>
                <a:gd fmla="*/ 0 w 91" name="T10"/>
                <a:gd fmla="*/ 2147483647 h 91" name="T11"/>
                <a:gd fmla="*/ 0 w 91" name="T12"/>
                <a:gd fmla="*/ 0 h 91" name="T13"/>
                <a:gd fmla="*/ 2147483647 w 91" name="T14"/>
                <a:gd fmla="*/ 0 h 91" name="T15"/>
                <a:gd fmla="*/ 0 60000 65536" name="T16"/>
                <a:gd fmla="*/ 0 60000 65536" name="T17"/>
                <a:gd fmla="*/ 0 60000 65536" name="T18"/>
                <a:gd fmla="*/ 0 60000 65536" name="T19"/>
                <a:gd fmla="*/ 0 60000 65536" name="T20"/>
                <a:gd fmla="*/ 0 60000 65536" name="T21"/>
                <a:gd fmla="*/ 0 60000 65536" name="T22"/>
                <a:gd fmla="*/ 0 60000 65536" name="T23"/>
              </a:gdLst>
              <a:cxnLst>
                <a:cxn ang="T16">
                  <a:pos x="T0" y="T1"/>
                </a:cxn>
                <a:cxn ang="T17">
                  <a:pos x="T2" y="T3"/>
                </a:cxn>
                <a:cxn ang="T18">
                  <a:pos x="T4" y="T5"/>
                </a:cxn>
                <a:cxn ang="T19">
                  <a:pos x="T6" y="T7"/>
                </a:cxn>
                <a:cxn ang="T20">
                  <a:pos x="T8" y="T9"/>
                </a:cxn>
                <a:cxn ang="T21">
                  <a:pos x="T10" y="T11"/>
                </a:cxn>
                <a:cxn ang="T22">
                  <a:pos x="T12" y="T13"/>
                </a:cxn>
                <a:cxn ang="T23">
                  <a:pos x="T14" y="T15"/>
                </a:cxn>
              </a:cxnLst>
              <a:rect b="b" l="0" r="r" t="0"/>
              <a:pathLst>
                <a:path h="91" w="91">
                  <a:moveTo>
                    <a:pt x="6" y="0"/>
                  </a:moveTo>
                  <a:cubicBezTo>
                    <a:pt x="9" y="0"/>
                    <a:pt x="13" y="1"/>
                    <a:pt x="16" y="1"/>
                  </a:cubicBezTo>
                  <a:cubicBezTo>
                    <a:pt x="43" y="7"/>
                    <a:pt x="64" y="21"/>
                    <a:pt x="79" y="45"/>
                  </a:cubicBezTo>
                  <a:cubicBezTo>
                    <a:pt x="87" y="58"/>
                    <a:pt x="91" y="73"/>
                    <a:pt x="91" y="89"/>
                  </a:cubicBezTo>
                  <a:cubicBezTo>
                    <a:pt x="91" y="90"/>
                    <a:pt x="91" y="91"/>
                    <a:pt x="91" y="91"/>
                  </a:cubicBezTo>
                  <a:cubicBezTo>
                    <a:pt x="61" y="91"/>
                    <a:pt x="31" y="91"/>
                    <a:pt x="0" y="91"/>
                  </a:cubicBezTo>
                  <a:cubicBezTo>
                    <a:pt x="0" y="61"/>
                    <a:pt x="0" y="30"/>
                    <a:pt x="0" y="0"/>
                  </a:cubicBezTo>
                  <a:cubicBezTo>
                    <a:pt x="2" y="0"/>
                    <a:pt x="4" y="0"/>
                    <a:pt x="6" y="0"/>
                  </a:cubicBezTo>
                  <a:close/>
                </a:path>
              </a:pathLst>
            </a:custGeom>
            <a:solidFill>
              <a:schemeClr val="accent1"/>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34" name="Freeform 21">
              <a:extLst>
                <a:ext uri="{FF2B5EF4-FFF2-40B4-BE49-F238E27FC236}">
                  <a16:creationId xmlns:a16="http://schemas.microsoft.com/office/drawing/2014/main" id="{F5445135-E241-4BB7-80D3-2C595A2E0827}"/>
                </a:ext>
              </a:extLst>
            </p:cNvPr>
            <p:cNvSpPr/>
            <p:nvPr/>
          </p:nvSpPr>
          <p:spPr bwMode="auto">
            <a:xfrm>
              <a:off x="5103018" y="4119563"/>
              <a:ext cx="227013" cy="146050"/>
            </a:xfrm>
            <a:custGeom>
              <a:gdLst>
                <a:gd fmla="*/ 2147483647 w 156" name="T0"/>
                <a:gd fmla="*/ 0 h 100" name="T1"/>
                <a:gd fmla="*/ 2147483647 w 156" name="T2"/>
                <a:gd fmla="*/ 2147483647 h 100" name="T3"/>
                <a:gd fmla="*/ 0 w 156" name="T4"/>
                <a:gd fmla="*/ 2147483647 h 100" name="T5"/>
                <a:gd fmla="*/ 2147483647 w 156" name="T6"/>
                <a:gd fmla="*/ 2147483647 h 100" name="T7"/>
                <a:gd fmla="*/ 2147483647 w 156" name="T8"/>
                <a:gd fmla="*/ 2147483647 h 100" name="T9"/>
                <a:gd fmla="*/ 2147483647 w 156" name="T10"/>
                <a:gd fmla="*/ 0 h 100" name="T11"/>
                <a:gd fmla="*/ 2147483647 w 156" name="T12"/>
                <a:gd fmla="*/ 0 h 100" name="T13"/>
                <a:gd fmla="*/ 2147483647 w 156" name="T14"/>
                <a:gd fmla="*/ 0 h 100" name="T15"/>
                <a:gd fmla="*/ 0 60000 65536" name="T16"/>
                <a:gd fmla="*/ 0 60000 65536" name="T17"/>
                <a:gd fmla="*/ 0 60000 65536" name="T18"/>
                <a:gd fmla="*/ 0 60000 65536" name="T19"/>
                <a:gd fmla="*/ 0 60000 65536" name="T20"/>
                <a:gd fmla="*/ 0 60000 65536" name="T21"/>
                <a:gd fmla="*/ 0 60000 65536" name="T22"/>
                <a:gd fmla="*/ 0 60000 65536" name="T23"/>
              </a:gdLst>
              <a:cxnLst>
                <a:cxn ang="T16">
                  <a:pos x="T0" y="T1"/>
                </a:cxn>
                <a:cxn ang="T17">
                  <a:pos x="T2" y="T3"/>
                </a:cxn>
                <a:cxn ang="T18">
                  <a:pos x="T4" y="T5"/>
                </a:cxn>
                <a:cxn ang="T19">
                  <a:pos x="T6" y="T7"/>
                </a:cxn>
                <a:cxn ang="T20">
                  <a:pos x="T8" y="T9"/>
                </a:cxn>
                <a:cxn ang="T21">
                  <a:pos x="T10" y="T11"/>
                </a:cxn>
                <a:cxn ang="T22">
                  <a:pos x="T12" y="T13"/>
                </a:cxn>
                <a:cxn ang="T23">
                  <a:pos x="T14" y="T15"/>
                </a:cxn>
              </a:cxnLst>
              <a:rect b="b" l="0" r="r" t="0"/>
              <a:pathLst>
                <a:path h="100" w="156">
                  <a:moveTo>
                    <a:pt x="156" y="0"/>
                  </a:moveTo>
                  <a:cubicBezTo>
                    <a:pt x="156" y="33"/>
                    <a:pt x="137" y="69"/>
                    <a:pt x="100" y="85"/>
                  </a:cubicBezTo>
                  <a:cubicBezTo>
                    <a:pt x="63" y="100"/>
                    <a:pt x="23" y="89"/>
                    <a:pt x="0" y="65"/>
                  </a:cubicBezTo>
                  <a:cubicBezTo>
                    <a:pt x="0" y="65"/>
                    <a:pt x="1" y="64"/>
                    <a:pt x="1" y="64"/>
                  </a:cubicBezTo>
                  <a:cubicBezTo>
                    <a:pt x="22" y="43"/>
                    <a:pt x="43" y="22"/>
                    <a:pt x="64" y="2"/>
                  </a:cubicBezTo>
                  <a:cubicBezTo>
                    <a:pt x="64" y="1"/>
                    <a:pt x="65" y="0"/>
                    <a:pt x="66" y="0"/>
                  </a:cubicBezTo>
                  <a:cubicBezTo>
                    <a:pt x="96" y="0"/>
                    <a:pt x="125" y="0"/>
                    <a:pt x="154" y="0"/>
                  </a:cubicBezTo>
                  <a:cubicBezTo>
                    <a:pt x="155" y="0"/>
                    <a:pt x="155" y="0"/>
                    <a:pt x="156" y="0"/>
                  </a:cubicBezTo>
                  <a:close/>
                </a:path>
              </a:pathLst>
            </a:custGeom>
            <a:solidFill>
              <a:schemeClr val="accent1"/>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35" name="Freeform 22">
              <a:extLst>
                <a:ext uri="{FF2B5EF4-FFF2-40B4-BE49-F238E27FC236}">
                  <a16:creationId xmlns:a16="http://schemas.microsoft.com/office/drawing/2014/main" id="{CEC76252-73D3-4DA0-BA83-19118A32DFF8}"/>
                </a:ext>
              </a:extLst>
            </p:cNvPr>
            <p:cNvSpPr>
              <a:spLocks noEditPoints="1"/>
            </p:cNvSpPr>
            <p:nvPr/>
          </p:nvSpPr>
          <p:spPr bwMode="auto">
            <a:xfrm>
              <a:off x="5171281" y="2727326"/>
              <a:ext cx="193675" cy="190500"/>
            </a:xfrm>
            <a:custGeom>
              <a:gdLst>
                <a:gd fmla="*/ 2147483647 w 133" name="T0"/>
                <a:gd fmla="*/ 2147483647 h 131" name="T1"/>
                <a:gd fmla="*/ 2147483647 w 133" name="T2"/>
                <a:gd fmla="*/ 2147483647 h 131" name="T3"/>
                <a:gd fmla="*/ 2147483647 w 133" name="T4"/>
                <a:gd fmla="*/ 2147483647 h 131" name="T5"/>
                <a:gd fmla="*/ 2147483647 w 133" name="T6"/>
                <a:gd fmla="*/ 2147483647 h 131" name="T7"/>
                <a:gd fmla="*/ 2147483647 w 133" name="T8"/>
                <a:gd fmla="*/ 2147483647 h 131" name="T9"/>
                <a:gd fmla="*/ 0 w 133" name="T10"/>
                <a:gd fmla="*/ 2147483647 h 131" name="T11"/>
                <a:gd fmla="*/ 2147483647 w 133" name="T12"/>
                <a:gd fmla="*/ 2147483647 h 131" name="T13"/>
                <a:gd fmla="*/ 2147483647 w 133" name="T14"/>
                <a:gd fmla="*/ 2147483647 h 131" name="T15"/>
                <a:gd fmla="*/ 2147483647 w 133" name="T16"/>
                <a:gd fmla="*/ 2147483647 h 131" name="T17"/>
                <a:gd fmla="*/ 2147483647 w 133" name="T18"/>
                <a:gd fmla="*/ 2147483647 h 131" name="T19"/>
                <a:gd fmla="*/ 2147483647 w 133" name="T20"/>
                <a:gd fmla="*/ 0 h 131" name="T21"/>
                <a:gd fmla="*/ 2147483647 w 133" name="T22"/>
                <a:gd fmla="*/ 2147483647 h 131" name="T23"/>
                <a:gd fmla="*/ 2147483647 w 133" name="T24"/>
                <a:gd fmla="*/ 2147483647 h 131" name="T25"/>
                <a:gd fmla="*/ 2147483647 w 133" name="T26"/>
                <a:gd fmla="*/ 2147483647 h 131" name="T27"/>
                <a:gd fmla="*/ 2147483647 w 133" name="T28"/>
                <a:gd fmla="*/ 2147483647 h 131" name="T29"/>
                <a:gd fmla="*/ 2147483647 w 133" name="T30"/>
                <a:gd fmla="*/ 2147483647 h 131" name="T31"/>
                <a:gd fmla="*/ 2147483647 w 133" name="T32"/>
                <a:gd fmla="*/ 2147483647 h 131" name="T33"/>
                <a:gd fmla="*/ 2147483647 w 133" name="T34"/>
                <a:gd fmla="*/ 2147483647 h 131" name="T35"/>
                <a:gd fmla="*/ 2147483647 w 133" name="T36"/>
                <a:gd fmla="*/ 2147483647 h 131" name="T37"/>
                <a:gd fmla="*/ 2147483647 w 133" name="T38"/>
                <a:gd fmla="*/ 2147483647 h 131" name="T39"/>
                <a:gd fmla="*/ 2147483647 w 133" name="T40"/>
                <a:gd fmla="*/ 2147483647 h 131" name="T41"/>
                <a:gd fmla="*/ 2147483647 w 133" name="T42"/>
                <a:gd fmla="*/ 2147483647 h 131" name="T43"/>
                <a:gd fmla="*/ 2147483647 w 133" name="T44"/>
                <a:gd fmla="*/ 2147483647 h 131" name="T45"/>
                <a:gd fmla="*/ 2147483647 w 133" name="T46"/>
                <a:gd fmla="*/ 2147483647 h 131" name="T47"/>
                <a:gd fmla="*/ 2147483647 w 133" name="T48"/>
                <a:gd fmla="*/ 2147483647 h 131" name="T49"/>
                <a:gd fmla="*/ 2147483647 w 133" name="T50"/>
                <a:gd fmla="*/ 2147483647 h 131" name="T51"/>
                <a:gd fmla="*/ 2147483647 w 133" name="T52"/>
                <a:gd fmla="*/ 2147483647 h 131" name="T53"/>
                <a:gd fmla="*/ 2147483647 w 133" name="T54"/>
                <a:gd fmla="*/ 2147483647 h 131" name="T55"/>
                <a:gd fmla="*/ 2147483647 w 133" name="T56"/>
                <a:gd fmla="*/ 2147483647 h 131" name="T57"/>
                <a:gd fmla="*/ 2147483647 w 133" name="T58"/>
                <a:gd fmla="*/ 2147483647 h 131" name="T59"/>
                <a:gd fmla="*/ 2147483647 w 133" name="T60"/>
                <a:gd fmla="*/ 2147483647 h 131" name="T61"/>
                <a:gd fmla="*/ 2147483647 w 133" name="T62"/>
                <a:gd fmla="*/ 2147483647 h 131" name="T63"/>
                <a:gd fmla="*/ 2147483647 w 133" name="T64"/>
                <a:gd fmla="*/ 2147483647 h 131" name="T65"/>
                <a:gd fmla="*/ 2147483647 w 133" name="T66"/>
                <a:gd fmla="*/ 2147483647 h 131" name="T67"/>
                <a:gd fmla="*/ 2147483647 w 133" name="T68"/>
                <a:gd fmla="*/ 2147483647 h 131" name="T69"/>
                <a:gd fmla="*/ 2147483647 w 133" name="T70"/>
                <a:gd fmla="*/ 2147483647 h 131" name="T71"/>
                <a:gd fmla="*/ 2147483647 w 133" name="T72"/>
                <a:gd fmla="*/ 2147483647 h 131" name="T73"/>
                <a:gd fmla="*/ 2147483647 w 133" name="T74"/>
                <a:gd fmla="*/ 2147483647 h 131" name="T75"/>
                <a:gd fmla="*/ 2147483647 w 133" name="T76"/>
                <a:gd fmla="*/ 2147483647 h 131" name="T77"/>
                <a:gd fmla="*/ 2147483647 w 133" name="T78"/>
                <a:gd fmla="*/ 2147483647 h 131" name="T79"/>
                <a:gd fmla="*/ 2147483647 w 133" name="T80"/>
                <a:gd fmla="*/ 2147483647 h 131" name="T81"/>
                <a:gd fmla="*/ 2147483647 w 133" name="T82"/>
                <a:gd fmla="*/ 2147483647 h 131" name="T83"/>
                <a:gd fmla="*/ 2147483647 w 133" name="T84"/>
                <a:gd fmla="*/ 2147483647 h 131" name="T85"/>
                <a:gd fmla="*/ 0 60000 65536" name="T86"/>
                <a:gd fmla="*/ 0 60000 65536" name="T87"/>
                <a:gd fmla="*/ 0 60000 65536" name="T88"/>
                <a:gd fmla="*/ 0 60000 65536" name="T89"/>
                <a:gd fmla="*/ 0 60000 65536" name="T90"/>
                <a:gd fmla="*/ 0 60000 65536" name="T91"/>
                <a:gd fmla="*/ 0 60000 65536" name="T92"/>
                <a:gd fmla="*/ 0 60000 65536"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b="b" l="0" r="r" t="0"/>
              <a:pathLst>
                <a:path h="131" w="133">
                  <a:moveTo>
                    <a:pt x="67" y="130"/>
                  </a:moveTo>
                  <a:cubicBezTo>
                    <a:pt x="65" y="130"/>
                    <a:pt x="63" y="130"/>
                    <a:pt x="60" y="130"/>
                  </a:cubicBezTo>
                  <a:cubicBezTo>
                    <a:pt x="59" y="130"/>
                    <a:pt x="58" y="130"/>
                    <a:pt x="57" y="128"/>
                  </a:cubicBezTo>
                  <a:cubicBezTo>
                    <a:pt x="56" y="126"/>
                    <a:pt x="55" y="124"/>
                    <a:pt x="54" y="122"/>
                  </a:cubicBezTo>
                  <a:cubicBezTo>
                    <a:pt x="52" y="119"/>
                    <a:pt x="51" y="117"/>
                    <a:pt x="50" y="114"/>
                  </a:cubicBezTo>
                  <a:cubicBezTo>
                    <a:pt x="50" y="113"/>
                    <a:pt x="49" y="113"/>
                    <a:pt x="48" y="112"/>
                  </a:cubicBezTo>
                  <a:cubicBezTo>
                    <a:pt x="46" y="111"/>
                    <a:pt x="44" y="111"/>
                    <a:pt x="41" y="112"/>
                  </a:cubicBezTo>
                  <a:cubicBezTo>
                    <a:pt x="37" y="114"/>
                    <a:pt x="33" y="115"/>
                    <a:pt x="29" y="117"/>
                  </a:cubicBezTo>
                  <a:cubicBezTo>
                    <a:pt x="27" y="118"/>
                    <a:pt x="26" y="117"/>
                    <a:pt x="24" y="116"/>
                  </a:cubicBezTo>
                  <a:cubicBezTo>
                    <a:pt x="21" y="113"/>
                    <a:pt x="18" y="110"/>
                    <a:pt x="15" y="107"/>
                  </a:cubicBezTo>
                  <a:cubicBezTo>
                    <a:pt x="14" y="106"/>
                    <a:pt x="14" y="105"/>
                    <a:pt x="14" y="103"/>
                  </a:cubicBezTo>
                  <a:cubicBezTo>
                    <a:pt x="15" y="101"/>
                    <a:pt x="16" y="98"/>
                    <a:pt x="17" y="96"/>
                  </a:cubicBezTo>
                  <a:cubicBezTo>
                    <a:pt x="18" y="93"/>
                    <a:pt x="19" y="91"/>
                    <a:pt x="20" y="88"/>
                  </a:cubicBezTo>
                  <a:cubicBezTo>
                    <a:pt x="20" y="87"/>
                    <a:pt x="20" y="86"/>
                    <a:pt x="20" y="86"/>
                  </a:cubicBezTo>
                  <a:cubicBezTo>
                    <a:pt x="19" y="83"/>
                    <a:pt x="18" y="82"/>
                    <a:pt x="15" y="81"/>
                  </a:cubicBezTo>
                  <a:cubicBezTo>
                    <a:pt x="11" y="80"/>
                    <a:pt x="7" y="78"/>
                    <a:pt x="4" y="76"/>
                  </a:cubicBezTo>
                  <a:cubicBezTo>
                    <a:pt x="1" y="75"/>
                    <a:pt x="0" y="74"/>
                    <a:pt x="0" y="71"/>
                  </a:cubicBezTo>
                  <a:cubicBezTo>
                    <a:pt x="1" y="67"/>
                    <a:pt x="0" y="63"/>
                    <a:pt x="0" y="59"/>
                  </a:cubicBezTo>
                  <a:cubicBezTo>
                    <a:pt x="0" y="57"/>
                    <a:pt x="1" y="56"/>
                    <a:pt x="2" y="56"/>
                  </a:cubicBezTo>
                  <a:cubicBezTo>
                    <a:pt x="4" y="54"/>
                    <a:pt x="6" y="53"/>
                    <a:pt x="9" y="52"/>
                  </a:cubicBezTo>
                  <a:cubicBezTo>
                    <a:pt x="11" y="51"/>
                    <a:pt x="14" y="50"/>
                    <a:pt x="17" y="49"/>
                  </a:cubicBezTo>
                  <a:cubicBezTo>
                    <a:pt x="18" y="49"/>
                    <a:pt x="18" y="48"/>
                    <a:pt x="19" y="47"/>
                  </a:cubicBezTo>
                  <a:cubicBezTo>
                    <a:pt x="20" y="45"/>
                    <a:pt x="20" y="43"/>
                    <a:pt x="19" y="41"/>
                  </a:cubicBezTo>
                  <a:cubicBezTo>
                    <a:pt x="17" y="37"/>
                    <a:pt x="16" y="33"/>
                    <a:pt x="14" y="29"/>
                  </a:cubicBezTo>
                  <a:cubicBezTo>
                    <a:pt x="13" y="27"/>
                    <a:pt x="14" y="25"/>
                    <a:pt x="15" y="24"/>
                  </a:cubicBezTo>
                  <a:cubicBezTo>
                    <a:pt x="18" y="21"/>
                    <a:pt x="21" y="18"/>
                    <a:pt x="24" y="15"/>
                  </a:cubicBezTo>
                  <a:cubicBezTo>
                    <a:pt x="25" y="14"/>
                    <a:pt x="27" y="13"/>
                    <a:pt x="29" y="14"/>
                  </a:cubicBezTo>
                  <a:cubicBezTo>
                    <a:pt x="34" y="16"/>
                    <a:pt x="38" y="18"/>
                    <a:pt x="43" y="19"/>
                  </a:cubicBezTo>
                  <a:cubicBezTo>
                    <a:pt x="44" y="20"/>
                    <a:pt x="45" y="20"/>
                    <a:pt x="46" y="19"/>
                  </a:cubicBezTo>
                  <a:cubicBezTo>
                    <a:pt x="49" y="19"/>
                    <a:pt x="50" y="17"/>
                    <a:pt x="51" y="15"/>
                  </a:cubicBezTo>
                  <a:cubicBezTo>
                    <a:pt x="52" y="11"/>
                    <a:pt x="54" y="7"/>
                    <a:pt x="56" y="3"/>
                  </a:cubicBezTo>
                  <a:cubicBezTo>
                    <a:pt x="56" y="1"/>
                    <a:pt x="58" y="0"/>
                    <a:pt x="61" y="0"/>
                  </a:cubicBezTo>
                  <a:cubicBezTo>
                    <a:pt x="65" y="0"/>
                    <a:pt x="69" y="0"/>
                    <a:pt x="73" y="0"/>
                  </a:cubicBezTo>
                  <a:cubicBezTo>
                    <a:pt x="75" y="0"/>
                    <a:pt x="76" y="1"/>
                    <a:pt x="77" y="3"/>
                  </a:cubicBezTo>
                  <a:cubicBezTo>
                    <a:pt x="78" y="5"/>
                    <a:pt x="79" y="8"/>
                    <a:pt x="80" y="10"/>
                  </a:cubicBezTo>
                  <a:cubicBezTo>
                    <a:pt x="81" y="12"/>
                    <a:pt x="82" y="15"/>
                    <a:pt x="83" y="17"/>
                  </a:cubicBezTo>
                  <a:cubicBezTo>
                    <a:pt x="84" y="17"/>
                    <a:pt x="84" y="18"/>
                    <a:pt x="85" y="18"/>
                  </a:cubicBezTo>
                  <a:cubicBezTo>
                    <a:pt x="87" y="20"/>
                    <a:pt x="89" y="20"/>
                    <a:pt x="92" y="18"/>
                  </a:cubicBezTo>
                  <a:cubicBezTo>
                    <a:pt x="96" y="17"/>
                    <a:pt x="100" y="15"/>
                    <a:pt x="104" y="14"/>
                  </a:cubicBezTo>
                  <a:cubicBezTo>
                    <a:pt x="106" y="13"/>
                    <a:pt x="108" y="13"/>
                    <a:pt x="109" y="15"/>
                  </a:cubicBezTo>
                  <a:cubicBezTo>
                    <a:pt x="112" y="18"/>
                    <a:pt x="115" y="20"/>
                    <a:pt x="118" y="23"/>
                  </a:cubicBezTo>
                  <a:cubicBezTo>
                    <a:pt x="119" y="25"/>
                    <a:pt x="120" y="26"/>
                    <a:pt x="119" y="29"/>
                  </a:cubicBezTo>
                  <a:cubicBezTo>
                    <a:pt x="117" y="33"/>
                    <a:pt x="116" y="37"/>
                    <a:pt x="114" y="42"/>
                  </a:cubicBezTo>
                  <a:cubicBezTo>
                    <a:pt x="113" y="43"/>
                    <a:pt x="113" y="44"/>
                    <a:pt x="114" y="46"/>
                  </a:cubicBezTo>
                  <a:cubicBezTo>
                    <a:pt x="114" y="48"/>
                    <a:pt x="115" y="49"/>
                    <a:pt x="117" y="49"/>
                  </a:cubicBezTo>
                  <a:cubicBezTo>
                    <a:pt x="122" y="51"/>
                    <a:pt x="126" y="53"/>
                    <a:pt x="130" y="54"/>
                  </a:cubicBezTo>
                  <a:cubicBezTo>
                    <a:pt x="132" y="55"/>
                    <a:pt x="133" y="57"/>
                    <a:pt x="133" y="59"/>
                  </a:cubicBezTo>
                  <a:cubicBezTo>
                    <a:pt x="133" y="63"/>
                    <a:pt x="133" y="68"/>
                    <a:pt x="133" y="72"/>
                  </a:cubicBezTo>
                  <a:cubicBezTo>
                    <a:pt x="133" y="73"/>
                    <a:pt x="132" y="74"/>
                    <a:pt x="131" y="75"/>
                  </a:cubicBezTo>
                  <a:cubicBezTo>
                    <a:pt x="129" y="76"/>
                    <a:pt x="127" y="77"/>
                    <a:pt x="125" y="78"/>
                  </a:cubicBezTo>
                  <a:cubicBezTo>
                    <a:pt x="122" y="79"/>
                    <a:pt x="119" y="81"/>
                    <a:pt x="116" y="82"/>
                  </a:cubicBezTo>
                  <a:cubicBezTo>
                    <a:pt x="115" y="82"/>
                    <a:pt x="115" y="83"/>
                    <a:pt x="114" y="83"/>
                  </a:cubicBezTo>
                  <a:cubicBezTo>
                    <a:pt x="113" y="86"/>
                    <a:pt x="113" y="88"/>
                    <a:pt x="114" y="90"/>
                  </a:cubicBezTo>
                  <a:cubicBezTo>
                    <a:pt x="116" y="94"/>
                    <a:pt x="118" y="98"/>
                    <a:pt x="119" y="101"/>
                  </a:cubicBezTo>
                  <a:cubicBezTo>
                    <a:pt x="120" y="104"/>
                    <a:pt x="120" y="105"/>
                    <a:pt x="118" y="107"/>
                  </a:cubicBezTo>
                  <a:cubicBezTo>
                    <a:pt x="115" y="110"/>
                    <a:pt x="112" y="112"/>
                    <a:pt x="110" y="115"/>
                  </a:cubicBezTo>
                  <a:cubicBezTo>
                    <a:pt x="108" y="117"/>
                    <a:pt x="106" y="117"/>
                    <a:pt x="104" y="117"/>
                  </a:cubicBezTo>
                  <a:cubicBezTo>
                    <a:pt x="99" y="115"/>
                    <a:pt x="95" y="113"/>
                    <a:pt x="90" y="111"/>
                  </a:cubicBezTo>
                  <a:cubicBezTo>
                    <a:pt x="89" y="111"/>
                    <a:pt x="88" y="111"/>
                    <a:pt x="87" y="111"/>
                  </a:cubicBezTo>
                  <a:cubicBezTo>
                    <a:pt x="85" y="112"/>
                    <a:pt x="83" y="113"/>
                    <a:pt x="83" y="116"/>
                  </a:cubicBezTo>
                  <a:cubicBezTo>
                    <a:pt x="81" y="120"/>
                    <a:pt x="79" y="124"/>
                    <a:pt x="78" y="127"/>
                  </a:cubicBezTo>
                  <a:cubicBezTo>
                    <a:pt x="77" y="129"/>
                    <a:pt x="75" y="131"/>
                    <a:pt x="73" y="130"/>
                  </a:cubicBezTo>
                  <a:cubicBezTo>
                    <a:pt x="71" y="130"/>
                    <a:pt x="69" y="130"/>
                    <a:pt x="67" y="130"/>
                  </a:cubicBezTo>
                  <a:close/>
                  <a:moveTo>
                    <a:pt x="112" y="28"/>
                  </a:moveTo>
                  <a:cubicBezTo>
                    <a:pt x="111" y="27"/>
                    <a:pt x="111" y="27"/>
                    <a:pt x="111" y="27"/>
                  </a:cubicBezTo>
                  <a:cubicBezTo>
                    <a:pt x="109" y="25"/>
                    <a:pt x="107" y="24"/>
                    <a:pt x="106" y="22"/>
                  </a:cubicBezTo>
                  <a:cubicBezTo>
                    <a:pt x="105" y="21"/>
                    <a:pt x="104" y="21"/>
                    <a:pt x="103" y="21"/>
                  </a:cubicBezTo>
                  <a:cubicBezTo>
                    <a:pt x="99" y="23"/>
                    <a:pt x="95" y="25"/>
                    <a:pt x="91" y="27"/>
                  </a:cubicBezTo>
                  <a:cubicBezTo>
                    <a:pt x="89" y="28"/>
                    <a:pt x="88" y="28"/>
                    <a:pt x="86" y="27"/>
                  </a:cubicBezTo>
                  <a:cubicBezTo>
                    <a:pt x="84" y="26"/>
                    <a:pt x="82" y="25"/>
                    <a:pt x="80" y="25"/>
                  </a:cubicBezTo>
                  <a:cubicBezTo>
                    <a:pt x="79" y="24"/>
                    <a:pt x="78" y="23"/>
                    <a:pt x="77" y="21"/>
                  </a:cubicBezTo>
                  <a:cubicBezTo>
                    <a:pt x="75" y="17"/>
                    <a:pt x="74" y="13"/>
                    <a:pt x="72" y="9"/>
                  </a:cubicBezTo>
                  <a:cubicBezTo>
                    <a:pt x="71" y="8"/>
                    <a:pt x="71" y="8"/>
                    <a:pt x="70" y="8"/>
                  </a:cubicBezTo>
                  <a:cubicBezTo>
                    <a:pt x="68" y="8"/>
                    <a:pt x="65" y="8"/>
                    <a:pt x="63" y="8"/>
                  </a:cubicBezTo>
                  <a:cubicBezTo>
                    <a:pt x="62" y="8"/>
                    <a:pt x="61" y="8"/>
                    <a:pt x="61" y="9"/>
                  </a:cubicBezTo>
                  <a:cubicBezTo>
                    <a:pt x="59" y="13"/>
                    <a:pt x="58" y="17"/>
                    <a:pt x="56" y="22"/>
                  </a:cubicBezTo>
                  <a:cubicBezTo>
                    <a:pt x="55" y="23"/>
                    <a:pt x="55" y="24"/>
                    <a:pt x="53" y="24"/>
                  </a:cubicBezTo>
                  <a:cubicBezTo>
                    <a:pt x="51" y="25"/>
                    <a:pt x="49" y="26"/>
                    <a:pt x="47" y="27"/>
                  </a:cubicBezTo>
                  <a:cubicBezTo>
                    <a:pt x="45" y="28"/>
                    <a:pt x="44" y="28"/>
                    <a:pt x="42" y="27"/>
                  </a:cubicBezTo>
                  <a:cubicBezTo>
                    <a:pt x="38" y="25"/>
                    <a:pt x="34" y="24"/>
                    <a:pt x="29" y="22"/>
                  </a:cubicBezTo>
                  <a:cubicBezTo>
                    <a:pt x="29" y="21"/>
                    <a:pt x="28" y="22"/>
                    <a:pt x="27" y="22"/>
                  </a:cubicBezTo>
                  <a:cubicBezTo>
                    <a:pt x="26" y="24"/>
                    <a:pt x="24" y="26"/>
                    <a:pt x="22" y="27"/>
                  </a:cubicBezTo>
                  <a:cubicBezTo>
                    <a:pt x="22" y="28"/>
                    <a:pt x="21" y="28"/>
                    <a:pt x="22" y="29"/>
                  </a:cubicBezTo>
                  <a:cubicBezTo>
                    <a:pt x="24" y="33"/>
                    <a:pt x="25" y="37"/>
                    <a:pt x="27" y="42"/>
                  </a:cubicBezTo>
                  <a:cubicBezTo>
                    <a:pt x="28" y="43"/>
                    <a:pt x="28" y="44"/>
                    <a:pt x="27" y="46"/>
                  </a:cubicBezTo>
                  <a:cubicBezTo>
                    <a:pt x="27" y="48"/>
                    <a:pt x="26" y="50"/>
                    <a:pt x="25" y="52"/>
                  </a:cubicBezTo>
                  <a:cubicBezTo>
                    <a:pt x="24" y="54"/>
                    <a:pt x="23" y="54"/>
                    <a:pt x="22" y="55"/>
                  </a:cubicBezTo>
                  <a:cubicBezTo>
                    <a:pt x="17" y="57"/>
                    <a:pt x="13" y="59"/>
                    <a:pt x="9" y="60"/>
                  </a:cubicBezTo>
                  <a:cubicBezTo>
                    <a:pt x="8" y="61"/>
                    <a:pt x="8" y="61"/>
                    <a:pt x="8" y="62"/>
                  </a:cubicBezTo>
                  <a:cubicBezTo>
                    <a:pt x="8" y="64"/>
                    <a:pt x="8" y="67"/>
                    <a:pt x="8" y="69"/>
                  </a:cubicBezTo>
                  <a:cubicBezTo>
                    <a:pt x="8" y="70"/>
                    <a:pt x="8" y="70"/>
                    <a:pt x="9" y="71"/>
                  </a:cubicBezTo>
                  <a:cubicBezTo>
                    <a:pt x="13" y="72"/>
                    <a:pt x="17" y="74"/>
                    <a:pt x="22" y="76"/>
                  </a:cubicBezTo>
                  <a:cubicBezTo>
                    <a:pt x="23" y="76"/>
                    <a:pt x="24" y="77"/>
                    <a:pt x="25" y="79"/>
                  </a:cubicBezTo>
                  <a:cubicBezTo>
                    <a:pt x="26" y="81"/>
                    <a:pt x="27" y="83"/>
                    <a:pt x="27" y="85"/>
                  </a:cubicBezTo>
                  <a:cubicBezTo>
                    <a:pt x="28" y="86"/>
                    <a:pt x="28" y="88"/>
                    <a:pt x="27" y="89"/>
                  </a:cubicBezTo>
                  <a:cubicBezTo>
                    <a:pt x="26" y="93"/>
                    <a:pt x="24" y="98"/>
                    <a:pt x="22" y="102"/>
                  </a:cubicBezTo>
                  <a:cubicBezTo>
                    <a:pt x="22" y="103"/>
                    <a:pt x="22" y="103"/>
                    <a:pt x="23" y="104"/>
                  </a:cubicBezTo>
                  <a:cubicBezTo>
                    <a:pt x="24" y="105"/>
                    <a:pt x="26" y="107"/>
                    <a:pt x="28" y="109"/>
                  </a:cubicBezTo>
                  <a:cubicBezTo>
                    <a:pt x="28" y="109"/>
                    <a:pt x="29" y="110"/>
                    <a:pt x="30" y="109"/>
                  </a:cubicBezTo>
                  <a:cubicBezTo>
                    <a:pt x="34" y="107"/>
                    <a:pt x="38" y="106"/>
                    <a:pt x="42" y="104"/>
                  </a:cubicBezTo>
                  <a:cubicBezTo>
                    <a:pt x="44" y="103"/>
                    <a:pt x="45" y="103"/>
                    <a:pt x="47" y="104"/>
                  </a:cubicBezTo>
                  <a:cubicBezTo>
                    <a:pt x="49" y="105"/>
                    <a:pt x="51" y="105"/>
                    <a:pt x="53" y="106"/>
                  </a:cubicBezTo>
                  <a:cubicBezTo>
                    <a:pt x="55" y="107"/>
                    <a:pt x="56" y="108"/>
                    <a:pt x="56" y="109"/>
                  </a:cubicBezTo>
                  <a:cubicBezTo>
                    <a:pt x="58" y="113"/>
                    <a:pt x="60" y="118"/>
                    <a:pt x="61" y="122"/>
                  </a:cubicBezTo>
                  <a:cubicBezTo>
                    <a:pt x="62" y="123"/>
                    <a:pt x="62" y="123"/>
                    <a:pt x="63" y="123"/>
                  </a:cubicBezTo>
                  <a:cubicBezTo>
                    <a:pt x="66" y="123"/>
                    <a:pt x="68" y="123"/>
                    <a:pt x="71" y="123"/>
                  </a:cubicBezTo>
                  <a:cubicBezTo>
                    <a:pt x="72" y="123"/>
                    <a:pt x="72" y="123"/>
                    <a:pt x="72" y="122"/>
                  </a:cubicBezTo>
                  <a:cubicBezTo>
                    <a:pt x="74" y="118"/>
                    <a:pt x="76" y="113"/>
                    <a:pt x="77" y="109"/>
                  </a:cubicBezTo>
                  <a:cubicBezTo>
                    <a:pt x="78" y="108"/>
                    <a:pt x="79" y="107"/>
                    <a:pt x="80" y="106"/>
                  </a:cubicBezTo>
                  <a:cubicBezTo>
                    <a:pt x="82" y="105"/>
                    <a:pt x="85" y="104"/>
                    <a:pt x="87" y="104"/>
                  </a:cubicBezTo>
                  <a:cubicBezTo>
                    <a:pt x="88" y="103"/>
                    <a:pt x="89" y="103"/>
                    <a:pt x="91" y="104"/>
                  </a:cubicBezTo>
                  <a:cubicBezTo>
                    <a:pt x="95" y="105"/>
                    <a:pt x="100" y="107"/>
                    <a:pt x="104" y="109"/>
                  </a:cubicBezTo>
                  <a:cubicBezTo>
                    <a:pt x="105" y="109"/>
                    <a:pt x="105" y="109"/>
                    <a:pt x="106" y="108"/>
                  </a:cubicBezTo>
                  <a:cubicBezTo>
                    <a:pt x="108" y="107"/>
                    <a:pt x="109" y="105"/>
                    <a:pt x="111" y="103"/>
                  </a:cubicBezTo>
                  <a:cubicBezTo>
                    <a:pt x="112" y="103"/>
                    <a:pt x="112" y="102"/>
                    <a:pt x="112" y="101"/>
                  </a:cubicBezTo>
                  <a:cubicBezTo>
                    <a:pt x="110" y="97"/>
                    <a:pt x="108" y="93"/>
                    <a:pt x="106" y="89"/>
                  </a:cubicBezTo>
                  <a:cubicBezTo>
                    <a:pt x="105" y="88"/>
                    <a:pt x="105" y="86"/>
                    <a:pt x="106" y="85"/>
                  </a:cubicBezTo>
                  <a:cubicBezTo>
                    <a:pt x="107" y="83"/>
                    <a:pt x="108" y="81"/>
                    <a:pt x="108" y="79"/>
                  </a:cubicBezTo>
                  <a:cubicBezTo>
                    <a:pt x="109" y="77"/>
                    <a:pt x="110" y="76"/>
                    <a:pt x="111" y="76"/>
                  </a:cubicBezTo>
                  <a:cubicBezTo>
                    <a:pt x="116" y="74"/>
                    <a:pt x="120" y="72"/>
                    <a:pt x="125" y="70"/>
                  </a:cubicBezTo>
                  <a:cubicBezTo>
                    <a:pt x="125" y="70"/>
                    <a:pt x="126" y="69"/>
                    <a:pt x="126" y="69"/>
                  </a:cubicBezTo>
                  <a:cubicBezTo>
                    <a:pt x="126" y="66"/>
                    <a:pt x="126" y="64"/>
                    <a:pt x="126" y="62"/>
                  </a:cubicBezTo>
                  <a:cubicBezTo>
                    <a:pt x="126" y="61"/>
                    <a:pt x="125" y="60"/>
                    <a:pt x="124" y="60"/>
                  </a:cubicBezTo>
                  <a:cubicBezTo>
                    <a:pt x="120" y="58"/>
                    <a:pt x="116" y="57"/>
                    <a:pt x="111" y="55"/>
                  </a:cubicBezTo>
                  <a:cubicBezTo>
                    <a:pt x="110" y="54"/>
                    <a:pt x="109" y="53"/>
                    <a:pt x="108" y="52"/>
                  </a:cubicBezTo>
                  <a:cubicBezTo>
                    <a:pt x="108" y="50"/>
                    <a:pt x="107" y="48"/>
                    <a:pt x="106" y="46"/>
                  </a:cubicBezTo>
                  <a:cubicBezTo>
                    <a:pt x="105" y="44"/>
                    <a:pt x="105" y="43"/>
                    <a:pt x="106" y="42"/>
                  </a:cubicBezTo>
                  <a:cubicBezTo>
                    <a:pt x="108" y="37"/>
                    <a:pt x="109" y="33"/>
                    <a:pt x="111" y="29"/>
                  </a:cubicBezTo>
                  <a:cubicBezTo>
                    <a:pt x="111" y="29"/>
                    <a:pt x="111" y="28"/>
                    <a:pt x="112" y="28"/>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36" name="Freeform 23">
              <a:extLst>
                <a:ext uri="{FF2B5EF4-FFF2-40B4-BE49-F238E27FC236}">
                  <a16:creationId xmlns:a16="http://schemas.microsoft.com/office/drawing/2014/main" id="{703A6F9F-4C4C-473D-B474-C8687515C64B}"/>
                </a:ext>
              </a:extLst>
            </p:cNvPr>
            <p:cNvSpPr>
              <a:spLocks noEditPoints="1"/>
            </p:cNvSpPr>
            <p:nvPr/>
          </p:nvSpPr>
          <p:spPr bwMode="auto">
            <a:xfrm>
              <a:off x="5233193" y="2789238"/>
              <a:ext cx="68263" cy="68263"/>
            </a:xfrm>
            <a:custGeom>
              <a:gdLst>
                <a:gd fmla="*/ 2147483647 w 47" name="T0"/>
                <a:gd fmla="*/ 2147483647 h 47" name="T1"/>
                <a:gd fmla="*/ 0 w 47" name="T2"/>
                <a:gd fmla="*/ 2147483647 h 47" name="T3"/>
                <a:gd fmla="*/ 2147483647 w 47" name="T4"/>
                <a:gd fmla="*/ 0 h 47" name="T5"/>
                <a:gd fmla="*/ 2147483647 w 47" name="T6"/>
                <a:gd fmla="*/ 2147483647 h 47" name="T7"/>
                <a:gd fmla="*/ 2147483647 w 47" name="T8"/>
                <a:gd fmla="*/ 2147483647 h 47" name="T9"/>
                <a:gd fmla="*/ 2147483647 w 47" name="T10"/>
                <a:gd fmla="*/ 2147483647 h 47" name="T11"/>
                <a:gd fmla="*/ 2147483647 w 47" name="T12"/>
                <a:gd fmla="*/ 2147483647 h 47" name="T13"/>
                <a:gd fmla="*/ 2147483647 w 47" name="T14"/>
                <a:gd fmla="*/ 2147483647 h 47" name="T15"/>
                <a:gd fmla="*/ 2147483647 w 47" name="T16"/>
                <a:gd fmla="*/ 2147483647 h 47" name="T17"/>
                <a:gd fmla="*/ 2147483647 w 47" name="T18"/>
                <a:gd fmla="*/ 2147483647 h 47" name="T19"/>
                <a:gd fmla="*/ 0 60000 65536" name="T20"/>
                <a:gd fmla="*/ 0 60000 65536" name="T21"/>
                <a:gd fmla="*/ 0 60000 65536" name="T22"/>
                <a:gd fmla="*/ 0 60000 65536" name="T23"/>
                <a:gd fmla="*/ 0 60000 65536" name="T24"/>
                <a:gd fmla="*/ 0 60000 65536" name="T25"/>
                <a:gd fmla="*/ 0 60000 65536" name="T26"/>
                <a:gd fmla="*/ 0 60000 65536" name="T27"/>
                <a:gd fmla="*/ 0 60000 65536" name="T28"/>
                <a:gd fmla="*/ 0 60000 65536" name="T29"/>
              </a:gd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b="b" l="0" r="r" t="0"/>
              <a:pathLst>
                <a:path h="47" w="47">
                  <a:moveTo>
                    <a:pt x="24" y="47"/>
                  </a:moveTo>
                  <a:cubicBezTo>
                    <a:pt x="11" y="47"/>
                    <a:pt x="0" y="36"/>
                    <a:pt x="0" y="23"/>
                  </a:cubicBezTo>
                  <a:cubicBezTo>
                    <a:pt x="0" y="11"/>
                    <a:pt x="10" y="0"/>
                    <a:pt x="24" y="0"/>
                  </a:cubicBezTo>
                  <a:cubicBezTo>
                    <a:pt x="37" y="0"/>
                    <a:pt x="47" y="10"/>
                    <a:pt x="47" y="23"/>
                  </a:cubicBezTo>
                  <a:cubicBezTo>
                    <a:pt x="47" y="36"/>
                    <a:pt x="37" y="47"/>
                    <a:pt x="24" y="47"/>
                  </a:cubicBezTo>
                  <a:close/>
                  <a:moveTo>
                    <a:pt x="40" y="23"/>
                  </a:moveTo>
                  <a:cubicBezTo>
                    <a:pt x="40" y="15"/>
                    <a:pt x="33" y="7"/>
                    <a:pt x="24" y="7"/>
                  </a:cubicBezTo>
                  <a:cubicBezTo>
                    <a:pt x="15" y="7"/>
                    <a:pt x="7" y="14"/>
                    <a:pt x="7" y="23"/>
                  </a:cubicBezTo>
                  <a:cubicBezTo>
                    <a:pt x="7" y="32"/>
                    <a:pt x="15" y="39"/>
                    <a:pt x="24" y="39"/>
                  </a:cubicBezTo>
                  <a:cubicBezTo>
                    <a:pt x="33" y="39"/>
                    <a:pt x="40" y="32"/>
                    <a:pt x="40" y="23"/>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37" name="Freeform 24">
              <a:extLst>
                <a:ext uri="{FF2B5EF4-FFF2-40B4-BE49-F238E27FC236}">
                  <a16:creationId xmlns:a16="http://schemas.microsoft.com/office/drawing/2014/main" id="{7BEC37EF-2C5E-4A83-9D45-5A768B4017A0}"/>
                </a:ext>
              </a:extLst>
            </p:cNvPr>
            <p:cNvSpPr/>
            <p:nvPr/>
          </p:nvSpPr>
          <p:spPr bwMode="auto">
            <a:xfrm>
              <a:off x="5695156" y="3054351"/>
              <a:ext cx="155575" cy="225425"/>
            </a:xfrm>
            <a:custGeom>
              <a:gdLst>
                <a:gd fmla="*/ 0 w 107" name="T0"/>
                <a:gd fmla="*/ 2147483647 h 155" name="T1"/>
                <a:gd fmla="*/ 0 w 107" name="T2"/>
                <a:gd fmla="*/ 2147483647 h 155" name="T3"/>
                <a:gd fmla="*/ 2147483647 w 107" name="T4"/>
                <a:gd fmla="*/ 2147483647 h 155" name="T5"/>
                <a:gd fmla="*/ 2147483647 w 107" name="T6"/>
                <a:gd fmla="*/ 2147483647 h 155" name="T7"/>
                <a:gd fmla="*/ 2147483647 w 107" name="T8"/>
                <a:gd fmla="*/ 2147483647 h 155" name="T9"/>
                <a:gd fmla="*/ 2147483647 w 107" name="T10"/>
                <a:gd fmla="*/ 2147483647 h 155" name="T11"/>
                <a:gd fmla="*/ 0 w 107" name="T12"/>
                <a:gd fmla="*/ 2147483647 h 155" name="T13"/>
                <a:gd fmla="*/ 0 60000 65536" name="T14"/>
                <a:gd fmla="*/ 0 60000 65536" name="T15"/>
                <a:gd fmla="*/ 0 60000 65536" name="T16"/>
                <a:gd fmla="*/ 0 60000 65536" name="T17"/>
                <a:gd fmla="*/ 0 60000 65536" name="T18"/>
                <a:gd fmla="*/ 0 60000 65536" name="T19"/>
                <a:gd fmla="*/ 0 60000 65536" name="T20"/>
              </a:gdLst>
              <a:cxnLst>
                <a:cxn ang="T14">
                  <a:pos x="T0" y="T1"/>
                </a:cxn>
                <a:cxn ang="T15">
                  <a:pos x="T2" y="T3"/>
                </a:cxn>
                <a:cxn ang="T16">
                  <a:pos x="T4" y="T5"/>
                </a:cxn>
                <a:cxn ang="T17">
                  <a:pos x="T6" y="T7"/>
                </a:cxn>
                <a:cxn ang="T18">
                  <a:pos x="T8" y="T9"/>
                </a:cxn>
                <a:cxn ang="T19">
                  <a:pos x="T10" y="T11"/>
                </a:cxn>
                <a:cxn ang="T20">
                  <a:pos x="T12" y="T13"/>
                </a:cxn>
              </a:cxnLst>
              <a:rect b="b" l="0" r="r" t="0"/>
              <a:pathLst>
                <a:path h="155" w="107">
                  <a:moveTo>
                    <a:pt x="0" y="155"/>
                  </a:moveTo>
                  <a:cubicBezTo>
                    <a:pt x="0" y="123"/>
                    <a:pt x="0" y="91"/>
                    <a:pt x="0" y="60"/>
                  </a:cubicBezTo>
                  <a:cubicBezTo>
                    <a:pt x="0" y="34"/>
                    <a:pt x="17" y="13"/>
                    <a:pt x="42" y="7"/>
                  </a:cubicBezTo>
                  <a:cubicBezTo>
                    <a:pt x="74" y="0"/>
                    <a:pt x="105" y="23"/>
                    <a:pt x="107" y="56"/>
                  </a:cubicBezTo>
                  <a:cubicBezTo>
                    <a:pt x="107" y="58"/>
                    <a:pt x="107" y="60"/>
                    <a:pt x="107" y="62"/>
                  </a:cubicBezTo>
                  <a:cubicBezTo>
                    <a:pt x="107" y="93"/>
                    <a:pt x="107" y="124"/>
                    <a:pt x="107" y="155"/>
                  </a:cubicBezTo>
                  <a:cubicBezTo>
                    <a:pt x="72" y="155"/>
                    <a:pt x="36" y="155"/>
                    <a:pt x="0" y="155"/>
                  </a:cubicBezTo>
                  <a:close/>
                </a:path>
              </a:pathLst>
            </a:custGeom>
            <a:solidFill>
              <a:schemeClr val="bg1"/>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38" name="Freeform 25">
              <a:extLst>
                <a:ext uri="{FF2B5EF4-FFF2-40B4-BE49-F238E27FC236}">
                  <a16:creationId xmlns:a16="http://schemas.microsoft.com/office/drawing/2014/main" id="{3D8F0558-22A4-4D18-8892-6AB4E9402CF2}"/>
                </a:ext>
              </a:extLst>
            </p:cNvPr>
            <p:cNvSpPr/>
            <p:nvPr/>
          </p:nvSpPr>
          <p:spPr bwMode="auto">
            <a:xfrm>
              <a:off x="5718968" y="2947988"/>
              <a:ext cx="107950" cy="101600"/>
            </a:xfrm>
            <a:custGeom>
              <a:gdLst>
                <a:gd fmla="*/ 2147483647 w 74" name="T0"/>
                <a:gd fmla="*/ 0 h 69" name="T1"/>
                <a:gd fmla="*/ 2147483647 w 74" name="T2"/>
                <a:gd fmla="*/ 2147483647 h 69" name="T3"/>
                <a:gd fmla="*/ 2147483647 w 74" name="T4"/>
                <a:gd fmla="*/ 2147483647 h 69" name="T5"/>
                <a:gd fmla="*/ 2147483647 w 74" name="T6"/>
                <a:gd fmla="*/ 2147483647 h 69" name="T7"/>
                <a:gd fmla="*/ 2147483647 w 74" name="T8"/>
                <a:gd fmla="*/ 2147483647 h 69" name="T9"/>
                <a:gd fmla="*/ 2147483647 w 74" name="T10"/>
                <a:gd fmla="*/ 2147483647 h 69" name="T11"/>
                <a:gd fmla="*/ 2147483647 w 74" name="T12"/>
                <a:gd fmla="*/ 0 h 69" name="T13"/>
                <a:gd fmla="*/ 2147483647 w 74" name="T14"/>
                <a:gd fmla="*/ 0 h 69" name="T15"/>
                <a:gd fmla="*/ 0 60000 65536" name="T16"/>
                <a:gd fmla="*/ 0 60000 65536" name="T17"/>
                <a:gd fmla="*/ 0 60000 65536" name="T18"/>
                <a:gd fmla="*/ 0 60000 65536" name="T19"/>
                <a:gd fmla="*/ 0 60000 65536" name="T20"/>
                <a:gd fmla="*/ 0 60000 65536" name="T21"/>
                <a:gd fmla="*/ 0 60000 65536" name="T22"/>
                <a:gd fmla="*/ 0 60000 65536" name="T23"/>
              </a:gdLst>
              <a:cxnLst>
                <a:cxn ang="T16">
                  <a:pos x="T0" y="T1"/>
                </a:cxn>
                <a:cxn ang="T17">
                  <a:pos x="T2" y="T3"/>
                </a:cxn>
                <a:cxn ang="T18">
                  <a:pos x="T4" y="T5"/>
                </a:cxn>
                <a:cxn ang="T19">
                  <a:pos x="T6" y="T7"/>
                </a:cxn>
                <a:cxn ang="T20">
                  <a:pos x="T8" y="T9"/>
                </a:cxn>
                <a:cxn ang="T21">
                  <a:pos x="T10" y="T11"/>
                </a:cxn>
                <a:cxn ang="T22">
                  <a:pos x="T12" y="T13"/>
                </a:cxn>
                <a:cxn ang="T23">
                  <a:pos x="T14" y="T15"/>
                </a:cxn>
              </a:cxnLst>
              <a:rect b="b" l="0" r="r" t="0"/>
              <a:pathLst>
                <a:path h="69" w="74">
                  <a:moveTo>
                    <a:pt x="42" y="0"/>
                  </a:moveTo>
                  <a:cubicBezTo>
                    <a:pt x="44" y="1"/>
                    <a:pt x="47" y="1"/>
                    <a:pt x="49" y="2"/>
                  </a:cubicBezTo>
                  <a:cubicBezTo>
                    <a:pt x="65" y="8"/>
                    <a:pt x="74" y="24"/>
                    <a:pt x="71" y="40"/>
                  </a:cubicBezTo>
                  <a:cubicBezTo>
                    <a:pt x="69" y="56"/>
                    <a:pt x="54" y="68"/>
                    <a:pt x="38" y="69"/>
                  </a:cubicBezTo>
                  <a:cubicBezTo>
                    <a:pt x="21" y="69"/>
                    <a:pt x="7" y="57"/>
                    <a:pt x="4" y="41"/>
                  </a:cubicBezTo>
                  <a:cubicBezTo>
                    <a:pt x="0" y="22"/>
                    <a:pt x="13" y="4"/>
                    <a:pt x="32" y="1"/>
                  </a:cubicBezTo>
                  <a:cubicBezTo>
                    <a:pt x="32" y="0"/>
                    <a:pt x="33" y="0"/>
                    <a:pt x="33" y="0"/>
                  </a:cubicBezTo>
                  <a:cubicBezTo>
                    <a:pt x="36" y="0"/>
                    <a:pt x="39" y="0"/>
                    <a:pt x="42" y="0"/>
                  </a:cubicBezTo>
                  <a:close/>
                </a:path>
              </a:pathLst>
            </a:custGeom>
            <a:solidFill>
              <a:schemeClr val="bg1"/>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39" name="Freeform 26">
              <a:extLst>
                <a:ext uri="{FF2B5EF4-FFF2-40B4-BE49-F238E27FC236}">
                  <a16:creationId xmlns:a16="http://schemas.microsoft.com/office/drawing/2014/main" id="{73288BE5-1FE3-44DF-A23E-B0DE0A1241C2}"/>
                </a:ext>
              </a:extLst>
            </p:cNvPr>
            <p:cNvSpPr/>
            <p:nvPr/>
          </p:nvSpPr>
          <p:spPr bwMode="auto">
            <a:xfrm>
              <a:off x="5611018" y="2105026"/>
              <a:ext cx="334963" cy="203200"/>
            </a:xfrm>
            <a:custGeom>
              <a:gdLst>
                <a:gd fmla="*/ 2147483647 w 230" name="T0"/>
                <a:gd fmla="*/ 2147483647 h 140" name="T1"/>
                <a:gd fmla="*/ 2147483647 w 230" name="T2"/>
                <a:gd fmla="*/ 2147483647 h 140" name="T3"/>
                <a:gd fmla="*/ 2147483647 w 230" name="T4"/>
                <a:gd fmla="*/ 2147483647 h 140" name="T5"/>
                <a:gd fmla="*/ 2147483647 w 230" name="T6"/>
                <a:gd fmla="*/ 2147483647 h 140" name="T7"/>
                <a:gd fmla="*/ 2147483647 w 230" name="T8"/>
                <a:gd fmla="*/ 2147483647 h 140" name="T9"/>
                <a:gd fmla="*/ 2147483647 w 230" name="T10"/>
                <a:gd fmla="*/ 2147483647 h 140" name="T11"/>
                <a:gd fmla="*/ 2147483647 w 230" name="T12"/>
                <a:gd fmla="*/ 2147483647 h 140" name="T13"/>
                <a:gd fmla="*/ 2147483647 w 230" name="T14"/>
                <a:gd fmla="*/ 2147483647 h 140" name="T15"/>
                <a:gd fmla="*/ 2147483647 w 230" name="T16"/>
                <a:gd fmla="*/ 2147483647 h 140" name="T17"/>
                <a:gd fmla="*/ 2147483647 w 230" name="T18"/>
                <a:gd fmla="*/ 2147483647 h 140" name="T19"/>
                <a:gd fmla="*/ 0 60000 65536" name="T20"/>
                <a:gd fmla="*/ 0 60000 65536" name="T21"/>
                <a:gd fmla="*/ 0 60000 65536" name="T22"/>
                <a:gd fmla="*/ 0 60000 65536" name="T23"/>
                <a:gd fmla="*/ 0 60000 65536" name="T24"/>
                <a:gd fmla="*/ 0 60000 65536" name="T25"/>
                <a:gd fmla="*/ 0 60000 65536" name="T26"/>
                <a:gd fmla="*/ 0 60000 65536" name="T27"/>
                <a:gd fmla="*/ 0 60000 65536" name="T28"/>
                <a:gd fmla="*/ 0 60000 65536" name="T29"/>
              </a:gd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b="b" l="0" r="r" t="0"/>
              <a:pathLst>
                <a:path h="140" w="230">
                  <a:moveTo>
                    <a:pt x="31" y="62"/>
                  </a:moveTo>
                  <a:cubicBezTo>
                    <a:pt x="31" y="62"/>
                    <a:pt x="3" y="70"/>
                    <a:pt x="1" y="92"/>
                  </a:cubicBezTo>
                  <a:cubicBezTo>
                    <a:pt x="0" y="115"/>
                    <a:pt x="19" y="140"/>
                    <a:pt x="39" y="140"/>
                  </a:cubicBezTo>
                  <a:cubicBezTo>
                    <a:pt x="60" y="140"/>
                    <a:pt x="179" y="140"/>
                    <a:pt x="191" y="140"/>
                  </a:cubicBezTo>
                  <a:cubicBezTo>
                    <a:pt x="202" y="140"/>
                    <a:pt x="230" y="118"/>
                    <a:pt x="229" y="92"/>
                  </a:cubicBezTo>
                  <a:cubicBezTo>
                    <a:pt x="227" y="49"/>
                    <a:pt x="173" y="40"/>
                    <a:pt x="173" y="40"/>
                  </a:cubicBezTo>
                  <a:cubicBezTo>
                    <a:pt x="173" y="40"/>
                    <a:pt x="173" y="0"/>
                    <a:pt x="121" y="2"/>
                  </a:cubicBezTo>
                  <a:cubicBezTo>
                    <a:pt x="76" y="3"/>
                    <a:pt x="71" y="35"/>
                    <a:pt x="71" y="35"/>
                  </a:cubicBezTo>
                  <a:cubicBezTo>
                    <a:pt x="71" y="35"/>
                    <a:pt x="53" y="26"/>
                    <a:pt x="38" y="38"/>
                  </a:cubicBezTo>
                  <a:cubicBezTo>
                    <a:pt x="23" y="49"/>
                    <a:pt x="31" y="62"/>
                    <a:pt x="31" y="62"/>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40" name="Freeform 27">
              <a:extLst>
                <a:ext uri="{FF2B5EF4-FFF2-40B4-BE49-F238E27FC236}">
                  <a16:creationId xmlns:a16="http://schemas.microsoft.com/office/drawing/2014/main" id="{682167B4-D6E6-4EBC-A98C-67CBD90AC6FF}"/>
                </a:ext>
              </a:extLst>
            </p:cNvPr>
            <p:cNvSpPr/>
            <p:nvPr/>
          </p:nvSpPr>
          <p:spPr bwMode="auto">
            <a:xfrm>
              <a:off x="6199981" y="3717926"/>
              <a:ext cx="261938" cy="254000"/>
            </a:xfrm>
            <a:custGeom>
              <a:gdLst>
                <a:gd fmla="*/ 2147483647 w 165" name="T0"/>
                <a:gd fmla="*/ 2147483647 h 160" name="T1"/>
                <a:gd fmla="*/ 2147483647 w 165" name="T2"/>
                <a:gd fmla="*/ 2147483647 h 160" name="T3"/>
                <a:gd fmla="*/ 2147483647 w 165" name="T4"/>
                <a:gd fmla="*/ 0 h 160" name="T5"/>
                <a:gd fmla="*/ 2147483647 w 165" name="T6"/>
                <a:gd fmla="*/ 0 h 160" name="T7"/>
                <a:gd fmla="*/ 2147483647 w 165" name="T8"/>
                <a:gd fmla="*/ 2147483647 h 160" name="T9"/>
                <a:gd fmla="*/ 0 w 165" name="T10"/>
                <a:gd fmla="*/ 2147483647 h 160" name="T11"/>
                <a:gd fmla="*/ 0 w 165" name="T12"/>
                <a:gd fmla="*/ 2147483647 h 160" name="T13"/>
                <a:gd fmla="*/ 2147483647 w 165" name="T14"/>
                <a:gd fmla="*/ 2147483647 h 160" name="T15"/>
                <a:gd fmla="*/ 2147483647 w 165" name="T16"/>
                <a:gd fmla="*/ 2147483647 h 160" name="T17"/>
                <a:gd fmla="*/ 2147483647 w 165" name="T18"/>
                <a:gd fmla="*/ 2147483647 h 160" name="T19"/>
                <a:gd fmla="*/ 2147483647 w 165" name="T20"/>
                <a:gd fmla="*/ 2147483647 h 160" name="T21"/>
                <a:gd fmla="*/ 2147483647 w 165" name="T22"/>
                <a:gd fmla="*/ 2147483647 h 160" name="T23"/>
                <a:gd fmla="*/ 2147483647 w 165" name="T24"/>
                <a:gd fmla="*/ 2147483647 h 160" name="T25"/>
                <a:gd fmla="*/ 0 60000 65536" name="T26"/>
                <a:gd fmla="*/ 0 60000 65536" name="T27"/>
                <a:gd fmla="*/ 0 60000 65536" name="T28"/>
                <a:gd fmla="*/ 0 60000 65536" name="T29"/>
                <a:gd fmla="*/ 0 60000 65536" name="T30"/>
                <a:gd fmla="*/ 0 60000 65536" name="T31"/>
                <a:gd fmla="*/ 0 60000 65536" name="T32"/>
                <a:gd fmla="*/ 0 60000 65536" name="T33"/>
                <a:gd fmla="*/ 0 60000 65536" name="T34"/>
                <a:gd fmla="*/ 0 60000 65536" name="T35"/>
                <a:gd fmla="*/ 0 60000 65536" name="T36"/>
                <a:gd fmla="*/ 0 60000 65536" name="T37"/>
                <a:gd fmla="*/ 0 60000 65536" name="T38"/>
              </a:gd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b="b" l="0" r="r" t="0"/>
              <a:pathLst>
                <a:path h="160" w="165">
                  <a:moveTo>
                    <a:pt x="165" y="67"/>
                  </a:moveTo>
                  <a:lnTo>
                    <a:pt x="101" y="67"/>
                  </a:lnTo>
                  <a:lnTo>
                    <a:pt x="101" y="0"/>
                  </a:lnTo>
                  <a:lnTo>
                    <a:pt x="69" y="0"/>
                  </a:lnTo>
                  <a:lnTo>
                    <a:pt x="69" y="67"/>
                  </a:lnTo>
                  <a:lnTo>
                    <a:pt x="0" y="67"/>
                  </a:lnTo>
                  <a:lnTo>
                    <a:pt x="0" y="99"/>
                  </a:lnTo>
                  <a:lnTo>
                    <a:pt x="69" y="99"/>
                  </a:lnTo>
                  <a:lnTo>
                    <a:pt x="69" y="160"/>
                  </a:lnTo>
                  <a:lnTo>
                    <a:pt x="101" y="160"/>
                  </a:lnTo>
                  <a:lnTo>
                    <a:pt x="101" y="99"/>
                  </a:lnTo>
                  <a:lnTo>
                    <a:pt x="165" y="99"/>
                  </a:lnTo>
                  <a:lnTo>
                    <a:pt x="165" y="67"/>
                  </a:lnTo>
                  <a:close/>
                </a:path>
              </a:pathLst>
            </a:custGeom>
            <a:solidFill>
              <a:schemeClr val="bg1"/>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41" name="Freeform 28">
              <a:extLst>
                <a:ext uri="{FF2B5EF4-FFF2-40B4-BE49-F238E27FC236}">
                  <a16:creationId xmlns:a16="http://schemas.microsoft.com/office/drawing/2014/main" id="{96828D9F-A976-4234-AF91-149D1574D199}"/>
                </a:ext>
              </a:extLst>
            </p:cNvPr>
            <p:cNvSpPr/>
            <p:nvPr/>
          </p:nvSpPr>
          <p:spPr bwMode="auto">
            <a:xfrm>
              <a:off x="7482681" y="3484563"/>
              <a:ext cx="106363" cy="103188"/>
            </a:xfrm>
            <a:custGeom>
              <a:gdLst>
                <a:gd fmla="*/ 2147483647 w 67" name="T0"/>
                <a:gd fmla="*/ 2147483647 h 65" name="T1"/>
                <a:gd fmla="*/ 2147483647 w 67" name="T2"/>
                <a:gd fmla="*/ 2147483647 h 65" name="T3"/>
                <a:gd fmla="*/ 2147483647 w 67" name="T4"/>
                <a:gd fmla="*/ 0 h 65" name="T5"/>
                <a:gd fmla="*/ 2147483647 w 67" name="T6"/>
                <a:gd fmla="*/ 0 h 65" name="T7"/>
                <a:gd fmla="*/ 2147483647 w 67" name="T8"/>
                <a:gd fmla="*/ 2147483647 h 65" name="T9"/>
                <a:gd fmla="*/ 0 w 67" name="T10"/>
                <a:gd fmla="*/ 2147483647 h 65" name="T11"/>
                <a:gd fmla="*/ 0 w 67" name="T12"/>
                <a:gd fmla="*/ 2147483647 h 65" name="T13"/>
                <a:gd fmla="*/ 2147483647 w 67" name="T14"/>
                <a:gd fmla="*/ 2147483647 h 65" name="T15"/>
                <a:gd fmla="*/ 2147483647 w 67" name="T16"/>
                <a:gd fmla="*/ 2147483647 h 65" name="T17"/>
                <a:gd fmla="*/ 2147483647 w 67" name="T18"/>
                <a:gd fmla="*/ 2147483647 h 65" name="T19"/>
                <a:gd fmla="*/ 2147483647 w 67" name="T20"/>
                <a:gd fmla="*/ 2147483647 h 65" name="T21"/>
                <a:gd fmla="*/ 2147483647 w 67" name="T22"/>
                <a:gd fmla="*/ 2147483647 h 65" name="T23"/>
                <a:gd fmla="*/ 2147483647 w 67" name="T24"/>
                <a:gd fmla="*/ 2147483647 h 65" name="T25"/>
                <a:gd fmla="*/ 0 60000 65536" name="T26"/>
                <a:gd fmla="*/ 0 60000 65536" name="T27"/>
                <a:gd fmla="*/ 0 60000 65536" name="T28"/>
                <a:gd fmla="*/ 0 60000 65536" name="T29"/>
                <a:gd fmla="*/ 0 60000 65536" name="T30"/>
                <a:gd fmla="*/ 0 60000 65536" name="T31"/>
                <a:gd fmla="*/ 0 60000 65536" name="T32"/>
                <a:gd fmla="*/ 0 60000 65536" name="T33"/>
                <a:gd fmla="*/ 0 60000 65536" name="T34"/>
                <a:gd fmla="*/ 0 60000 65536" name="T35"/>
                <a:gd fmla="*/ 0 60000 65536" name="T36"/>
                <a:gd fmla="*/ 0 60000 65536" name="T37"/>
                <a:gd fmla="*/ 0 60000 65536" name="T38"/>
              </a:gd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b="b" l="0" r="r" t="0"/>
              <a:pathLst>
                <a:path h="65" w="67">
                  <a:moveTo>
                    <a:pt x="67" y="27"/>
                  </a:moveTo>
                  <a:lnTo>
                    <a:pt x="42" y="27"/>
                  </a:lnTo>
                  <a:lnTo>
                    <a:pt x="42" y="0"/>
                  </a:lnTo>
                  <a:lnTo>
                    <a:pt x="28" y="0"/>
                  </a:lnTo>
                  <a:lnTo>
                    <a:pt x="28" y="27"/>
                  </a:lnTo>
                  <a:lnTo>
                    <a:pt x="0" y="27"/>
                  </a:lnTo>
                  <a:lnTo>
                    <a:pt x="0" y="40"/>
                  </a:lnTo>
                  <a:lnTo>
                    <a:pt x="28" y="40"/>
                  </a:lnTo>
                  <a:lnTo>
                    <a:pt x="28" y="65"/>
                  </a:lnTo>
                  <a:lnTo>
                    <a:pt x="42" y="65"/>
                  </a:lnTo>
                  <a:lnTo>
                    <a:pt x="42" y="40"/>
                  </a:lnTo>
                  <a:lnTo>
                    <a:pt x="67" y="40"/>
                  </a:lnTo>
                  <a:lnTo>
                    <a:pt x="67" y="27"/>
                  </a:lnTo>
                  <a:close/>
                </a:path>
              </a:pathLst>
            </a:custGeom>
            <a:solidFill>
              <a:schemeClr val="dk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42" name="Freeform 29">
              <a:extLst>
                <a:ext uri="{FF2B5EF4-FFF2-40B4-BE49-F238E27FC236}">
                  <a16:creationId xmlns:a16="http://schemas.microsoft.com/office/drawing/2014/main" id="{99042239-39F3-4CF0-9937-F70D95DBBCFF}"/>
                </a:ext>
              </a:extLst>
            </p:cNvPr>
            <p:cNvSpPr/>
            <p:nvPr/>
          </p:nvSpPr>
          <p:spPr bwMode="auto">
            <a:xfrm>
              <a:off x="5628481" y="4583113"/>
              <a:ext cx="935038" cy="858838"/>
            </a:xfrm>
            <a:custGeom>
              <a:gdLst>
                <a:gd fmla="*/ 2147483647 w 642" name="T0"/>
                <a:gd fmla="*/ 0 h 589" name="T1"/>
                <a:gd fmla="*/ 2147483647 w 642" name="T2"/>
                <a:gd fmla="*/ 0 h 589" name="T3"/>
                <a:gd fmla="*/ 2147483647 w 642" name="T4"/>
                <a:gd fmla="*/ 2147483647 h 589" name="T5"/>
                <a:gd fmla="*/ 2147483647 w 642" name="T6"/>
                <a:gd fmla="*/ 2147483647 h 589" name="T7"/>
                <a:gd fmla="*/ 2147483647 w 642" name="T8"/>
                <a:gd fmla="*/ 2147483647 h 589" name="T9"/>
                <a:gd fmla="*/ 2147483647 w 642" name="T10"/>
                <a:gd fmla="*/ 2147483647 h 589" name="T11"/>
                <a:gd fmla="*/ 2147483647 w 642" name="T12"/>
                <a:gd fmla="*/ 2147483647 h 589" name="T13"/>
                <a:gd fmla="*/ 2147483647 w 642" name="T14"/>
                <a:gd fmla="*/ 2147483647 h 589" name="T15"/>
                <a:gd fmla="*/ 2147483647 w 642" name="T16"/>
                <a:gd fmla="*/ 2147483647 h 589" name="T17"/>
                <a:gd fmla="*/ 2147483647 w 642" name="T18"/>
                <a:gd fmla="*/ 2147483647 h 589" name="T19"/>
                <a:gd fmla="*/ 2147483647 w 642" name="T20"/>
                <a:gd fmla="*/ 2147483647 h 589" name="T21"/>
                <a:gd fmla="*/ 2147483647 w 642" name="T22"/>
                <a:gd fmla="*/ 2147483647 h 589" name="T23"/>
                <a:gd fmla="*/ 2147483647 w 642" name="T24"/>
                <a:gd fmla="*/ 2147483647 h 589" name="T25"/>
                <a:gd fmla="*/ 2147483647 w 642" name="T26"/>
                <a:gd fmla="*/ 2147483647 h 589" name="T27"/>
                <a:gd fmla="*/ 2147483647 w 642" name="T28"/>
                <a:gd fmla="*/ 2147483647 h 589" name="T29"/>
                <a:gd fmla="*/ 2147483647 w 642" name="T30"/>
                <a:gd fmla="*/ 2147483647 h 589" name="T31"/>
                <a:gd fmla="*/ 2147483647 w 642" name="T32"/>
                <a:gd fmla="*/ 2147483647 h 589" name="T33"/>
                <a:gd fmla="*/ 2147483647 w 642" name="T34"/>
                <a:gd fmla="*/ 2147483647 h 589" name="T35"/>
                <a:gd fmla="*/ 2147483647 w 642" name="T36"/>
                <a:gd fmla="*/ 2147483647 h 589" name="T37"/>
                <a:gd fmla="*/ 2147483647 w 642" name="T38"/>
                <a:gd fmla="*/ 2147483647 h 589" name="T39"/>
                <a:gd fmla="*/ 2147483647 w 642" name="T40"/>
                <a:gd fmla="*/ 2147483647 h 589" name="T41"/>
                <a:gd fmla="*/ 2147483647 w 642" name="T42"/>
                <a:gd fmla="*/ 2147483647 h 589" name="T43"/>
                <a:gd fmla="*/ 2147483647 w 642" name="T44"/>
                <a:gd fmla="*/ 2147483647 h 589" name="T45"/>
                <a:gd fmla="*/ 2147483647 w 642" name="T46"/>
                <a:gd fmla="*/ 2147483647 h 589" name="T47"/>
                <a:gd fmla="*/ 2147483647 w 642" name="T48"/>
                <a:gd fmla="*/ 0 h 589" name="T49"/>
                <a:gd fmla="*/ 0 60000 65536" name="T50"/>
                <a:gd fmla="*/ 0 60000 65536" name="T51"/>
                <a:gd fmla="*/ 0 60000 65536" name="T52"/>
                <a:gd fmla="*/ 0 60000 65536" name="T53"/>
                <a:gd fmla="*/ 0 60000 65536" name="T54"/>
                <a:gd fmla="*/ 0 60000 65536" name="T55"/>
                <a:gd fmla="*/ 0 60000 65536" name="T56"/>
                <a:gd fmla="*/ 0 60000 65536" name="T57"/>
                <a:gd fmla="*/ 0 60000 65536" name="T58"/>
                <a:gd fmla="*/ 0 60000 65536" name="T59"/>
                <a:gd fmla="*/ 0 60000 65536" name="T60"/>
                <a:gd fmla="*/ 0 60000 65536" name="T61"/>
                <a:gd fmla="*/ 0 60000 65536" name="T62"/>
                <a:gd fmla="*/ 0 60000 65536" name="T63"/>
                <a:gd fmla="*/ 0 60000 65536" name="T64"/>
                <a:gd fmla="*/ 0 60000 65536" name="T65"/>
                <a:gd fmla="*/ 0 60000 65536" name="T66"/>
                <a:gd fmla="*/ 0 60000 65536" name="T67"/>
                <a:gd fmla="*/ 0 60000 65536" name="T68"/>
                <a:gd fmla="*/ 0 60000 65536" name="T69"/>
                <a:gd fmla="*/ 0 60000 65536" name="T70"/>
                <a:gd fmla="*/ 0 60000 65536" name="T71"/>
                <a:gd fmla="*/ 0 60000 65536" name="T72"/>
                <a:gd fmla="*/ 0 60000 65536" name="T73"/>
                <a:gd fmla="*/ 0 60000 65536" name="T74"/>
              </a:gd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b="b" l="0" r="r" t="0"/>
              <a:pathLst>
                <a:path h="589" w="642">
                  <a:moveTo>
                    <a:pt x="7" y="0"/>
                  </a:moveTo>
                  <a:cubicBezTo>
                    <a:pt x="627" y="0"/>
                    <a:pt x="627" y="0"/>
                    <a:pt x="627" y="0"/>
                  </a:cubicBezTo>
                  <a:cubicBezTo>
                    <a:pt x="627" y="51"/>
                    <a:pt x="627" y="51"/>
                    <a:pt x="627" y="51"/>
                  </a:cubicBezTo>
                  <a:cubicBezTo>
                    <a:pt x="627" y="51"/>
                    <a:pt x="642" y="62"/>
                    <a:pt x="642" y="82"/>
                  </a:cubicBezTo>
                  <a:cubicBezTo>
                    <a:pt x="642" y="101"/>
                    <a:pt x="612" y="115"/>
                    <a:pt x="612" y="129"/>
                  </a:cubicBezTo>
                  <a:cubicBezTo>
                    <a:pt x="612" y="144"/>
                    <a:pt x="637" y="152"/>
                    <a:pt x="637" y="171"/>
                  </a:cubicBezTo>
                  <a:cubicBezTo>
                    <a:pt x="637" y="190"/>
                    <a:pt x="610" y="206"/>
                    <a:pt x="612" y="225"/>
                  </a:cubicBezTo>
                  <a:cubicBezTo>
                    <a:pt x="613" y="244"/>
                    <a:pt x="637" y="246"/>
                    <a:pt x="635" y="261"/>
                  </a:cubicBezTo>
                  <a:cubicBezTo>
                    <a:pt x="634" y="277"/>
                    <a:pt x="612" y="292"/>
                    <a:pt x="612" y="306"/>
                  </a:cubicBezTo>
                  <a:cubicBezTo>
                    <a:pt x="612" y="320"/>
                    <a:pt x="635" y="331"/>
                    <a:pt x="635" y="347"/>
                  </a:cubicBezTo>
                  <a:cubicBezTo>
                    <a:pt x="635" y="363"/>
                    <a:pt x="612" y="378"/>
                    <a:pt x="610" y="394"/>
                  </a:cubicBezTo>
                  <a:cubicBezTo>
                    <a:pt x="608" y="409"/>
                    <a:pt x="626" y="413"/>
                    <a:pt x="626" y="424"/>
                  </a:cubicBezTo>
                  <a:cubicBezTo>
                    <a:pt x="626" y="435"/>
                    <a:pt x="618" y="459"/>
                    <a:pt x="575" y="495"/>
                  </a:cubicBezTo>
                  <a:cubicBezTo>
                    <a:pt x="532" y="532"/>
                    <a:pt x="467" y="589"/>
                    <a:pt x="467" y="589"/>
                  </a:cubicBezTo>
                  <a:cubicBezTo>
                    <a:pt x="174" y="589"/>
                    <a:pt x="174" y="589"/>
                    <a:pt x="174" y="589"/>
                  </a:cubicBezTo>
                  <a:cubicBezTo>
                    <a:pt x="39" y="476"/>
                    <a:pt x="39" y="476"/>
                    <a:pt x="39" y="476"/>
                  </a:cubicBezTo>
                  <a:cubicBezTo>
                    <a:pt x="35" y="462"/>
                    <a:pt x="35" y="438"/>
                    <a:pt x="32" y="429"/>
                  </a:cubicBezTo>
                  <a:cubicBezTo>
                    <a:pt x="29" y="419"/>
                    <a:pt x="2" y="405"/>
                    <a:pt x="2" y="389"/>
                  </a:cubicBezTo>
                  <a:cubicBezTo>
                    <a:pt x="2" y="373"/>
                    <a:pt x="26" y="366"/>
                    <a:pt x="26" y="355"/>
                  </a:cubicBezTo>
                  <a:cubicBezTo>
                    <a:pt x="26" y="344"/>
                    <a:pt x="0" y="316"/>
                    <a:pt x="2" y="295"/>
                  </a:cubicBezTo>
                  <a:cubicBezTo>
                    <a:pt x="3" y="274"/>
                    <a:pt x="21" y="269"/>
                    <a:pt x="23" y="258"/>
                  </a:cubicBezTo>
                  <a:cubicBezTo>
                    <a:pt x="24" y="247"/>
                    <a:pt x="5" y="230"/>
                    <a:pt x="5" y="214"/>
                  </a:cubicBezTo>
                  <a:cubicBezTo>
                    <a:pt x="5" y="198"/>
                    <a:pt x="24" y="182"/>
                    <a:pt x="24" y="168"/>
                  </a:cubicBezTo>
                  <a:cubicBezTo>
                    <a:pt x="24" y="153"/>
                    <a:pt x="3" y="144"/>
                    <a:pt x="2" y="120"/>
                  </a:cubicBezTo>
                  <a:cubicBezTo>
                    <a:pt x="0" y="96"/>
                    <a:pt x="7" y="0"/>
                    <a:pt x="7" y="0"/>
                  </a:cubicBezTo>
                  <a:close/>
                </a:path>
              </a:pathLst>
            </a:custGeom>
            <a:solidFill>
              <a:schemeClr val="accent4"/>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43" name="Freeform 30">
              <a:extLst>
                <a:ext uri="{FF2B5EF4-FFF2-40B4-BE49-F238E27FC236}">
                  <a16:creationId xmlns:a16="http://schemas.microsoft.com/office/drawing/2014/main" id="{BB49B3A2-46F0-446E-A955-2BBCD3DDBB24}"/>
                </a:ext>
              </a:extLst>
            </p:cNvPr>
            <p:cNvSpPr/>
            <p:nvPr/>
          </p:nvSpPr>
          <p:spPr bwMode="auto">
            <a:xfrm>
              <a:off x="5890418" y="5467351"/>
              <a:ext cx="387350" cy="52388"/>
            </a:xfrm>
            <a:custGeom>
              <a:gdLst>
                <a:gd fmla="*/ 0 w 266" name="T0"/>
                <a:gd fmla="*/ 0 h 36" name="T1"/>
                <a:gd fmla="*/ 2147483647 w 266" name="T2"/>
                <a:gd fmla="*/ 0 h 36" name="T3"/>
                <a:gd fmla="*/ 2147483647 w 266" name="T4"/>
                <a:gd fmla="*/ 2147483647 h 36" name="T5"/>
                <a:gd fmla="*/ 2147483647 w 266" name="T6"/>
                <a:gd fmla="*/ 2147483647 h 36" name="T7"/>
                <a:gd fmla="*/ 0 w 266" name="T8"/>
                <a:gd fmla="*/ 0 h 36" name="T9"/>
                <a:gd fmla="*/ 0 60000 65536" name="T10"/>
                <a:gd fmla="*/ 0 60000 65536" name="T11"/>
                <a:gd fmla="*/ 0 60000 65536" name="T12"/>
                <a:gd fmla="*/ 0 60000 65536" name="T13"/>
                <a:gd fmla="*/ 0 60000 65536" name="T14"/>
              </a:gdLst>
              <a:cxnLst>
                <a:cxn ang="T10">
                  <a:pos x="T0" y="T1"/>
                </a:cxn>
                <a:cxn ang="T11">
                  <a:pos x="T2" y="T3"/>
                </a:cxn>
                <a:cxn ang="T12">
                  <a:pos x="T4" y="T5"/>
                </a:cxn>
                <a:cxn ang="T13">
                  <a:pos x="T6" y="T7"/>
                </a:cxn>
                <a:cxn ang="T14">
                  <a:pos x="T8" y="T9"/>
                </a:cxn>
              </a:cxnLst>
              <a:rect b="b" l="0" r="r" t="0"/>
              <a:pathLst>
                <a:path h="36" w="266">
                  <a:moveTo>
                    <a:pt x="0" y="0"/>
                  </a:moveTo>
                  <a:cubicBezTo>
                    <a:pt x="266" y="0"/>
                    <a:pt x="266" y="0"/>
                    <a:pt x="266" y="0"/>
                  </a:cubicBezTo>
                  <a:cubicBezTo>
                    <a:pt x="266" y="0"/>
                    <a:pt x="237" y="36"/>
                    <a:pt x="223" y="36"/>
                  </a:cubicBezTo>
                  <a:cubicBezTo>
                    <a:pt x="209" y="36"/>
                    <a:pt x="62" y="36"/>
                    <a:pt x="50" y="36"/>
                  </a:cubicBezTo>
                  <a:cubicBezTo>
                    <a:pt x="37" y="36"/>
                    <a:pt x="0" y="0"/>
                    <a:pt x="0" y="0"/>
                  </a:cubicBezTo>
                  <a:close/>
                </a:path>
              </a:pathLst>
            </a:custGeom>
            <a:solidFill>
              <a:schemeClr val="lt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44" name="Oval 34">
              <a:extLst>
                <a:ext uri="{FF2B5EF4-FFF2-40B4-BE49-F238E27FC236}">
                  <a16:creationId xmlns:a16="http://schemas.microsoft.com/office/drawing/2014/main" id="{3775BAE6-B328-4FC9-B16D-4ED03C4A4A99}"/>
                </a:ext>
              </a:extLst>
            </p:cNvPr>
            <p:cNvSpPr>
              <a:spLocks noChangeArrowheads="1"/>
            </p:cNvSpPr>
            <p:nvPr/>
          </p:nvSpPr>
          <p:spPr bwMode="auto">
            <a:xfrm>
              <a:off x="4714081" y="3819526"/>
              <a:ext cx="44450" cy="46038"/>
            </a:xfrm>
            <a:prstGeom prst="ellipse">
              <a:avLst/>
            </a:prstGeom>
            <a:solidFill>
              <a:schemeClr val="accent1"/>
            </a:solidFill>
            <a:ln>
              <a:noFill/>
            </a:ln>
            <a:extLst>
              <a:ext uri="{91240B29-F687-4F45-9708-019B960494DF}">
                <a14:hiddenLine w="9525">
                  <a:solidFill>
                    <a:srgbClr val="000000"/>
                  </a:solidFill>
                  <a:round/>
                  <a:headEnd/>
                  <a:tailEnd/>
                </a14:hiddenLine>
              </a:ext>
            </a:extLst>
          </p:spPr>
          <p:txBody>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45" name="Oval 35">
              <a:extLst>
                <a:ext uri="{FF2B5EF4-FFF2-40B4-BE49-F238E27FC236}">
                  <a16:creationId xmlns:a16="http://schemas.microsoft.com/office/drawing/2014/main" id="{D1A57303-F7A9-4336-814B-1B4F0BC8EC14}"/>
                </a:ext>
              </a:extLst>
            </p:cNvPr>
            <p:cNvSpPr>
              <a:spLocks noChangeArrowheads="1"/>
            </p:cNvSpPr>
            <p:nvPr/>
          </p:nvSpPr>
          <p:spPr bwMode="auto">
            <a:xfrm>
              <a:off x="4729956" y="3881438"/>
              <a:ext cx="44450" cy="47625"/>
            </a:xfrm>
            <a:prstGeom prst="ellipse">
              <a:avLst/>
            </a:prstGeom>
            <a:solidFill>
              <a:schemeClr val="accent1"/>
            </a:solidFill>
            <a:ln>
              <a:noFill/>
            </a:ln>
            <a:extLst>
              <a:ext uri="{91240B29-F687-4F45-9708-019B960494DF}">
                <a14:hiddenLine w="9525">
                  <a:solidFill>
                    <a:srgbClr val="000000"/>
                  </a:solidFill>
                  <a:round/>
                  <a:headEnd/>
                  <a:tailEnd/>
                </a14:hiddenLine>
              </a:ext>
            </a:extLst>
          </p:spPr>
          <p:txBody>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46" name="Oval 36">
              <a:extLst>
                <a:ext uri="{FF2B5EF4-FFF2-40B4-BE49-F238E27FC236}">
                  <a16:creationId xmlns:a16="http://schemas.microsoft.com/office/drawing/2014/main" id="{F6FBDC74-82A7-4864-870D-39C5E8B74111}"/>
                </a:ext>
              </a:extLst>
            </p:cNvPr>
            <p:cNvSpPr>
              <a:spLocks noChangeArrowheads="1"/>
            </p:cNvSpPr>
            <p:nvPr/>
          </p:nvSpPr>
          <p:spPr bwMode="auto">
            <a:xfrm>
              <a:off x="4756943" y="3944938"/>
              <a:ext cx="47625" cy="46038"/>
            </a:xfrm>
            <a:prstGeom prst="ellipse">
              <a:avLst/>
            </a:prstGeom>
            <a:solidFill>
              <a:schemeClr val="accent1"/>
            </a:solidFill>
            <a:ln>
              <a:noFill/>
            </a:ln>
            <a:extLst>
              <a:ext uri="{91240B29-F687-4F45-9708-019B960494DF}">
                <a14:hiddenLine w="9525">
                  <a:solidFill>
                    <a:srgbClr val="000000"/>
                  </a:solidFill>
                  <a:round/>
                  <a:headEnd/>
                  <a:tailEnd/>
                </a14:hiddenLine>
              </a:ext>
            </a:extLst>
          </p:spPr>
          <p:txBody>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47" name="Oval 37">
              <a:extLst>
                <a:ext uri="{FF2B5EF4-FFF2-40B4-BE49-F238E27FC236}">
                  <a16:creationId xmlns:a16="http://schemas.microsoft.com/office/drawing/2014/main" id="{8EA47C99-1519-4F48-B01B-498A1DE54E6E}"/>
                </a:ext>
              </a:extLst>
            </p:cNvPr>
            <p:cNvSpPr>
              <a:spLocks noChangeArrowheads="1"/>
            </p:cNvSpPr>
            <p:nvPr/>
          </p:nvSpPr>
          <p:spPr bwMode="auto">
            <a:xfrm>
              <a:off x="4798218" y="3995738"/>
              <a:ext cx="46038" cy="46038"/>
            </a:xfrm>
            <a:prstGeom prst="ellipse">
              <a:avLst/>
            </a:prstGeom>
            <a:solidFill>
              <a:schemeClr val="accent1"/>
            </a:solidFill>
            <a:ln>
              <a:noFill/>
            </a:ln>
            <a:extLst>
              <a:ext uri="{91240B29-F687-4F45-9708-019B960494DF}">
                <a14:hiddenLine w="9525">
                  <a:solidFill>
                    <a:srgbClr val="000000"/>
                  </a:solidFill>
                  <a:round/>
                  <a:headEnd/>
                  <a:tailEnd/>
                </a14:hiddenLine>
              </a:ext>
            </a:extLst>
          </p:spPr>
          <p:txBody>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48" name="Oval 38">
              <a:extLst>
                <a:ext uri="{FF2B5EF4-FFF2-40B4-BE49-F238E27FC236}">
                  <a16:creationId xmlns:a16="http://schemas.microsoft.com/office/drawing/2014/main" id="{03DDCBB6-6EF1-46EF-97C2-C3792CEB6288}"/>
                </a:ext>
              </a:extLst>
            </p:cNvPr>
            <p:cNvSpPr>
              <a:spLocks noChangeArrowheads="1"/>
            </p:cNvSpPr>
            <p:nvPr/>
          </p:nvSpPr>
          <p:spPr bwMode="auto">
            <a:xfrm>
              <a:off x="4856956" y="4038601"/>
              <a:ext cx="46038" cy="47625"/>
            </a:xfrm>
            <a:prstGeom prst="ellipse">
              <a:avLst/>
            </a:prstGeom>
            <a:solidFill>
              <a:schemeClr val="accent1"/>
            </a:solidFill>
            <a:ln>
              <a:noFill/>
            </a:ln>
            <a:extLst>
              <a:ext uri="{91240B29-F687-4F45-9708-019B960494DF}">
                <a14:hiddenLine w="9525">
                  <a:solidFill>
                    <a:srgbClr val="000000"/>
                  </a:solidFill>
                  <a:round/>
                  <a:headEnd/>
                  <a:tailEnd/>
                </a14:hiddenLine>
              </a:ext>
            </a:extLst>
          </p:spPr>
          <p:txBody>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49" name="Oval 39">
              <a:extLst>
                <a:ext uri="{FF2B5EF4-FFF2-40B4-BE49-F238E27FC236}">
                  <a16:creationId xmlns:a16="http://schemas.microsoft.com/office/drawing/2014/main" id="{B32454AF-BB08-499A-B42A-4B5974E916BF}"/>
                </a:ext>
              </a:extLst>
            </p:cNvPr>
            <p:cNvSpPr>
              <a:spLocks noChangeArrowheads="1"/>
            </p:cNvSpPr>
            <p:nvPr/>
          </p:nvSpPr>
          <p:spPr bwMode="auto">
            <a:xfrm>
              <a:off x="4923631" y="4071938"/>
              <a:ext cx="46038" cy="46038"/>
            </a:xfrm>
            <a:prstGeom prst="ellipse">
              <a:avLst/>
            </a:prstGeom>
            <a:solidFill>
              <a:schemeClr val="accent1"/>
            </a:solidFill>
            <a:ln>
              <a:noFill/>
            </a:ln>
            <a:extLst>
              <a:ext uri="{91240B29-F687-4F45-9708-019B960494DF}">
                <a14:hiddenLine w="9525">
                  <a:solidFill>
                    <a:srgbClr val="000000"/>
                  </a:solidFill>
                  <a:round/>
                  <a:headEnd/>
                  <a:tailEnd/>
                </a14:hiddenLine>
              </a:ext>
            </a:extLst>
          </p:spPr>
          <p:txBody>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50" name="Oval 40">
              <a:extLst>
                <a:ext uri="{FF2B5EF4-FFF2-40B4-BE49-F238E27FC236}">
                  <a16:creationId xmlns:a16="http://schemas.microsoft.com/office/drawing/2014/main" id="{3F6F83CF-1890-4177-9503-3938C30144A4}"/>
                </a:ext>
              </a:extLst>
            </p:cNvPr>
            <p:cNvSpPr>
              <a:spLocks noChangeArrowheads="1"/>
            </p:cNvSpPr>
            <p:nvPr/>
          </p:nvSpPr>
          <p:spPr bwMode="auto">
            <a:xfrm>
              <a:off x="6936581" y="3971926"/>
              <a:ext cx="46038" cy="47625"/>
            </a:xfrm>
            <a:prstGeom prst="ellipse">
              <a:avLst/>
            </a:prstGeom>
            <a:solidFill>
              <a:schemeClr val="dk2"/>
            </a:solidFill>
            <a:ln>
              <a:noFill/>
            </a:ln>
            <a:extLst>
              <a:ext uri="{91240B29-F687-4F45-9708-019B960494DF}">
                <a14:hiddenLine w="9525">
                  <a:solidFill>
                    <a:srgbClr val="000000"/>
                  </a:solidFill>
                  <a:round/>
                  <a:headEnd/>
                  <a:tailEnd/>
                </a14:hiddenLine>
              </a:ext>
            </a:extLst>
          </p:spPr>
          <p:txBody>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51" name="Oval 41">
              <a:extLst>
                <a:ext uri="{FF2B5EF4-FFF2-40B4-BE49-F238E27FC236}">
                  <a16:creationId xmlns:a16="http://schemas.microsoft.com/office/drawing/2014/main" id="{1D32AAB6-6C05-478C-84CA-38B4B1AA54E2}"/>
                </a:ext>
              </a:extLst>
            </p:cNvPr>
            <p:cNvSpPr>
              <a:spLocks noChangeArrowheads="1"/>
            </p:cNvSpPr>
            <p:nvPr/>
          </p:nvSpPr>
          <p:spPr bwMode="auto">
            <a:xfrm>
              <a:off x="6971506" y="3900488"/>
              <a:ext cx="46038" cy="47625"/>
            </a:xfrm>
            <a:prstGeom prst="ellipse">
              <a:avLst/>
            </a:prstGeom>
            <a:solidFill>
              <a:schemeClr val="dk2"/>
            </a:solidFill>
            <a:ln>
              <a:noFill/>
            </a:ln>
            <a:extLst>
              <a:ext uri="{91240B29-F687-4F45-9708-019B960494DF}">
                <a14:hiddenLine w="9525">
                  <a:solidFill>
                    <a:srgbClr val="000000"/>
                  </a:solidFill>
                  <a:round/>
                  <a:headEnd/>
                  <a:tailEnd/>
                </a14:hiddenLine>
              </a:ext>
            </a:extLst>
          </p:spPr>
          <p:txBody>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52" name="Oval 42">
              <a:extLst>
                <a:ext uri="{FF2B5EF4-FFF2-40B4-BE49-F238E27FC236}">
                  <a16:creationId xmlns:a16="http://schemas.microsoft.com/office/drawing/2014/main" id="{0AA72A12-C853-4C0C-8A05-D8B5E35F4069}"/>
                </a:ext>
              </a:extLst>
            </p:cNvPr>
            <p:cNvSpPr>
              <a:spLocks noChangeArrowheads="1"/>
            </p:cNvSpPr>
            <p:nvPr/>
          </p:nvSpPr>
          <p:spPr bwMode="auto">
            <a:xfrm>
              <a:off x="7014368" y="3843338"/>
              <a:ext cx="46038" cy="46038"/>
            </a:xfrm>
            <a:prstGeom prst="ellipse">
              <a:avLst/>
            </a:prstGeom>
            <a:solidFill>
              <a:schemeClr val="dk2"/>
            </a:solidFill>
            <a:ln>
              <a:noFill/>
            </a:ln>
            <a:extLst>
              <a:ext uri="{91240B29-F687-4F45-9708-019B960494DF}">
                <a14:hiddenLine w="9525">
                  <a:solidFill>
                    <a:srgbClr val="000000"/>
                  </a:solidFill>
                  <a:round/>
                  <a:headEnd/>
                  <a:tailEnd/>
                </a14:hiddenLine>
              </a:ext>
            </a:extLst>
          </p:spPr>
          <p:txBody>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53" name="Oval 43">
              <a:extLst>
                <a:ext uri="{FF2B5EF4-FFF2-40B4-BE49-F238E27FC236}">
                  <a16:creationId xmlns:a16="http://schemas.microsoft.com/office/drawing/2014/main" id="{1BE82E57-3254-4A83-A0CD-2A5E434AB1B3}"/>
                </a:ext>
              </a:extLst>
            </p:cNvPr>
            <p:cNvSpPr>
              <a:spLocks noChangeArrowheads="1"/>
            </p:cNvSpPr>
            <p:nvPr/>
          </p:nvSpPr>
          <p:spPr bwMode="auto">
            <a:xfrm>
              <a:off x="7068343" y="3798888"/>
              <a:ext cx="46038" cy="46038"/>
            </a:xfrm>
            <a:prstGeom prst="ellipse">
              <a:avLst/>
            </a:prstGeom>
            <a:solidFill>
              <a:schemeClr val="dk2"/>
            </a:solidFill>
            <a:ln>
              <a:noFill/>
            </a:ln>
            <a:extLst>
              <a:ext uri="{91240B29-F687-4F45-9708-019B960494DF}">
                <a14:hiddenLine w="9525">
                  <a:solidFill>
                    <a:srgbClr val="000000"/>
                  </a:solidFill>
                  <a:round/>
                  <a:headEnd/>
                  <a:tailEnd/>
                </a14:hiddenLine>
              </a:ext>
            </a:extLst>
          </p:spPr>
          <p:txBody>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54" name="Oval 44">
              <a:extLst>
                <a:ext uri="{FF2B5EF4-FFF2-40B4-BE49-F238E27FC236}">
                  <a16:creationId xmlns:a16="http://schemas.microsoft.com/office/drawing/2014/main" id="{EA040DBB-921E-469E-A829-B0588044AF6D}"/>
                </a:ext>
              </a:extLst>
            </p:cNvPr>
            <p:cNvSpPr>
              <a:spLocks noChangeArrowheads="1"/>
            </p:cNvSpPr>
            <p:nvPr/>
          </p:nvSpPr>
          <p:spPr bwMode="auto">
            <a:xfrm>
              <a:off x="7127081" y="3775076"/>
              <a:ext cx="44450" cy="47625"/>
            </a:xfrm>
            <a:prstGeom prst="ellipse">
              <a:avLst/>
            </a:prstGeom>
            <a:solidFill>
              <a:schemeClr val="dk2"/>
            </a:solidFill>
            <a:ln>
              <a:noFill/>
            </a:ln>
            <a:extLst>
              <a:ext uri="{91240B29-F687-4F45-9708-019B960494DF}">
                <a14:hiddenLine w="9525">
                  <a:solidFill>
                    <a:srgbClr val="000000"/>
                  </a:solidFill>
                  <a:round/>
                  <a:headEnd/>
                  <a:tailEnd/>
                </a14:hiddenLine>
              </a:ext>
            </a:extLst>
          </p:spPr>
          <p:txBody>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55" name="Oval 45">
              <a:extLst>
                <a:ext uri="{FF2B5EF4-FFF2-40B4-BE49-F238E27FC236}">
                  <a16:creationId xmlns:a16="http://schemas.microsoft.com/office/drawing/2014/main" id="{9911D933-8A36-4092-A678-F675A3ACA8CA}"/>
                </a:ext>
              </a:extLst>
            </p:cNvPr>
            <p:cNvSpPr>
              <a:spLocks noChangeArrowheads="1"/>
            </p:cNvSpPr>
            <p:nvPr/>
          </p:nvSpPr>
          <p:spPr bwMode="auto">
            <a:xfrm>
              <a:off x="7190581" y="3759201"/>
              <a:ext cx="46038" cy="46038"/>
            </a:xfrm>
            <a:prstGeom prst="ellipse">
              <a:avLst/>
            </a:prstGeom>
            <a:solidFill>
              <a:schemeClr val="dk2"/>
            </a:solidFill>
            <a:ln>
              <a:noFill/>
            </a:ln>
            <a:extLst>
              <a:ext uri="{91240B29-F687-4F45-9708-019B960494DF}">
                <a14:hiddenLine w="9525">
                  <a:solidFill>
                    <a:srgbClr val="000000"/>
                  </a:solidFill>
                  <a:round/>
                  <a:headEnd/>
                  <a:tailEnd/>
                </a14:hiddenLine>
              </a:ext>
            </a:extLst>
          </p:spPr>
          <p:txBody>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56" name="Oval 46">
              <a:extLst>
                <a:ext uri="{FF2B5EF4-FFF2-40B4-BE49-F238E27FC236}">
                  <a16:creationId xmlns:a16="http://schemas.microsoft.com/office/drawing/2014/main" id="{41C91EFE-8396-4668-972F-38D183875251}"/>
                </a:ext>
              </a:extLst>
            </p:cNvPr>
            <p:cNvSpPr>
              <a:spLocks noChangeArrowheads="1"/>
            </p:cNvSpPr>
            <p:nvPr/>
          </p:nvSpPr>
          <p:spPr bwMode="auto">
            <a:xfrm>
              <a:off x="7581106" y="3603626"/>
              <a:ext cx="44450" cy="47625"/>
            </a:xfrm>
            <a:prstGeom prst="ellipse">
              <a:avLst/>
            </a:prstGeom>
            <a:solidFill>
              <a:schemeClr val="dk2"/>
            </a:solidFill>
            <a:ln>
              <a:noFill/>
            </a:ln>
            <a:extLst>
              <a:ext uri="{91240B29-F687-4F45-9708-019B960494DF}">
                <a14:hiddenLine w="9525">
                  <a:solidFill>
                    <a:srgbClr val="000000"/>
                  </a:solidFill>
                  <a:round/>
                  <a:headEnd/>
                  <a:tailEnd/>
                </a14:hiddenLine>
              </a:ext>
            </a:extLst>
          </p:spPr>
          <p:txBody>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57" name="Oval 47">
              <a:extLst>
                <a:ext uri="{FF2B5EF4-FFF2-40B4-BE49-F238E27FC236}">
                  <a16:creationId xmlns:a16="http://schemas.microsoft.com/office/drawing/2014/main" id="{D1D1F52F-A98F-49A4-941D-2726B2DF92EF}"/>
                </a:ext>
              </a:extLst>
            </p:cNvPr>
            <p:cNvSpPr>
              <a:spLocks noChangeArrowheads="1"/>
            </p:cNvSpPr>
            <p:nvPr/>
          </p:nvSpPr>
          <p:spPr bwMode="auto">
            <a:xfrm>
              <a:off x="7655718" y="3563938"/>
              <a:ext cx="44450" cy="47625"/>
            </a:xfrm>
            <a:prstGeom prst="ellipse">
              <a:avLst/>
            </a:prstGeom>
            <a:solidFill>
              <a:schemeClr val="dk2"/>
            </a:solidFill>
            <a:ln>
              <a:noFill/>
            </a:ln>
            <a:extLst>
              <a:ext uri="{91240B29-F687-4F45-9708-019B960494DF}">
                <a14:hiddenLine w="9525">
                  <a:solidFill>
                    <a:srgbClr val="000000"/>
                  </a:solidFill>
                  <a:round/>
                  <a:headEnd/>
                  <a:tailEnd/>
                </a14:hiddenLine>
              </a:ext>
            </a:extLst>
          </p:spPr>
          <p:txBody>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58" name="Oval 48">
              <a:extLst>
                <a:ext uri="{FF2B5EF4-FFF2-40B4-BE49-F238E27FC236}">
                  <a16:creationId xmlns:a16="http://schemas.microsoft.com/office/drawing/2014/main" id="{87366060-D5FA-4C69-8F69-EC9AF0344BD6}"/>
                </a:ext>
              </a:extLst>
            </p:cNvPr>
            <p:cNvSpPr>
              <a:spLocks noChangeArrowheads="1"/>
            </p:cNvSpPr>
            <p:nvPr/>
          </p:nvSpPr>
          <p:spPr bwMode="auto">
            <a:xfrm>
              <a:off x="7711281" y="3522663"/>
              <a:ext cx="47625" cy="46038"/>
            </a:xfrm>
            <a:prstGeom prst="ellipse">
              <a:avLst/>
            </a:prstGeom>
            <a:solidFill>
              <a:schemeClr val="dk2"/>
            </a:solidFill>
            <a:ln>
              <a:noFill/>
            </a:ln>
            <a:extLst>
              <a:ext uri="{91240B29-F687-4F45-9708-019B960494DF}">
                <a14:hiddenLine w="9525">
                  <a:solidFill>
                    <a:srgbClr val="000000"/>
                  </a:solidFill>
                  <a:round/>
                  <a:headEnd/>
                  <a:tailEnd/>
                </a14:hiddenLine>
              </a:ext>
            </a:extLst>
          </p:spPr>
          <p:txBody>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59" name="Oval 49">
              <a:extLst>
                <a:ext uri="{FF2B5EF4-FFF2-40B4-BE49-F238E27FC236}">
                  <a16:creationId xmlns:a16="http://schemas.microsoft.com/office/drawing/2014/main" id="{CD1ABA89-4FB2-4B39-A461-7B1B68925E04}"/>
                </a:ext>
              </a:extLst>
            </p:cNvPr>
            <p:cNvSpPr>
              <a:spLocks noChangeArrowheads="1"/>
            </p:cNvSpPr>
            <p:nvPr/>
          </p:nvSpPr>
          <p:spPr bwMode="auto">
            <a:xfrm>
              <a:off x="7757318" y="3463926"/>
              <a:ext cx="44450" cy="46038"/>
            </a:xfrm>
            <a:prstGeom prst="ellipse">
              <a:avLst/>
            </a:prstGeom>
            <a:solidFill>
              <a:schemeClr val="dk2"/>
            </a:solidFill>
            <a:ln>
              <a:noFill/>
            </a:ln>
            <a:extLst>
              <a:ext uri="{91240B29-F687-4F45-9708-019B960494DF}">
                <a14:hiddenLine w="9525">
                  <a:solidFill>
                    <a:srgbClr val="000000"/>
                  </a:solidFill>
                  <a:round/>
                  <a:headEnd/>
                  <a:tailEnd/>
                </a14:hiddenLine>
              </a:ext>
            </a:extLst>
          </p:spPr>
          <p:txBody>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60" name="Oval 50">
              <a:extLst>
                <a:ext uri="{FF2B5EF4-FFF2-40B4-BE49-F238E27FC236}">
                  <a16:creationId xmlns:a16="http://schemas.microsoft.com/office/drawing/2014/main" id="{8152BD70-C138-476F-ABFD-1B60BD8D6CAB}"/>
                </a:ext>
              </a:extLst>
            </p:cNvPr>
            <p:cNvSpPr>
              <a:spLocks noChangeArrowheads="1"/>
            </p:cNvSpPr>
            <p:nvPr/>
          </p:nvSpPr>
          <p:spPr bwMode="auto">
            <a:xfrm>
              <a:off x="7784306" y="3405188"/>
              <a:ext cx="47625" cy="46038"/>
            </a:xfrm>
            <a:prstGeom prst="ellipse">
              <a:avLst/>
            </a:prstGeom>
            <a:solidFill>
              <a:schemeClr val="dk2"/>
            </a:solidFill>
            <a:ln>
              <a:noFill/>
            </a:ln>
            <a:extLst>
              <a:ext uri="{91240B29-F687-4F45-9708-019B960494DF}">
                <a14:hiddenLine w="9525">
                  <a:solidFill>
                    <a:srgbClr val="000000"/>
                  </a:solidFill>
                  <a:round/>
                  <a:headEnd/>
                  <a:tailEnd/>
                </a14:hiddenLine>
              </a:ext>
            </a:extLst>
          </p:spPr>
          <p:txBody>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61" name="Oval 51">
              <a:extLst>
                <a:ext uri="{FF2B5EF4-FFF2-40B4-BE49-F238E27FC236}">
                  <a16:creationId xmlns:a16="http://schemas.microsoft.com/office/drawing/2014/main" id="{DBC05D91-2099-4AA7-8DE8-958FE3DD6D02}"/>
                </a:ext>
              </a:extLst>
            </p:cNvPr>
            <p:cNvSpPr>
              <a:spLocks noChangeArrowheads="1"/>
            </p:cNvSpPr>
            <p:nvPr/>
          </p:nvSpPr>
          <p:spPr bwMode="auto">
            <a:xfrm>
              <a:off x="7798593" y="3341688"/>
              <a:ext cx="46038" cy="46038"/>
            </a:xfrm>
            <a:prstGeom prst="ellipse">
              <a:avLst/>
            </a:prstGeom>
            <a:solidFill>
              <a:schemeClr val="dk2"/>
            </a:solidFill>
            <a:ln>
              <a:noFill/>
            </a:ln>
            <a:extLst>
              <a:ext uri="{91240B29-F687-4F45-9708-019B960494DF}">
                <a14:hiddenLine w="9525">
                  <a:solidFill>
                    <a:srgbClr val="000000"/>
                  </a:solidFill>
                  <a:round/>
                  <a:headEnd/>
                  <a:tailEnd/>
                </a14:hiddenLine>
              </a:ext>
            </a:extLst>
          </p:spPr>
          <p:txBody>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62" name="Freeform 52">
              <a:extLst>
                <a:ext uri="{FF2B5EF4-FFF2-40B4-BE49-F238E27FC236}">
                  <a16:creationId xmlns:a16="http://schemas.microsoft.com/office/drawing/2014/main" id="{DC810A09-13C0-48D1-BC40-228A92F5CA58}"/>
                </a:ext>
              </a:extLst>
            </p:cNvPr>
            <p:cNvSpPr/>
            <p:nvPr/>
          </p:nvSpPr>
          <p:spPr bwMode="auto">
            <a:xfrm>
              <a:off x="5522118" y="2360613"/>
              <a:ext cx="57150" cy="79375"/>
            </a:xfrm>
            <a:custGeom>
              <a:gdLst>
                <a:gd fmla="*/ 2147483647 w 40" name="T0"/>
                <a:gd fmla="*/ 2147483647 h 55" name="T1"/>
                <a:gd fmla="*/ 2147483647 w 40" name="T2"/>
                <a:gd fmla="*/ 2147483647 h 55" name="T3"/>
                <a:gd fmla="*/ 0 w 40" name="T4"/>
                <a:gd fmla="*/ 2147483647 h 55" name="T5"/>
                <a:gd fmla="*/ 2147483647 w 40" name="T6"/>
                <a:gd fmla="*/ 2147483647 h 55" name="T7"/>
                <a:gd fmla="*/ 2147483647 w 40" name="T8"/>
                <a:gd fmla="*/ 0 h 55" name="T9"/>
                <a:gd fmla="*/ 2147483647 w 40" name="T10"/>
                <a:gd fmla="*/ 2147483647 h 55" name="T11"/>
                <a:gd fmla="*/ 2147483647 w 40" name="T12"/>
                <a:gd fmla="*/ 2147483647 h 55" name="T13"/>
                <a:gd fmla="*/ 2147483647 w 40" name="T14"/>
                <a:gd fmla="*/ 2147483647 h 55" name="T15"/>
                <a:gd fmla="*/ 2147483647 w 40" name="T16"/>
                <a:gd fmla="*/ 2147483647 h 55" name="T17"/>
                <a:gd fmla="*/ 2147483647 w 40" name="T18"/>
                <a:gd fmla="*/ 2147483647 h 55" name="T19"/>
                <a:gd fmla="*/ 2147483647 w 40" name="T20"/>
                <a:gd fmla="*/ 2147483647 h 55" name="T21"/>
                <a:gd fmla="*/ 2147483647 w 40" name="T22"/>
                <a:gd fmla="*/ 2147483647 h 55" name="T23"/>
                <a:gd fmla="*/ 2147483647 w 40" name="T24"/>
                <a:gd fmla="*/ 2147483647 h 55" name="T25"/>
                <a:gd fmla="*/ 2147483647 w 40" name="T26"/>
                <a:gd fmla="*/ 2147483647 h 55" name="T27"/>
                <a:gd fmla="*/ 2147483647 w 40" name="T28"/>
                <a:gd fmla="*/ 2147483647 h 55" name="T29"/>
                <a:gd fmla="*/ 0 60000 65536" name="T30"/>
                <a:gd fmla="*/ 0 60000 65536" name="T31"/>
                <a:gd fmla="*/ 0 60000 65536" name="T32"/>
                <a:gd fmla="*/ 0 60000 65536" name="T33"/>
                <a:gd fmla="*/ 0 60000 65536" name="T34"/>
                <a:gd fmla="*/ 0 60000 65536" name="T35"/>
                <a:gd fmla="*/ 0 60000 65536" name="T36"/>
                <a:gd fmla="*/ 0 60000 65536" name="T37"/>
                <a:gd fmla="*/ 0 60000 65536" name="T38"/>
                <a:gd fmla="*/ 0 60000 65536" name="T39"/>
                <a:gd fmla="*/ 0 60000 65536" name="T40"/>
                <a:gd fmla="*/ 0 60000 65536" name="T41"/>
                <a:gd fmla="*/ 0 60000 65536" name="T42"/>
                <a:gd fmla="*/ 0 60000 65536" name="T43"/>
                <a:gd fmla="*/ 0 60000 65536" name="T44"/>
              </a:gd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b="b" l="0" r="r" t="0"/>
              <a:pathLst>
                <a:path h="55" w="40">
                  <a:moveTo>
                    <a:pt x="20" y="55"/>
                  </a:moveTo>
                  <a:cubicBezTo>
                    <a:pt x="14" y="55"/>
                    <a:pt x="9" y="53"/>
                    <a:pt x="5" y="49"/>
                  </a:cubicBezTo>
                  <a:cubicBezTo>
                    <a:pt x="0" y="43"/>
                    <a:pt x="0" y="37"/>
                    <a:pt x="0" y="27"/>
                  </a:cubicBezTo>
                  <a:cubicBezTo>
                    <a:pt x="0" y="18"/>
                    <a:pt x="0" y="11"/>
                    <a:pt x="5" y="6"/>
                  </a:cubicBezTo>
                  <a:cubicBezTo>
                    <a:pt x="9" y="2"/>
                    <a:pt x="14" y="0"/>
                    <a:pt x="20" y="0"/>
                  </a:cubicBezTo>
                  <a:cubicBezTo>
                    <a:pt x="30" y="0"/>
                    <a:pt x="38" y="6"/>
                    <a:pt x="40" y="17"/>
                  </a:cubicBezTo>
                  <a:cubicBezTo>
                    <a:pt x="29" y="17"/>
                    <a:pt x="29" y="17"/>
                    <a:pt x="29" y="17"/>
                  </a:cubicBezTo>
                  <a:cubicBezTo>
                    <a:pt x="28" y="13"/>
                    <a:pt x="25" y="9"/>
                    <a:pt x="20" y="9"/>
                  </a:cubicBezTo>
                  <a:cubicBezTo>
                    <a:pt x="17" y="9"/>
                    <a:pt x="15" y="10"/>
                    <a:pt x="13" y="12"/>
                  </a:cubicBezTo>
                  <a:cubicBezTo>
                    <a:pt x="11" y="14"/>
                    <a:pt x="10" y="17"/>
                    <a:pt x="10" y="27"/>
                  </a:cubicBezTo>
                  <a:cubicBezTo>
                    <a:pt x="10" y="38"/>
                    <a:pt x="11" y="40"/>
                    <a:pt x="13" y="43"/>
                  </a:cubicBezTo>
                  <a:cubicBezTo>
                    <a:pt x="15" y="44"/>
                    <a:pt x="17" y="45"/>
                    <a:pt x="20" y="45"/>
                  </a:cubicBezTo>
                  <a:cubicBezTo>
                    <a:pt x="25" y="45"/>
                    <a:pt x="28" y="42"/>
                    <a:pt x="29" y="38"/>
                  </a:cubicBezTo>
                  <a:cubicBezTo>
                    <a:pt x="40" y="38"/>
                    <a:pt x="40" y="38"/>
                    <a:pt x="40" y="38"/>
                  </a:cubicBezTo>
                  <a:cubicBezTo>
                    <a:pt x="38" y="49"/>
                    <a:pt x="30" y="55"/>
                    <a:pt x="20" y="55"/>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63" name="Freeform 53">
              <a:extLst>
                <a:ext uri="{FF2B5EF4-FFF2-40B4-BE49-F238E27FC236}">
                  <a16:creationId xmlns:a16="http://schemas.microsoft.com/office/drawing/2014/main" id="{46F48E64-D737-4B2B-BA80-93553442411C}"/>
                </a:ext>
              </a:extLst>
            </p:cNvPr>
            <p:cNvSpPr>
              <a:spLocks noEditPoints="1"/>
            </p:cNvSpPr>
            <p:nvPr/>
          </p:nvSpPr>
          <p:spPr bwMode="auto">
            <a:xfrm>
              <a:off x="5593556" y="2360613"/>
              <a:ext cx="58738" cy="79375"/>
            </a:xfrm>
            <a:custGeom>
              <a:gdLst>
                <a:gd fmla="*/ 2147483647 w 41" name="T0"/>
                <a:gd fmla="*/ 2147483647 h 54" name="T1"/>
                <a:gd fmla="*/ 2147483647 w 41" name="T2"/>
                <a:gd fmla="*/ 2147483647 h 54" name="T3"/>
                <a:gd fmla="*/ 2147483647 w 41" name="T4"/>
                <a:gd fmla="*/ 2147483647 h 54" name="T5"/>
                <a:gd fmla="*/ 2147483647 w 41" name="T6"/>
                <a:gd fmla="*/ 2147483647 h 54" name="T7"/>
                <a:gd fmla="*/ 0 w 41" name="T8"/>
                <a:gd fmla="*/ 2147483647 h 54" name="T9"/>
                <a:gd fmla="*/ 0 w 41" name="T10"/>
                <a:gd fmla="*/ 0 h 54" name="T11"/>
                <a:gd fmla="*/ 2147483647 w 41" name="T12"/>
                <a:gd fmla="*/ 0 h 54" name="T13"/>
                <a:gd fmla="*/ 2147483647 w 41" name="T14"/>
                <a:gd fmla="*/ 2147483647 h 54" name="T15"/>
                <a:gd fmla="*/ 2147483647 w 41" name="T16"/>
                <a:gd fmla="*/ 2147483647 h 54" name="T17"/>
                <a:gd fmla="*/ 2147483647 w 41" name="T18"/>
                <a:gd fmla="*/ 2147483647 h 54" name="T19"/>
                <a:gd fmla="*/ 2147483647 w 41" name="T20"/>
                <a:gd fmla="*/ 2147483647 h 54" name="T21"/>
                <a:gd fmla="*/ 2147483647 w 41" name="T22"/>
                <a:gd fmla="*/ 2147483647 h 54" name="T23"/>
                <a:gd fmla="*/ 2147483647 w 41" name="T24"/>
                <a:gd fmla="*/ 2147483647 h 54" name="T25"/>
                <a:gd fmla="*/ 2147483647 w 41" name="T26"/>
                <a:gd fmla="*/ 2147483647 h 54" name="T27"/>
                <a:gd fmla="*/ 2147483647 w 41" name="T28"/>
                <a:gd fmla="*/ 2147483647 h 54" name="T29"/>
                <a:gd fmla="*/ 2147483647 w 41" name="T30"/>
                <a:gd fmla="*/ 2147483647 h 54" name="T31"/>
                <a:gd fmla="*/ 2147483647 w 41" name="T32"/>
                <a:gd fmla="*/ 2147483647 h 54" name="T33"/>
                <a:gd fmla="*/ 0 60000 65536" name="T34"/>
                <a:gd fmla="*/ 0 60000 65536" name="T35"/>
                <a:gd fmla="*/ 0 60000 65536" name="T36"/>
                <a:gd fmla="*/ 0 60000 65536" name="T37"/>
                <a:gd fmla="*/ 0 60000 65536" name="T38"/>
                <a:gd fmla="*/ 0 60000 65536" name="T39"/>
                <a:gd fmla="*/ 0 60000 65536" name="T40"/>
                <a:gd fmla="*/ 0 60000 65536" name="T41"/>
                <a:gd fmla="*/ 0 60000 65536" name="T42"/>
                <a:gd fmla="*/ 0 60000 65536" name="T43"/>
                <a:gd fmla="*/ 0 60000 65536" name="T44"/>
                <a:gd fmla="*/ 0 60000 65536" name="T45"/>
                <a:gd fmla="*/ 0 60000 65536" name="T46"/>
                <a:gd fmla="*/ 0 60000 65536" name="T47"/>
                <a:gd fmla="*/ 0 60000 65536" name="T48"/>
                <a:gd fmla="*/ 0 60000 65536" name="T49"/>
                <a:gd fmla="*/ 0 60000 65536" name="T50"/>
              </a:gd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b="b" l="0" r="r" t="0"/>
              <a:pathLst>
                <a:path h="54" w="41">
                  <a:moveTo>
                    <a:pt x="29" y="54"/>
                  </a:moveTo>
                  <a:cubicBezTo>
                    <a:pt x="18" y="33"/>
                    <a:pt x="18" y="33"/>
                    <a:pt x="18" y="33"/>
                  </a:cubicBezTo>
                  <a:cubicBezTo>
                    <a:pt x="10" y="33"/>
                    <a:pt x="10" y="33"/>
                    <a:pt x="10" y="33"/>
                  </a:cubicBezTo>
                  <a:cubicBezTo>
                    <a:pt x="10" y="54"/>
                    <a:pt x="10" y="54"/>
                    <a:pt x="10" y="54"/>
                  </a:cubicBezTo>
                  <a:cubicBezTo>
                    <a:pt x="0" y="54"/>
                    <a:pt x="0" y="54"/>
                    <a:pt x="0" y="54"/>
                  </a:cubicBezTo>
                  <a:cubicBezTo>
                    <a:pt x="0" y="0"/>
                    <a:pt x="0" y="0"/>
                    <a:pt x="0" y="0"/>
                  </a:cubicBezTo>
                  <a:cubicBezTo>
                    <a:pt x="21" y="0"/>
                    <a:pt x="21" y="0"/>
                    <a:pt x="21" y="0"/>
                  </a:cubicBezTo>
                  <a:cubicBezTo>
                    <a:pt x="32" y="0"/>
                    <a:pt x="39" y="8"/>
                    <a:pt x="39" y="17"/>
                  </a:cubicBezTo>
                  <a:cubicBezTo>
                    <a:pt x="39" y="24"/>
                    <a:pt x="34" y="29"/>
                    <a:pt x="29" y="31"/>
                  </a:cubicBezTo>
                  <a:cubicBezTo>
                    <a:pt x="41" y="54"/>
                    <a:pt x="41" y="54"/>
                    <a:pt x="41" y="54"/>
                  </a:cubicBezTo>
                  <a:lnTo>
                    <a:pt x="29" y="54"/>
                  </a:lnTo>
                  <a:close/>
                  <a:moveTo>
                    <a:pt x="20" y="10"/>
                  </a:moveTo>
                  <a:cubicBezTo>
                    <a:pt x="10" y="10"/>
                    <a:pt x="10" y="10"/>
                    <a:pt x="10" y="10"/>
                  </a:cubicBezTo>
                  <a:cubicBezTo>
                    <a:pt x="10" y="24"/>
                    <a:pt x="10" y="24"/>
                    <a:pt x="10" y="24"/>
                  </a:cubicBezTo>
                  <a:cubicBezTo>
                    <a:pt x="20" y="24"/>
                    <a:pt x="20" y="24"/>
                    <a:pt x="20" y="24"/>
                  </a:cubicBezTo>
                  <a:cubicBezTo>
                    <a:pt x="25" y="24"/>
                    <a:pt x="28" y="21"/>
                    <a:pt x="28" y="17"/>
                  </a:cubicBezTo>
                  <a:cubicBezTo>
                    <a:pt x="28" y="13"/>
                    <a:pt x="25" y="10"/>
                    <a:pt x="20" y="10"/>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64" name="Freeform 54">
              <a:extLst>
                <a:ext uri="{FF2B5EF4-FFF2-40B4-BE49-F238E27FC236}">
                  <a16:creationId xmlns:a16="http://schemas.microsoft.com/office/drawing/2014/main" id="{E293DBD6-92DD-436A-95E0-6E743D1170AD}"/>
                </a:ext>
              </a:extLst>
            </p:cNvPr>
            <p:cNvSpPr/>
            <p:nvPr/>
          </p:nvSpPr>
          <p:spPr bwMode="auto">
            <a:xfrm>
              <a:off x="5666581" y="2360613"/>
              <a:ext cx="50800" cy="79375"/>
            </a:xfrm>
            <a:custGeom>
              <a:gdLst>
                <a:gd fmla="*/ 0 w 32" name="T0"/>
                <a:gd fmla="*/ 2147483647 h 50" name="T1"/>
                <a:gd fmla="*/ 0 w 32" name="T2"/>
                <a:gd fmla="*/ 0 h 50" name="T3"/>
                <a:gd fmla="*/ 2147483647 w 32" name="T4"/>
                <a:gd fmla="*/ 0 h 50" name="T5"/>
                <a:gd fmla="*/ 2147483647 w 32" name="T6"/>
                <a:gd fmla="*/ 2147483647 h 50" name="T7"/>
                <a:gd fmla="*/ 2147483647 w 32" name="T8"/>
                <a:gd fmla="*/ 2147483647 h 50" name="T9"/>
                <a:gd fmla="*/ 2147483647 w 32" name="T10"/>
                <a:gd fmla="*/ 2147483647 h 50" name="T11"/>
                <a:gd fmla="*/ 2147483647 w 32" name="T12"/>
                <a:gd fmla="*/ 2147483647 h 50" name="T13"/>
                <a:gd fmla="*/ 2147483647 w 32" name="T14"/>
                <a:gd fmla="*/ 2147483647 h 50" name="T15"/>
                <a:gd fmla="*/ 2147483647 w 32" name="T16"/>
                <a:gd fmla="*/ 2147483647 h 50" name="T17"/>
                <a:gd fmla="*/ 2147483647 w 32" name="T18"/>
                <a:gd fmla="*/ 2147483647 h 50" name="T19"/>
                <a:gd fmla="*/ 2147483647 w 32" name="T20"/>
                <a:gd fmla="*/ 2147483647 h 50" name="T21"/>
                <a:gd fmla="*/ 2147483647 w 32" name="T22"/>
                <a:gd fmla="*/ 2147483647 h 50" name="T23"/>
                <a:gd fmla="*/ 0 w 32" name="T24"/>
                <a:gd fmla="*/ 2147483647 h 50" name="T25"/>
                <a:gd fmla="*/ 0 60000 65536" name="T26"/>
                <a:gd fmla="*/ 0 60000 65536" name="T27"/>
                <a:gd fmla="*/ 0 60000 65536" name="T28"/>
                <a:gd fmla="*/ 0 60000 65536" name="T29"/>
                <a:gd fmla="*/ 0 60000 65536" name="T30"/>
                <a:gd fmla="*/ 0 60000 65536" name="T31"/>
                <a:gd fmla="*/ 0 60000 65536" name="T32"/>
                <a:gd fmla="*/ 0 60000 65536" name="T33"/>
                <a:gd fmla="*/ 0 60000 65536" name="T34"/>
                <a:gd fmla="*/ 0 60000 65536" name="T35"/>
                <a:gd fmla="*/ 0 60000 65536" name="T36"/>
                <a:gd fmla="*/ 0 60000 65536" name="T37"/>
                <a:gd fmla="*/ 0 60000 65536" name="T38"/>
              </a:gd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b="b" l="0" r="r" t="0"/>
              <a:pathLst>
                <a:path h="50" w="32">
                  <a:moveTo>
                    <a:pt x="0" y="50"/>
                  </a:moveTo>
                  <a:lnTo>
                    <a:pt x="0" y="0"/>
                  </a:lnTo>
                  <a:lnTo>
                    <a:pt x="32" y="0"/>
                  </a:lnTo>
                  <a:lnTo>
                    <a:pt x="32" y="9"/>
                  </a:lnTo>
                  <a:lnTo>
                    <a:pt x="9" y="9"/>
                  </a:lnTo>
                  <a:lnTo>
                    <a:pt x="9" y="20"/>
                  </a:lnTo>
                  <a:lnTo>
                    <a:pt x="29" y="20"/>
                  </a:lnTo>
                  <a:lnTo>
                    <a:pt x="29" y="29"/>
                  </a:lnTo>
                  <a:lnTo>
                    <a:pt x="9" y="29"/>
                  </a:lnTo>
                  <a:lnTo>
                    <a:pt x="9" y="41"/>
                  </a:lnTo>
                  <a:lnTo>
                    <a:pt x="32" y="41"/>
                  </a:lnTo>
                  <a:lnTo>
                    <a:pt x="32" y="50"/>
                  </a:lnTo>
                  <a:lnTo>
                    <a:pt x="0" y="50"/>
                  </a:lnTo>
                  <a:close/>
                </a:path>
              </a:pathLst>
            </a:custGeom>
            <a:solidFill>
              <a:srgbClr val="FFFFFF"/>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65" name="Freeform 55">
              <a:extLst>
                <a:ext uri="{FF2B5EF4-FFF2-40B4-BE49-F238E27FC236}">
                  <a16:creationId xmlns:a16="http://schemas.microsoft.com/office/drawing/2014/main" id="{35CDCAC3-E878-42DA-98C6-4BB21C4640B9}"/>
                </a:ext>
              </a:extLst>
            </p:cNvPr>
            <p:cNvSpPr>
              <a:spLocks noEditPoints="1"/>
            </p:cNvSpPr>
            <p:nvPr/>
          </p:nvSpPr>
          <p:spPr bwMode="auto">
            <a:xfrm>
              <a:off x="5723731" y="2360613"/>
              <a:ext cx="69850" cy="79375"/>
            </a:xfrm>
            <a:custGeom>
              <a:gdLst>
                <a:gd fmla="*/ 2147483647 w 44" name="T0"/>
                <a:gd fmla="*/ 2147483647 h 50" name="T1"/>
                <a:gd fmla="*/ 2147483647 w 44" name="T2"/>
                <a:gd fmla="*/ 2147483647 h 50" name="T3"/>
                <a:gd fmla="*/ 2147483647 w 44" name="T4"/>
                <a:gd fmla="*/ 2147483647 h 50" name="T5"/>
                <a:gd fmla="*/ 2147483647 w 44" name="T6"/>
                <a:gd fmla="*/ 2147483647 h 50" name="T7"/>
                <a:gd fmla="*/ 0 w 44" name="T8"/>
                <a:gd fmla="*/ 2147483647 h 50" name="T9"/>
                <a:gd fmla="*/ 2147483647 w 44" name="T10"/>
                <a:gd fmla="*/ 0 h 50" name="T11"/>
                <a:gd fmla="*/ 2147483647 w 44" name="T12"/>
                <a:gd fmla="*/ 0 h 50" name="T13"/>
                <a:gd fmla="*/ 2147483647 w 44" name="T14"/>
                <a:gd fmla="*/ 2147483647 h 50" name="T15"/>
                <a:gd fmla="*/ 2147483647 w 44" name="T16"/>
                <a:gd fmla="*/ 2147483647 h 50" name="T17"/>
                <a:gd fmla="*/ 2147483647 w 44" name="T18"/>
                <a:gd fmla="*/ 2147483647 h 50" name="T19"/>
                <a:gd fmla="*/ 2147483647 w 44" name="T20"/>
                <a:gd fmla="*/ 2147483647 h 50" name="T21"/>
                <a:gd fmla="*/ 2147483647 w 44" name="T22"/>
                <a:gd fmla="*/ 2147483647 h 50" name="T23"/>
                <a:gd fmla="*/ 2147483647 w 44" name="T24"/>
                <a:gd fmla="*/ 2147483647 h 50" name="T25"/>
                <a:gd fmla="*/ 0 60000 65536" name="T26"/>
                <a:gd fmla="*/ 0 60000 65536" name="T27"/>
                <a:gd fmla="*/ 0 60000 65536" name="T28"/>
                <a:gd fmla="*/ 0 60000 65536" name="T29"/>
                <a:gd fmla="*/ 0 60000 65536" name="T30"/>
                <a:gd fmla="*/ 0 60000 65536" name="T31"/>
                <a:gd fmla="*/ 0 60000 65536" name="T32"/>
                <a:gd fmla="*/ 0 60000 65536" name="T33"/>
                <a:gd fmla="*/ 0 60000 65536" name="T34"/>
                <a:gd fmla="*/ 0 60000 65536" name="T35"/>
                <a:gd fmla="*/ 0 60000 65536" name="T36"/>
                <a:gd fmla="*/ 0 60000 65536" name="T37"/>
                <a:gd fmla="*/ 0 60000 65536" name="T38"/>
              </a:gd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b="b" l="0" r="r" t="0"/>
              <a:pathLst>
                <a:path h="50" w="44">
                  <a:moveTo>
                    <a:pt x="34" y="50"/>
                  </a:moveTo>
                  <a:lnTo>
                    <a:pt x="31" y="41"/>
                  </a:lnTo>
                  <a:lnTo>
                    <a:pt x="13" y="41"/>
                  </a:lnTo>
                  <a:lnTo>
                    <a:pt x="10" y="50"/>
                  </a:lnTo>
                  <a:lnTo>
                    <a:pt x="0" y="50"/>
                  </a:lnTo>
                  <a:lnTo>
                    <a:pt x="19" y="0"/>
                  </a:lnTo>
                  <a:lnTo>
                    <a:pt x="26" y="0"/>
                  </a:lnTo>
                  <a:lnTo>
                    <a:pt x="44" y="50"/>
                  </a:lnTo>
                  <a:lnTo>
                    <a:pt x="34" y="50"/>
                  </a:lnTo>
                  <a:close/>
                  <a:moveTo>
                    <a:pt x="22" y="15"/>
                  </a:moveTo>
                  <a:lnTo>
                    <a:pt x="16" y="33"/>
                  </a:lnTo>
                  <a:lnTo>
                    <a:pt x="29" y="33"/>
                  </a:lnTo>
                  <a:lnTo>
                    <a:pt x="22" y="15"/>
                  </a:lnTo>
                  <a:close/>
                </a:path>
              </a:pathLst>
            </a:custGeom>
            <a:solidFill>
              <a:srgbClr val="FFFFFF"/>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66" name="Freeform 56">
              <a:extLst>
                <a:ext uri="{FF2B5EF4-FFF2-40B4-BE49-F238E27FC236}">
                  <a16:creationId xmlns:a16="http://schemas.microsoft.com/office/drawing/2014/main" id="{83F3F065-A667-4A6F-95C5-81DC70FA98B1}"/>
                </a:ext>
              </a:extLst>
            </p:cNvPr>
            <p:cNvSpPr/>
            <p:nvPr/>
          </p:nvSpPr>
          <p:spPr bwMode="auto">
            <a:xfrm>
              <a:off x="5790406" y="2360613"/>
              <a:ext cx="57150" cy="79375"/>
            </a:xfrm>
            <a:custGeom>
              <a:gdLst>
                <a:gd fmla="*/ 2147483647 w 36" name="T0"/>
                <a:gd fmla="*/ 2147483647 h 50" name="T1"/>
                <a:gd fmla="*/ 2147483647 w 36" name="T2"/>
                <a:gd fmla="*/ 2147483647 h 50" name="T3"/>
                <a:gd fmla="*/ 2147483647 w 36" name="T4"/>
                <a:gd fmla="*/ 2147483647 h 50" name="T5"/>
                <a:gd fmla="*/ 2147483647 w 36" name="T6"/>
                <a:gd fmla="*/ 2147483647 h 50" name="T7"/>
                <a:gd fmla="*/ 0 w 36" name="T8"/>
                <a:gd fmla="*/ 2147483647 h 50" name="T9"/>
                <a:gd fmla="*/ 0 w 36" name="T10"/>
                <a:gd fmla="*/ 0 h 50" name="T11"/>
                <a:gd fmla="*/ 2147483647 w 36" name="T12"/>
                <a:gd fmla="*/ 0 h 50" name="T13"/>
                <a:gd fmla="*/ 2147483647 w 36" name="T14"/>
                <a:gd fmla="*/ 2147483647 h 50" name="T15"/>
                <a:gd fmla="*/ 2147483647 w 36" name="T16"/>
                <a:gd fmla="*/ 2147483647 h 50" name="T17"/>
                <a:gd fmla="*/ 0 60000 65536" name="T18"/>
                <a:gd fmla="*/ 0 60000 65536" name="T19"/>
                <a:gd fmla="*/ 0 60000 65536" name="T20"/>
                <a:gd fmla="*/ 0 60000 65536" name="T21"/>
                <a:gd fmla="*/ 0 60000 65536" name="T22"/>
                <a:gd fmla="*/ 0 60000 65536" name="T23"/>
                <a:gd fmla="*/ 0 60000 65536" name="T24"/>
                <a:gd fmla="*/ 0 60000 65536" name="T25"/>
                <a:gd fmla="*/ 0 60000 65536" name="T26"/>
              </a:gd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b="b" l="0" r="r" t="0"/>
              <a:pathLst>
                <a:path h="50" w="36">
                  <a:moveTo>
                    <a:pt x="23" y="9"/>
                  </a:moveTo>
                  <a:lnTo>
                    <a:pt x="23" y="50"/>
                  </a:lnTo>
                  <a:lnTo>
                    <a:pt x="13" y="50"/>
                  </a:lnTo>
                  <a:lnTo>
                    <a:pt x="13" y="9"/>
                  </a:lnTo>
                  <a:lnTo>
                    <a:pt x="0" y="9"/>
                  </a:lnTo>
                  <a:lnTo>
                    <a:pt x="0" y="0"/>
                  </a:lnTo>
                  <a:lnTo>
                    <a:pt x="36" y="0"/>
                  </a:lnTo>
                  <a:lnTo>
                    <a:pt x="36" y="9"/>
                  </a:lnTo>
                  <a:lnTo>
                    <a:pt x="23" y="9"/>
                  </a:lnTo>
                  <a:close/>
                </a:path>
              </a:pathLst>
            </a:custGeom>
            <a:solidFill>
              <a:srgbClr val="FFFFFF"/>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67" name="Rectangle 57">
              <a:extLst>
                <a:ext uri="{FF2B5EF4-FFF2-40B4-BE49-F238E27FC236}">
                  <a16:creationId xmlns:a16="http://schemas.microsoft.com/office/drawing/2014/main" id="{6A741C55-1B1C-4015-9189-D3CC8FB80A9C}"/>
                </a:ext>
              </a:extLst>
            </p:cNvPr>
            <p:cNvSpPr>
              <a:spLocks noChangeArrowheads="1"/>
            </p:cNvSpPr>
            <p:nvPr/>
          </p:nvSpPr>
          <p:spPr bwMode="auto">
            <a:xfrm>
              <a:off x="5860256" y="2360613"/>
              <a:ext cx="15875" cy="79375"/>
            </a:xfrm>
            <a:prstGeom prst="rect">
              <a:avLst/>
            </a:prstGeom>
            <a:solidFill>
              <a:srgbClr val="FFFFFF"/>
            </a:solidFill>
            <a:ln>
              <a:noFill/>
            </a:ln>
            <a:extLst>
              <a:ext uri="{91240B29-F687-4F45-9708-019B960494DF}">
                <a14:hiddenLine w="9525">
                  <a:solidFill>
                    <a:srgbClr val="000000"/>
                  </a:solidFill>
                  <a:miter lim="800000"/>
                  <a:headEnd/>
                  <a:tailEnd/>
                </a14:hiddenLine>
              </a:ext>
            </a:extLst>
          </p:spPr>
          <p:txBody>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68" name="Freeform 58">
              <a:extLst>
                <a:ext uri="{FF2B5EF4-FFF2-40B4-BE49-F238E27FC236}">
                  <a16:creationId xmlns:a16="http://schemas.microsoft.com/office/drawing/2014/main" id="{835D3A11-5A26-4548-B3AD-D65C53038652}"/>
                </a:ext>
              </a:extLst>
            </p:cNvPr>
            <p:cNvSpPr/>
            <p:nvPr/>
          </p:nvSpPr>
          <p:spPr bwMode="auto">
            <a:xfrm>
              <a:off x="5884068" y="2360613"/>
              <a:ext cx="65088" cy="79375"/>
            </a:xfrm>
            <a:custGeom>
              <a:gdLst>
                <a:gd fmla="*/ 2147483647 w 41" name="T0"/>
                <a:gd fmla="*/ 2147483647 h 50" name="T1"/>
                <a:gd fmla="*/ 2147483647 w 41" name="T2"/>
                <a:gd fmla="*/ 2147483647 h 50" name="T3"/>
                <a:gd fmla="*/ 0 w 41" name="T4"/>
                <a:gd fmla="*/ 0 h 50" name="T5"/>
                <a:gd fmla="*/ 2147483647 w 41" name="T6"/>
                <a:gd fmla="*/ 0 h 50" name="T7"/>
                <a:gd fmla="*/ 2147483647 w 41" name="T8"/>
                <a:gd fmla="*/ 2147483647 h 50" name="T9"/>
                <a:gd fmla="*/ 2147483647 w 41" name="T10"/>
                <a:gd fmla="*/ 0 h 50" name="T11"/>
                <a:gd fmla="*/ 2147483647 w 41" name="T12"/>
                <a:gd fmla="*/ 0 h 50" name="T13"/>
                <a:gd fmla="*/ 2147483647 w 41" name="T14"/>
                <a:gd fmla="*/ 2147483647 h 50" name="T15"/>
                <a:gd fmla="*/ 0 60000 65536" name="T16"/>
                <a:gd fmla="*/ 0 60000 65536" name="T17"/>
                <a:gd fmla="*/ 0 60000 65536" name="T18"/>
                <a:gd fmla="*/ 0 60000 65536" name="T19"/>
                <a:gd fmla="*/ 0 60000 65536" name="T20"/>
                <a:gd fmla="*/ 0 60000 65536" name="T21"/>
                <a:gd fmla="*/ 0 60000 65536" name="T22"/>
                <a:gd fmla="*/ 0 60000 65536" name="T23"/>
              </a:gdLst>
              <a:cxnLst>
                <a:cxn ang="T16">
                  <a:pos x="T0" y="T1"/>
                </a:cxn>
                <a:cxn ang="T17">
                  <a:pos x="T2" y="T3"/>
                </a:cxn>
                <a:cxn ang="T18">
                  <a:pos x="T4" y="T5"/>
                </a:cxn>
                <a:cxn ang="T19">
                  <a:pos x="T6" y="T7"/>
                </a:cxn>
                <a:cxn ang="T20">
                  <a:pos x="T8" y="T9"/>
                </a:cxn>
                <a:cxn ang="T21">
                  <a:pos x="T10" y="T11"/>
                </a:cxn>
                <a:cxn ang="T22">
                  <a:pos x="T12" y="T13"/>
                </a:cxn>
                <a:cxn ang="T23">
                  <a:pos x="T14" y="T15"/>
                </a:cxn>
              </a:cxnLst>
              <a:rect b="b" l="0" r="r" t="0"/>
              <a:pathLst>
                <a:path h="50" w="41">
                  <a:moveTo>
                    <a:pt x="24" y="50"/>
                  </a:moveTo>
                  <a:lnTo>
                    <a:pt x="17" y="50"/>
                  </a:lnTo>
                  <a:lnTo>
                    <a:pt x="0" y="0"/>
                  </a:lnTo>
                  <a:lnTo>
                    <a:pt x="10" y="0"/>
                  </a:lnTo>
                  <a:lnTo>
                    <a:pt x="20" y="33"/>
                  </a:lnTo>
                  <a:lnTo>
                    <a:pt x="30" y="0"/>
                  </a:lnTo>
                  <a:lnTo>
                    <a:pt x="41" y="0"/>
                  </a:lnTo>
                  <a:lnTo>
                    <a:pt x="24" y="50"/>
                  </a:lnTo>
                  <a:close/>
                </a:path>
              </a:pathLst>
            </a:custGeom>
            <a:solidFill>
              <a:srgbClr val="FFFFFF"/>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69" name="Freeform 59">
              <a:extLst>
                <a:ext uri="{FF2B5EF4-FFF2-40B4-BE49-F238E27FC236}">
                  <a16:creationId xmlns:a16="http://schemas.microsoft.com/office/drawing/2014/main" id="{B23E1FD9-65C1-416E-B0A0-8932649A8F71}"/>
                </a:ext>
              </a:extLst>
            </p:cNvPr>
            <p:cNvSpPr/>
            <p:nvPr/>
          </p:nvSpPr>
          <p:spPr bwMode="auto">
            <a:xfrm>
              <a:off x="5958681" y="2360613"/>
              <a:ext cx="52388" cy="79375"/>
            </a:xfrm>
            <a:custGeom>
              <a:gdLst>
                <a:gd fmla="*/ 0 w 33" name="T0"/>
                <a:gd fmla="*/ 2147483647 h 50" name="T1"/>
                <a:gd fmla="*/ 0 w 33" name="T2"/>
                <a:gd fmla="*/ 0 h 50" name="T3"/>
                <a:gd fmla="*/ 2147483647 w 33" name="T4"/>
                <a:gd fmla="*/ 0 h 50" name="T5"/>
                <a:gd fmla="*/ 2147483647 w 33" name="T6"/>
                <a:gd fmla="*/ 2147483647 h 50" name="T7"/>
                <a:gd fmla="*/ 2147483647 w 33" name="T8"/>
                <a:gd fmla="*/ 2147483647 h 50" name="T9"/>
                <a:gd fmla="*/ 2147483647 w 33" name="T10"/>
                <a:gd fmla="*/ 2147483647 h 50" name="T11"/>
                <a:gd fmla="*/ 2147483647 w 33" name="T12"/>
                <a:gd fmla="*/ 2147483647 h 50" name="T13"/>
                <a:gd fmla="*/ 2147483647 w 33" name="T14"/>
                <a:gd fmla="*/ 2147483647 h 50" name="T15"/>
                <a:gd fmla="*/ 2147483647 w 33" name="T16"/>
                <a:gd fmla="*/ 2147483647 h 50" name="T17"/>
                <a:gd fmla="*/ 2147483647 w 33" name="T18"/>
                <a:gd fmla="*/ 2147483647 h 50" name="T19"/>
                <a:gd fmla="*/ 2147483647 w 33" name="T20"/>
                <a:gd fmla="*/ 2147483647 h 50" name="T21"/>
                <a:gd fmla="*/ 2147483647 w 33" name="T22"/>
                <a:gd fmla="*/ 2147483647 h 50" name="T23"/>
                <a:gd fmla="*/ 0 w 33" name="T24"/>
                <a:gd fmla="*/ 2147483647 h 50" name="T25"/>
                <a:gd fmla="*/ 0 60000 65536" name="T26"/>
                <a:gd fmla="*/ 0 60000 65536" name="T27"/>
                <a:gd fmla="*/ 0 60000 65536" name="T28"/>
                <a:gd fmla="*/ 0 60000 65536" name="T29"/>
                <a:gd fmla="*/ 0 60000 65536" name="T30"/>
                <a:gd fmla="*/ 0 60000 65536" name="T31"/>
                <a:gd fmla="*/ 0 60000 65536" name="T32"/>
                <a:gd fmla="*/ 0 60000 65536" name="T33"/>
                <a:gd fmla="*/ 0 60000 65536" name="T34"/>
                <a:gd fmla="*/ 0 60000 65536" name="T35"/>
                <a:gd fmla="*/ 0 60000 65536" name="T36"/>
                <a:gd fmla="*/ 0 60000 65536" name="T37"/>
                <a:gd fmla="*/ 0 60000 65536" name="T38"/>
              </a:gd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b="b" l="0" r="r" t="0"/>
              <a:pathLst>
                <a:path h="50" w="33">
                  <a:moveTo>
                    <a:pt x="0" y="50"/>
                  </a:moveTo>
                  <a:lnTo>
                    <a:pt x="0" y="0"/>
                  </a:lnTo>
                  <a:lnTo>
                    <a:pt x="33" y="0"/>
                  </a:lnTo>
                  <a:lnTo>
                    <a:pt x="33" y="9"/>
                  </a:lnTo>
                  <a:lnTo>
                    <a:pt x="9" y="9"/>
                  </a:lnTo>
                  <a:lnTo>
                    <a:pt x="9" y="20"/>
                  </a:lnTo>
                  <a:lnTo>
                    <a:pt x="29" y="20"/>
                  </a:lnTo>
                  <a:lnTo>
                    <a:pt x="29" y="29"/>
                  </a:lnTo>
                  <a:lnTo>
                    <a:pt x="9" y="29"/>
                  </a:lnTo>
                  <a:lnTo>
                    <a:pt x="9" y="41"/>
                  </a:lnTo>
                  <a:lnTo>
                    <a:pt x="33" y="41"/>
                  </a:lnTo>
                  <a:lnTo>
                    <a:pt x="33" y="50"/>
                  </a:lnTo>
                  <a:lnTo>
                    <a:pt x="0" y="50"/>
                  </a:lnTo>
                  <a:close/>
                </a:path>
              </a:pathLst>
            </a:custGeom>
            <a:solidFill>
              <a:srgbClr val="FFFFFF"/>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grpSp>
      <p:sp>
        <p:nvSpPr>
          <p:cNvPr id="17412" name="矩形 94">
            <a:extLst>
              <a:ext uri="{FF2B5EF4-FFF2-40B4-BE49-F238E27FC236}">
                <a16:creationId xmlns:a16="http://schemas.microsoft.com/office/drawing/2014/main" id="{84E460C3-CA5B-44FB-A7C4-1080C343DBE6}"/>
              </a:ext>
            </a:extLst>
          </p:cNvPr>
          <p:cNvSpPr>
            <a:spLocks noChangeArrowheads="1"/>
          </p:cNvSpPr>
          <p:nvPr/>
        </p:nvSpPr>
        <p:spPr bwMode="auto">
          <a:xfrm>
            <a:off x="8399464" y="2266592"/>
            <a:ext cx="2798762" cy="115824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r>
              <a:rPr altLang="en-US" lang="zh-CN" sz="1400">
                <a:solidFill>
                  <a:schemeClr val="accent3"/>
                </a:solidFill>
                <a:latin charset="-122" panose="020b0400000000000000" pitchFamily="34" typeface="思源黑体"/>
                <a:ea charset="-122" panose="020b0400000000000000" pitchFamily="34" typeface="思源黑体"/>
                <a:sym charset="-122" panose="020b0400000000000000" pitchFamily="34" typeface="思源黑体"/>
              </a:rPr>
              <a:t>faucibus orci luctus et ultrices posuere cubilia Curae; Donec velit neque, auctor sit amet aliquam vel, ullamcorper sit amet ligula. Nulla</a:t>
            </a:r>
          </a:p>
        </p:txBody>
      </p:sp>
      <p:sp>
        <p:nvSpPr>
          <p:cNvPr id="17413" name="矩形 96">
            <a:extLst>
              <a:ext uri="{FF2B5EF4-FFF2-40B4-BE49-F238E27FC236}">
                <a16:creationId xmlns:a16="http://schemas.microsoft.com/office/drawing/2014/main" id="{C810F145-BC0E-4A52-BB10-EF9EF75FDA18}"/>
              </a:ext>
            </a:extLst>
          </p:cNvPr>
          <p:cNvSpPr>
            <a:spLocks noChangeArrowheads="1"/>
          </p:cNvSpPr>
          <p:nvPr/>
        </p:nvSpPr>
        <p:spPr bwMode="auto">
          <a:xfrm>
            <a:off x="8399464" y="3951288"/>
            <a:ext cx="2903537" cy="115824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r>
              <a:rPr altLang="en-US" lang="zh-CN" sz="1400">
                <a:solidFill>
                  <a:schemeClr val="accent3"/>
                </a:solidFill>
                <a:latin charset="-122" panose="020b0400000000000000" pitchFamily="34" typeface="思源黑体"/>
                <a:ea charset="-122" panose="020b0400000000000000" pitchFamily="34" typeface="思源黑体"/>
                <a:sym charset="-122" panose="020b0400000000000000" pitchFamily="34" typeface="思源黑体"/>
              </a:rPr>
              <a:t>faucibus orci luctus et ultrices posuere cubilia Curae; Donec velit neque, auctor sit amet aliquam vel, ullamcorper sit amet ligula. Nulla</a:t>
            </a:r>
          </a:p>
        </p:txBody>
      </p:sp>
      <p:sp>
        <p:nvSpPr>
          <p:cNvPr id="98" name="KSO_Shape">
            <a:extLst>
              <a:ext uri="{FF2B5EF4-FFF2-40B4-BE49-F238E27FC236}">
                <a16:creationId xmlns:a16="http://schemas.microsoft.com/office/drawing/2014/main" id="{C815193E-7410-47A5-989A-3BD5F7BC6CD0}"/>
              </a:ext>
            </a:extLst>
          </p:cNvPr>
          <p:cNvSpPr/>
          <p:nvPr/>
        </p:nvSpPr>
        <p:spPr bwMode="auto">
          <a:xfrm>
            <a:off x="8007350" y="4268785"/>
            <a:ext cx="330200" cy="246062"/>
          </a:xfrm>
          <a:custGeom>
            <a:rect b="b" l="l" r="r" t="t"/>
            <a:pathLst>
              <a:path h="1078336" w="1439795">
                <a:moveTo>
                  <a:pt x="1320032" y="0"/>
                </a:moveTo>
                <a:lnTo>
                  <a:pt x="1439795" y="108600"/>
                </a:lnTo>
                <a:lnTo>
                  <a:pt x="560454" y="1078336"/>
                </a:lnTo>
                <a:lnTo>
                  <a:pt x="0" y="570126"/>
                </a:lnTo>
                <a:lnTo>
                  <a:pt x="100041" y="459801"/>
                </a:lnTo>
                <a:lnTo>
                  <a:pt x="540731" y="859412"/>
                </a:lnTo>
                <a:close/>
              </a:path>
            </a:pathLst>
          </a:cu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solidFill>
                <a:schemeClr val="bg1"/>
              </a:solidFill>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7415" name="矩形 99">
            <a:extLst>
              <a:ext uri="{FF2B5EF4-FFF2-40B4-BE49-F238E27FC236}">
                <a16:creationId xmlns:a16="http://schemas.microsoft.com/office/drawing/2014/main" id="{2C72F722-59EF-4347-9B43-792E63E84BC8}"/>
              </a:ext>
            </a:extLst>
          </p:cNvPr>
          <p:cNvSpPr>
            <a:spLocks noChangeArrowheads="1"/>
          </p:cNvSpPr>
          <p:nvPr/>
        </p:nvSpPr>
        <p:spPr bwMode="auto">
          <a:xfrm>
            <a:off x="1408113" y="3428999"/>
            <a:ext cx="3106737" cy="2225041"/>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r>
              <a:rPr altLang="en-US" lang="zh-CN" sz="1400">
                <a:solidFill>
                  <a:schemeClr val="accent3"/>
                </a:solidFill>
                <a:latin charset="-122" panose="020b0400000000000000" pitchFamily="34" typeface="思源黑体"/>
                <a:ea charset="-122" panose="020b0400000000000000" pitchFamily="34" typeface="思源黑体"/>
                <a:sym charset="-122" panose="020b0400000000000000" pitchFamily="34" typeface="思源黑体"/>
              </a:rPr>
              <a:t>Vestibulum ante ipsum primis in faucibus orci luctus et ultrices posuere cubilia Curae; Donec velit neque, auctor sit amet aliquam vel, ullamcorper sit amet ligula. Nulla quis</a:t>
            </a:r>
          </a:p>
          <a:p>
            <a:pPr eaLnBrk="1" hangingPunct="1"/>
            <a:r>
              <a:rPr altLang="en-US" lang="zh-CN" sz="1400">
                <a:solidFill>
                  <a:schemeClr val="accent3"/>
                </a:solidFill>
                <a:latin charset="-122" panose="020b0400000000000000" pitchFamily="34" typeface="思源黑体"/>
                <a:ea charset="-122" panose="020b0400000000000000" pitchFamily="34" typeface="思源黑体"/>
                <a:sym charset="-122" panose="020b0400000000000000" pitchFamily="34" typeface="思源黑体"/>
              </a:rPr>
              <a:t>lorem ut libero malesuada feugiat. Vestibulum ac diam sit amet quam vehiculaVestibulum ante ipsum primis in faucibus</a:t>
            </a:r>
          </a:p>
        </p:txBody>
      </p:sp>
      <p:sp>
        <p:nvSpPr>
          <p:cNvPr id="17416" name="矩形 100">
            <a:extLst>
              <a:ext uri="{FF2B5EF4-FFF2-40B4-BE49-F238E27FC236}">
                <a16:creationId xmlns:a16="http://schemas.microsoft.com/office/drawing/2014/main" id="{CB4B64C2-10DD-4B19-B428-572E874AA80F}"/>
              </a:ext>
            </a:extLst>
          </p:cNvPr>
          <p:cNvSpPr>
            <a:spLocks noChangeArrowheads="1"/>
          </p:cNvSpPr>
          <p:nvPr/>
        </p:nvSpPr>
        <p:spPr bwMode="auto">
          <a:xfrm>
            <a:off x="1408113" y="2206625"/>
            <a:ext cx="2987675" cy="94488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r>
              <a:rPr altLang="zh-CN" lang="en-US" sz="2800">
                <a:solidFill>
                  <a:schemeClr val="accent1"/>
                </a:solidFill>
                <a:latin charset="-122" panose="020b0400000000000000" pitchFamily="34" typeface="思源黑体"/>
                <a:ea charset="-122" panose="020b0400000000000000" pitchFamily="34" typeface="思源黑体"/>
                <a:sym charset="-122" panose="020b0400000000000000" pitchFamily="34" typeface="思源黑体"/>
              </a:rPr>
              <a:t>DONEC SOLLICITUDIN. </a:t>
            </a:r>
          </a:p>
        </p:txBody>
      </p:sp>
      <p:sp>
        <p:nvSpPr>
          <p:cNvPr id="66" name="KSO_Shape">
            <a:extLst>
              <a:ext uri="{FF2B5EF4-FFF2-40B4-BE49-F238E27FC236}">
                <a16:creationId xmlns:a16="http://schemas.microsoft.com/office/drawing/2014/main" id="{40CC8161-1403-43E0-92AA-E44A92ED1062}"/>
              </a:ext>
            </a:extLst>
          </p:cNvPr>
          <p:cNvSpPr/>
          <p:nvPr/>
        </p:nvSpPr>
        <p:spPr bwMode="auto">
          <a:xfrm>
            <a:off x="8007350" y="2814638"/>
            <a:ext cx="330200" cy="246062"/>
          </a:xfrm>
          <a:custGeom>
            <a:rect b="b" l="l" r="r" t="t"/>
            <a:pathLst>
              <a:path h="1078336" w="1439795">
                <a:moveTo>
                  <a:pt x="1320032" y="0"/>
                </a:moveTo>
                <a:lnTo>
                  <a:pt x="1439795" y="108600"/>
                </a:lnTo>
                <a:lnTo>
                  <a:pt x="560454" y="1078336"/>
                </a:lnTo>
                <a:lnTo>
                  <a:pt x="0" y="570126"/>
                </a:lnTo>
                <a:lnTo>
                  <a:pt x="100041" y="459801"/>
                </a:lnTo>
                <a:lnTo>
                  <a:pt x="540731" y="859412"/>
                </a:lnTo>
                <a:close/>
              </a:path>
            </a:pathLst>
          </a:cu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solidFill>
                <a:schemeClr val="bg1"/>
              </a:solidFill>
              <a:latin charset="-122" panose="020b0400000000000000" pitchFamily="34" typeface="思源黑体"/>
              <a:ea charset="-122" panose="020b0400000000000000" pitchFamily="34" typeface="思源黑体"/>
              <a:sym charset="-122" panose="020b0400000000000000" pitchFamily="34" typeface="思源黑体"/>
            </a:endParaRPr>
          </a:p>
        </p:txBody>
      </p:sp>
      <p:grpSp>
        <p:nvGrpSpPr>
          <p:cNvPr id="67" name="组合 66">
            <a:extLst>
              <a:ext uri="{FF2B5EF4-FFF2-40B4-BE49-F238E27FC236}">
                <a16:creationId xmlns:a16="http://schemas.microsoft.com/office/drawing/2014/main" id="{10E409A1-0EF4-43B5-94F3-CA76956851FB}"/>
              </a:ext>
            </a:extLst>
          </p:cNvPr>
          <p:cNvGrpSpPr/>
          <p:nvPr/>
        </p:nvGrpSpPr>
        <p:grpSpPr>
          <a:xfrm>
            <a:off x="1208876" y="369288"/>
            <a:ext cx="7658100" cy="735806"/>
            <a:chOff x="1208876" y="369288"/>
            <a:chExt cx="7658100" cy="735806"/>
          </a:xfrm>
        </p:grpSpPr>
        <p:sp>
          <p:nvSpPr>
            <p:cNvPr id="68" name="文本框 67">
              <a:extLst>
                <a:ext uri="{FF2B5EF4-FFF2-40B4-BE49-F238E27FC236}">
                  <a16:creationId xmlns:a16="http://schemas.microsoft.com/office/drawing/2014/main" id="{742834FE-2643-4B96-ADF0-04614DCC8DFC}"/>
                </a:ext>
              </a:extLst>
            </p:cNvPr>
            <p:cNvSpPr txBox="1"/>
            <p:nvPr/>
          </p:nvSpPr>
          <p:spPr>
            <a:xfrm>
              <a:off x="1208876" y="369288"/>
              <a:ext cx="7658100" cy="457200"/>
            </a:xfrm>
            <a:prstGeom prst="rect">
              <a:avLst/>
            </a:prstGeom>
            <a:noFill/>
          </p:spPr>
          <p:txBody>
            <a:bodyPr rtlCol="0" wrap="square">
              <a:spAutoFit/>
            </a:bodyPr>
            <a:lstStyle/>
            <a:p>
              <a:r>
                <a:rPr altLang="en-US" lang="zh-CN" sz="2400">
                  <a:gradFill>
                    <a:gsLst>
                      <a:gs pos="885">
                        <a:schemeClr val="accent1">
                          <a:alpha val="10000"/>
                        </a:schemeClr>
                      </a:gs>
                      <a:gs pos="75000">
                        <a:schemeClr val="accent1">
                          <a:alpha val="73000"/>
                        </a:schemeClr>
                      </a:gs>
                    </a:gsLst>
                    <a:lin ang="5400000" scaled="1"/>
                  </a:gradFill>
                  <a:latin charset="-122" panose="020b0400000000000000" pitchFamily="34" typeface="思源黑体"/>
                  <a:ea charset="-122" panose="020b0400000000000000" pitchFamily="34" typeface="思源黑体"/>
                  <a:sym charset="-122" panose="020b0400000000000000" pitchFamily="34" typeface="思源黑体"/>
                </a:rPr>
                <a:t>在此输入标题内容</a:t>
              </a:r>
            </a:p>
          </p:txBody>
        </p:sp>
        <p:sp>
          <p:nvSpPr>
            <p:cNvPr id="69" name="文本框 68">
              <a:extLst>
                <a:ext uri="{FF2B5EF4-FFF2-40B4-BE49-F238E27FC236}">
                  <a16:creationId xmlns:a16="http://schemas.microsoft.com/office/drawing/2014/main" id="{0A97D477-CE22-43D5-8FBC-6F0BAE649676}"/>
                </a:ext>
              </a:extLst>
            </p:cNvPr>
            <p:cNvSpPr txBox="1"/>
            <p:nvPr/>
          </p:nvSpPr>
          <p:spPr>
            <a:xfrm>
              <a:off x="1208876" y="797317"/>
              <a:ext cx="7658100" cy="304800"/>
            </a:xfrm>
            <a:prstGeom prst="rect">
              <a:avLst/>
            </a:prstGeom>
            <a:noFill/>
          </p:spPr>
          <p:txBody>
            <a:bodyPr rtlCol="0" wrap="square">
              <a:spAutoFit/>
            </a:bodyPr>
            <a:lstStyle/>
            <a:p>
              <a:r>
                <a:rPr altLang="zh-CN" lang="en-US" sz="1400">
                  <a:solidFill>
                    <a:schemeClr val="bg2"/>
                  </a:solidFill>
                  <a:latin charset="-122" panose="020b0400000000000000" pitchFamily="34" typeface="思源黑体"/>
                  <a:ea charset="-122" panose="020b0400000000000000" pitchFamily="34" typeface="思源黑体"/>
                  <a:sym charset="-122" panose="020b0400000000000000" pitchFamily="34" typeface="思源黑体"/>
                </a:rPr>
                <a:t>Use "Title Only" Layout</a:t>
              </a:r>
            </a:p>
          </p:txBody>
        </p:sp>
      </p:grpSp>
      <p:grpSp>
        <p:nvGrpSpPr>
          <p:cNvPr id="85" name="组合 84">
            <a:extLst>
              <a:ext uri="{FF2B5EF4-FFF2-40B4-BE49-F238E27FC236}">
                <a16:creationId xmlns:a16="http://schemas.microsoft.com/office/drawing/2014/main" id="{EBA0111E-EB12-4419-B96E-DB0FC7B641B8}"/>
              </a:ext>
            </a:extLst>
          </p:cNvPr>
          <p:cNvGrpSpPr/>
          <p:nvPr/>
        </p:nvGrpSpPr>
        <p:grpSpPr>
          <a:xfrm>
            <a:off x="538226" y="153800"/>
            <a:ext cx="811275" cy="1299746"/>
            <a:chOff x="538226" y="153800"/>
            <a:chExt cx="811275" cy="1299746"/>
          </a:xfrm>
        </p:grpSpPr>
        <p:sp>
          <p:nvSpPr>
            <p:cNvPr id="86" name="文本框 85">
              <a:extLst>
                <a:ext uri="{FF2B5EF4-FFF2-40B4-BE49-F238E27FC236}">
                  <a16:creationId xmlns:a16="http://schemas.microsoft.com/office/drawing/2014/main" id="{0465D363-6106-462D-84B8-32B78E846ACF}"/>
                </a:ext>
              </a:extLst>
            </p:cNvPr>
            <p:cNvSpPr txBox="1"/>
            <p:nvPr/>
          </p:nvSpPr>
          <p:spPr>
            <a:xfrm>
              <a:off x="538226" y="153800"/>
              <a:ext cx="567647" cy="1097280"/>
            </a:xfrm>
            <a:prstGeom prst="rect">
              <a:avLst/>
            </a:prstGeom>
            <a:noFill/>
          </p:spPr>
          <p:txBody>
            <a:bodyPr rtlCol="0" wrap="square">
              <a:spAutoFit/>
            </a:bodyPr>
            <a:lstStyle>
              <a:defPPr>
                <a:defRPr lang="en-US"/>
              </a:defPPr>
              <a:lvl1pPr>
                <a:defRPr sz="8000">
                  <a:gradFill>
                    <a:gsLst>
                      <a:gs pos="36000">
                        <a:schemeClr val="bg1"/>
                      </a:gs>
                      <a:gs pos="100000">
                        <a:schemeClr val="tx1">
                          <a:lumMod val="50000"/>
                          <a:lumOff val="50000"/>
                        </a:schemeClr>
                      </a:gs>
                    </a:gsLst>
                    <a:lin ang="5400000" scaled="1"/>
                  </a:gradFill>
                  <a:latin charset="-122" panose="00000500000000000000" pitchFamily="2" typeface="字魂5号-无外润黑体"/>
                  <a:ea charset="-122" panose="00000500000000000000" pitchFamily="2" typeface="字魂5号-无外润黑体"/>
                </a:defRPr>
              </a:lvl1pPr>
            </a:lstStyle>
            <a:p>
              <a:r>
                <a:rPr altLang="zh-CN" lang="en-US" sz="6600">
                  <a:gradFill>
                    <a:gsLst>
                      <a:gs pos="36000">
                        <a:schemeClr val="bg1"/>
                      </a:gs>
                      <a:gs pos="70000">
                        <a:schemeClr val="tx1">
                          <a:lumMod val="50000"/>
                          <a:lumOff val="50000"/>
                          <a:alpha val="0"/>
                        </a:schemeClr>
                      </a:gs>
                    </a:gsLst>
                    <a:lin ang="5400000" scaled="1"/>
                  </a:gradFill>
                  <a:latin charset="-122" panose="020b0300000000000000" pitchFamily="34" typeface="思源黑体 CN Light"/>
                  <a:ea charset="-122" panose="00000500000000000000" pitchFamily="2" typeface="字魂54号-贤黑"/>
                  <a:sym charset="-122" panose="020b0400000000000000" pitchFamily="34" typeface="思源黑体"/>
                </a:rPr>
                <a:t>3</a:t>
              </a:r>
            </a:p>
          </p:txBody>
        </p:sp>
        <p:grpSp>
          <p:nvGrpSpPr>
            <p:cNvPr id="87" name="组合 86">
              <a:extLst>
                <a:ext uri="{FF2B5EF4-FFF2-40B4-BE49-F238E27FC236}">
                  <a16:creationId xmlns:a16="http://schemas.microsoft.com/office/drawing/2014/main" id="{C066256B-DD4F-4BDE-BCA2-4CE0A96B0553}"/>
                </a:ext>
              </a:extLst>
            </p:cNvPr>
            <p:cNvGrpSpPr/>
            <p:nvPr/>
          </p:nvGrpSpPr>
          <p:grpSpPr>
            <a:xfrm rot="1279383">
              <a:off x="538418" y="260428"/>
              <a:ext cx="811083" cy="1193118"/>
              <a:chOff x="5326021" y="1359499"/>
              <a:chExt cx="2273644" cy="3344573"/>
            </a:xfrm>
          </p:grpSpPr>
          <p:cxnSp>
            <p:nvCxnSpPr>
              <p:cNvPr id="88" name="直接连接符 87">
                <a:extLst>
                  <a:ext uri="{FF2B5EF4-FFF2-40B4-BE49-F238E27FC236}">
                    <a16:creationId xmlns:a16="http://schemas.microsoft.com/office/drawing/2014/main" id="{D10FB6B6-2755-4B82-88F0-9365CC724B5B}"/>
                  </a:ext>
                </a:extLst>
              </p:cNvPr>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89" name="任意多边形: 形状 88">
                <a:extLst>
                  <a:ext uri="{FF2B5EF4-FFF2-40B4-BE49-F238E27FC236}">
                    <a16:creationId xmlns:a16="http://schemas.microsoft.com/office/drawing/2014/main" id="{58CB2A7E-3B81-4F34-AC67-B680ABAB1A92}"/>
                  </a:ext>
                </a:extLst>
              </p:cNvPr>
              <p:cNvSpPr/>
              <p:nvPr/>
            </p:nvSpPr>
            <p:spPr>
              <a:xfrm rot="2008142">
                <a:off x="5326021" y="3632692"/>
                <a:ext cx="319543" cy="1071380"/>
              </a:xfrm>
              <a:custGeom>
                <a:gdLst>
                  <a:gd fmla="*/ 278285 w 319543" name="connsiteX0"/>
                  <a:gd fmla="*/ 0 h 1071380" name="connsiteY0"/>
                  <a:gd fmla="*/ 319543 w 319543" name="connsiteX1"/>
                  <a:gd fmla="*/ 0 h 1071380" name="connsiteY1"/>
                  <a:gd fmla="*/ 319543 w 319543" name="connsiteX2"/>
                  <a:gd fmla="*/ 601405 h 1071380" name="connsiteY2"/>
                  <a:gd fmla="*/ 0 w 319543" name="connsiteX3"/>
                  <a:gd fmla="*/ 1071380 h 1071380" name="connsiteY3"/>
                  <a:gd fmla="*/ 0 w 319543" name="connsiteX4"/>
                  <a:gd fmla="*/ 409295 h 1071380"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1071380" w="319543">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400"/>
              </a:p>
            </p:txBody>
          </p:sp>
        </p:grpSp>
      </p:grpSp>
    </p:spTree>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42" presetSubtype="0">
                                  <p:stCondLst>
                                    <p:cond delay="0"/>
                                  </p:stCondLst>
                                  <p:childTnLst>
                                    <p:set>
                                      <p:cBhvr>
                                        <p:cTn dur="1" fill="hold" id="6">
                                          <p:stCondLst>
                                            <p:cond delay="0"/>
                                          </p:stCondLst>
                                        </p:cTn>
                                        <p:tgtEl>
                                          <p:spTgt spid="17411"/>
                                        </p:tgtEl>
                                        <p:attrNameLst>
                                          <p:attrName>style.visibility</p:attrName>
                                        </p:attrNameLst>
                                      </p:cBhvr>
                                      <p:to>
                                        <p:strVal val="visible"/>
                                      </p:to>
                                    </p:set>
                                    <p:animEffect filter="fade" transition="in">
                                      <p:cBhvr>
                                        <p:cTn dur="1000" id="7"/>
                                        <p:tgtEl>
                                          <p:spTgt spid="17411"/>
                                        </p:tgtEl>
                                      </p:cBhvr>
                                    </p:animEffect>
                                    <p:anim calcmode="lin" valueType="num">
                                      <p:cBhvr>
                                        <p:cTn dur="1000" fill="hold" id="8"/>
                                        <p:tgtEl>
                                          <p:spTgt spid="17411"/>
                                        </p:tgtEl>
                                        <p:attrNameLst>
                                          <p:attrName>ppt_x</p:attrName>
                                        </p:attrNameLst>
                                      </p:cBhvr>
                                      <p:tavLst>
                                        <p:tav tm="0">
                                          <p:val>
                                            <p:strVal val="#ppt_x"/>
                                          </p:val>
                                        </p:tav>
                                        <p:tav tm="100000">
                                          <p:val>
                                            <p:strVal val="#ppt_x"/>
                                          </p:val>
                                        </p:tav>
                                      </p:tavLst>
                                    </p:anim>
                                    <p:anim calcmode="lin" valueType="num">
                                      <p:cBhvr>
                                        <p:cTn dur="1000" fill="hold" id="9"/>
                                        <p:tgtEl>
                                          <p:spTgt spid="17411"/>
                                        </p:tgtEl>
                                        <p:attrNameLst>
                                          <p:attrName>ppt_y</p:attrName>
                                        </p:attrNameLst>
                                      </p:cBhvr>
                                      <p:tavLst>
                                        <p:tav tm="0">
                                          <p:val>
                                            <p:strVal val="#ppt_y+.1"/>
                                          </p:val>
                                        </p:tav>
                                        <p:tav tm="100000">
                                          <p:val>
                                            <p:strVal val="#ppt_y"/>
                                          </p:val>
                                        </p:tav>
                                      </p:tavLst>
                                    </p:anim>
                                  </p:childTnLst>
                                </p:cTn>
                              </p:par>
                            </p:childTnLst>
                          </p:cTn>
                        </p:par>
                        <p:par>
                          <p:cTn fill="hold" id="10" nodeType="afterGroup">
                            <p:stCondLst>
                              <p:cond delay="1000"/>
                            </p:stCondLst>
                            <p:childTnLst>
                              <p:par>
                                <p:cTn fill="hold" grpId="0" id="11" nodeType="afterEffect" presetClass="entr" presetID="42" presetSubtype="0">
                                  <p:stCondLst>
                                    <p:cond delay="0"/>
                                  </p:stCondLst>
                                  <p:childTnLst>
                                    <p:set>
                                      <p:cBhvr>
                                        <p:cTn dur="1" fill="hold" id="12">
                                          <p:stCondLst>
                                            <p:cond delay="0"/>
                                          </p:stCondLst>
                                        </p:cTn>
                                        <p:tgtEl>
                                          <p:spTgt spid="17412"/>
                                        </p:tgtEl>
                                        <p:attrNameLst>
                                          <p:attrName>style.visibility</p:attrName>
                                        </p:attrNameLst>
                                      </p:cBhvr>
                                      <p:to>
                                        <p:strVal val="visible"/>
                                      </p:to>
                                    </p:set>
                                    <p:animEffect filter="fade" transition="in">
                                      <p:cBhvr>
                                        <p:cTn dur="1000" id="13"/>
                                        <p:tgtEl>
                                          <p:spTgt spid="17412"/>
                                        </p:tgtEl>
                                      </p:cBhvr>
                                    </p:animEffect>
                                    <p:anim calcmode="lin" valueType="num">
                                      <p:cBhvr>
                                        <p:cTn dur="1000" fill="hold" id="14"/>
                                        <p:tgtEl>
                                          <p:spTgt spid="17412"/>
                                        </p:tgtEl>
                                        <p:attrNameLst>
                                          <p:attrName>ppt_x</p:attrName>
                                        </p:attrNameLst>
                                      </p:cBhvr>
                                      <p:tavLst>
                                        <p:tav tm="0">
                                          <p:val>
                                            <p:strVal val="#ppt_x"/>
                                          </p:val>
                                        </p:tav>
                                        <p:tav tm="100000">
                                          <p:val>
                                            <p:strVal val="#ppt_x"/>
                                          </p:val>
                                        </p:tav>
                                      </p:tavLst>
                                    </p:anim>
                                    <p:anim calcmode="lin" valueType="num">
                                      <p:cBhvr>
                                        <p:cTn dur="1000" fill="hold" id="15"/>
                                        <p:tgtEl>
                                          <p:spTgt spid="17412"/>
                                        </p:tgtEl>
                                        <p:attrNameLst>
                                          <p:attrName>ppt_y</p:attrName>
                                        </p:attrNameLst>
                                      </p:cBhvr>
                                      <p:tavLst>
                                        <p:tav tm="0">
                                          <p:val>
                                            <p:strVal val="#ppt_y+.1"/>
                                          </p:val>
                                        </p:tav>
                                        <p:tav tm="100000">
                                          <p:val>
                                            <p:strVal val="#ppt_y"/>
                                          </p:val>
                                        </p:tav>
                                      </p:tavLst>
                                    </p:anim>
                                  </p:childTnLst>
                                </p:cTn>
                              </p:par>
                            </p:childTnLst>
                          </p:cTn>
                        </p:par>
                        <p:par>
                          <p:cTn fill="hold" id="16" nodeType="afterGroup">
                            <p:stCondLst>
                              <p:cond delay="2000"/>
                            </p:stCondLst>
                            <p:childTnLst>
                              <p:par>
                                <p:cTn fill="hold" grpId="0" id="17" nodeType="afterEffect" presetClass="entr" presetID="42" presetSubtype="0">
                                  <p:stCondLst>
                                    <p:cond delay="0"/>
                                  </p:stCondLst>
                                  <p:childTnLst>
                                    <p:set>
                                      <p:cBhvr>
                                        <p:cTn dur="1" fill="hold" id="18">
                                          <p:stCondLst>
                                            <p:cond delay="0"/>
                                          </p:stCondLst>
                                        </p:cTn>
                                        <p:tgtEl>
                                          <p:spTgt spid="17413"/>
                                        </p:tgtEl>
                                        <p:attrNameLst>
                                          <p:attrName>style.visibility</p:attrName>
                                        </p:attrNameLst>
                                      </p:cBhvr>
                                      <p:to>
                                        <p:strVal val="visible"/>
                                      </p:to>
                                    </p:set>
                                    <p:animEffect filter="fade" transition="in">
                                      <p:cBhvr>
                                        <p:cTn dur="1000" id="19"/>
                                        <p:tgtEl>
                                          <p:spTgt spid="17413"/>
                                        </p:tgtEl>
                                      </p:cBhvr>
                                    </p:animEffect>
                                    <p:anim calcmode="lin" valueType="num">
                                      <p:cBhvr>
                                        <p:cTn dur="1000" fill="hold" id="20"/>
                                        <p:tgtEl>
                                          <p:spTgt spid="17413"/>
                                        </p:tgtEl>
                                        <p:attrNameLst>
                                          <p:attrName>ppt_x</p:attrName>
                                        </p:attrNameLst>
                                      </p:cBhvr>
                                      <p:tavLst>
                                        <p:tav tm="0">
                                          <p:val>
                                            <p:strVal val="#ppt_x"/>
                                          </p:val>
                                        </p:tav>
                                        <p:tav tm="100000">
                                          <p:val>
                                            <p:strVal val="#ppt_x"/>
                                          </p:val>
                                        </p:tav>
                                      </p:tavLst>
                                    </p:anim>
                                    <p:anim calcmode="lin" valueType="num">
                                      <p:cBhvr>
                                        <p:cTn dur="1000" fill="hold" id="21"/>
                                        <p:tgtEl>
                                          <p:spTgt spid="17413"/>
                                        </p:tgtEl>
                                        <p:attrNameLst>
                                          <p:attrName>ppt_y</p:attrName>
                                        </p:attrNameLst>
                                      </p:cBhvr>
                                      <p:tavLst>
                                        <p:tav tm="0">
                                          <p:val>
                                            <p:strVal val="#ppt_y+.1"/>
                                          </p:val>
                                        </p:tav>
                                        <p:tav tm="100000">
                                          <p:val>
                                            <p:strVal val="#ppt_y"/>
                                          </p:val>
                                        </p:tav>
                                      </p:tavLst>
                                    </p:anim>
                                  </p:childTnLst>
                                </p:cTn>
                              </p:par>
                            </p:childTnLst>
                          </p:cTn>
                        </p:par>
                        <p:par>
                          <p:cTn fill="hold" id="22" nodeType="afterGroup">
                            <p:stCondLst>
                              <p:cond delay="3000"/>
                            </p:stCondLst>
                            <p:childTnLst>
                              <p:par>
                                <p:cTn fill="hold" grpId="0" id="23" nodeType="afterEffect" presetClass="entr" presetID="42" presetSubtype="0">
                                  <p:stCondLst>
                                    <p:cond delay="0"/>
                                  </p:stCondLst>
                                  <p:childTnLst>
                                    <p:set>
                                      <p:cBhvr>
                                        <p:cTn dur="1" fill="hold" id="24">
                                          <p:stCondLst>
                                            <p:cond delay="0"/>
                                          </p:stCondLst>
                                        </p:cTn>
                                        <p:tgtEl>
                                          <p:spTgt spid="98"/>
                                        </p:tgtEl>
                                        <p:attrNameLst>
                                          <p:attrName>style.visibility</p:attrName>
                                        </p:attrNameLst>
                                      </p:cBhvr>
                                      <p:to>
                                        <p:strVal val="visible"/>
                                      </p:to>
                                    </p:set>
                                    <p:animEffect filter="fade" transition="in">
                                      <p:cBhvr>
                                        <p:cTn dur="1000" id="25"/>
                                        <p:tgtEl>
                                          <p:spTgt spid="98"/>
                                        </p:tgtEl>
                                      </p:cBhvr>
                                    </p:animEffect>
                                    <p:anim calcmode="lin" valueType="num">
                                      <p:cBhvr>
                                        <p:cTn dur="1000" fill="hold" id="26"/>
                                        <p:tgtEl>
                                          <p:spTgt spid="98"/>
                                        </p:tgtEl>
                                        <p:attrNameLst>
                                          <p:attrName>ppt_x</p:attrName>
                                        </p:attrNameLst>
                                      </p:cBhvr>
                                      <p:tavLst>
                                        <p:tav tm="0">
                                          <p:val>
                                            <p:strVal val="#ppt_x"/>
                                          </p:val>
                                        </p:tav>
                                        <p:tav tm="100000">
                                          <p:val>
                                            <p:strVal val="#ppt_x"/>
                                          </p:val>
                                        </p:tav>
                                      </p:tavLst>
                                    </p:anim>
                                    <p:anim calcmode="lin" valueType="num">
                                      <p:cBhvr>
                                        <p:cTn dur="1000" fill="hold" id="27"/>
                                        <p:tgtEl>
                                          <p:spTgt spid="98"/>
                                        </p:tgtEl>
                                        <p:attrNameLst>
                                          <p:attrName>ppt_y</p:attrName>
                                        </p:attrNameLst>
                                      </p:cBhvr>
                                      <p:tavLst>
                                        <p:tav tm="0">
                                          <p:val>
                                            <p:strVal val="#ppt_y+.1"/>
                                          </p:val>
                                        </p:tav>
                                        <p:tav tm="100000">
                                          <p:val>
                                            <p:strVal val="#ppt_y"/>
                                          </p:val>
                                        </p:tav>
                                      </p:tavLst>
                                    </p:anim>
                                  </p:childTnLst>
                                </p:cTn>
                              </p:par>
                            </p:childTnLst>
                          </p:cTn>
                        </p:par>
                        <p:par>
                          <p:cTn fill="hold" id="28" nodeType="afterGroup">
                            <p:stCondLst>
                              <p:cond delay="4000"/>
                            </p:stCondLst>
                            <p:childTnLst>
                              <p:par>
                                <p:cTn fill="hold" grpId="0" id="29" nodeType="afterEffect" presetClass="entr" presetID="42" presetSubtype="0">
                                  <p:stCondLst>
                                    <p:cond delay="0"/>
                                  </p:stCondLst>
                                  <p:childTnLst>
                                    <p:set>
                                      <p:cBhvr>
                                        <p:cTn dur="1" fill="hold" id="30">
                                          <p:stCondLst>
                                            <p:cond delay="0"/>
                                          </p:stCondLst>
                                        </p:cTn>
                                        <p:tgtEl>
                                          <p:spTgt spid="17415"/>
                                        </p:tgtEl>
                                        <p:attrNameLst>
                                          <p:attrName>style.visibility</p:attrName>
                                        </p:attrNameLst>
                                      </p:cBhvr>
                                      <p:to>
                                        <p:strVal val="visible"/>
                                      </p:to>
                                    </p:set>
                                    <p:animEffect filter="fade" transition="in">
                                      <p:cBhvr>
                                        <p:cTn dur="1000" id="31"/>
                                        <p:tgtEl>
                                          <p:spTgt spid="17415"/>
                                        </p:tgtEl>
                                      </p:cBhvr>
                                    </p:animEffect>
                                    <p:anim calcmode="lin" valueType="num">
                                      <p:cBhvr>
                                        <p:cTn dur="1000" fill="hold" id="32"/>
                                        <p:tgtEl>
                                          <p:spTgt spid="17415"/>
                                        </p:tgtEl>
                                        <p:attrNameLst>
                                          <p:attrName>ppt_x</p:attrName>
                                        </p:attrNameLst>
                                      </p:cBhvr>
                                      <p:tavLst>
                                        <p:tav tm="0">
                                          <p:val>
                                            <p:strVal val="#ppt_x"/>
                                          </p:val>
                                        </p:tav>
                                        <p:tav tm="100000">
                                          <p:val>
                                            <p:strVal val="#ppt_x"/>
                                          </p:val>
                                        </p:tav>
                                      </p:tavLst>
                                    </p:anim>
                                    <p:anim calcmode="lin" valueType="num">
                                      <p:cBhvr>
                                        <p:cTn dur="1000" fill="hold" id="33"/>
                                        <p:tgtEl>
                                          <p:spTgt spid="17415"/>
                                        </p:tgtEl>
                                        <p:attrNameLst>
                                          <p:attrName>ppt_y</p:attrName>
                                        </p:attrNameLst>
                                      </p:cBhvr>
                                      <p:tavLst>
                                        <p:tav tm="0">
                                          <p:val>
                                            <p:strVal val="#ppt_y+.1"/>
                                          </p:val>
                                        </p:tav>
                                        <p:tav tm="100000">
                                          <p:val>
                                            <p:strVal val="#ppt_y"/>
                                          </p:val>
                                        </p:tav>
                                      </p:tavLst>
                                    </p:anim>
                                  </p:childTnLst>
                                </p:cTn>
                              </p:par>
                            </p:childTnLst>
                          </p:cTn>
                        </p:par>
                        <p:par>
                          <p:cTn fill="hold" id="34" nodeType="afterGroup">
                            <p:stCondLst>
                              <p:cond delay="5000"/>
                            </p:stCondLst>
                            <p:childTnLst>
                              <p:par>
                                <p:cTn fill="hold" grpId="0" id="35" nodeType="afterEffect" presetClass="entr" presetID="42" presetSubtype="0">
                                  <p:stCondLst>
                                    <p:cond delay="0"/>
                                  </p:stCondLst>
                                  <p:childTnLst>
                                    <p:set>
                                      <p:cBhvr>
                                        <p:cTn dur="1" fill="hold" id="36">
                                          <p:stCondLst>
                                            <p:cond delay="0"/>
                                          </p:stCondLst>
                                        </p:cTn>
                                        <p:tgtEl>
                                          <p:spTgt spid="17416"/>
                                        </p:tgtEl>
                                        <p:attrNameLst>
                                          <p:attrName>style.visibility</p:attrName>
                                        </p:attrNameLst>
                                      </p:cBhvr>
                                      <p:to>
                                        <p:strVal val="visible"/>
                                      </p:to>
                                    </p:set>
                                    <p:animEffect filter="fade" transition="in">
                                      <p:cBhvr>
                                        <p:cTn dur="1000" id="37"/>
                                        <p:tgtEl>
                                          <p:spTgt spid="17416"/>
                                        </p:tgtEl>
                                      </p:cBhvr>
                                    </p:animEffect>
                                    <p:anim calcmode="lin" valueType="num">
                                      <p:cBhvr>
                                        <p:cTn dur="1000" fill="hold" id="38"/>
                                        <p:tgtEl>
                                          <p:spTgt spid="17416"/>
                                        </p:tgtEl>
                                        <p:attrNameLst>
                                          <p:attrName>ppt_x</p:attrName>
                                        </p:attrNameLst>
                                      </p:cBhvr>
                                      <p:tavLst>
                                        <p:tav tm="0">
                                          <p:val>
                                            <p:strVal val="#ppt_x"/>
                                          </p:val>
                                        </p:tav>
                                        <p:tav tm="100000">
                                          <p:val>
                                            <p:strVal val="#ppt_x"/>
                                          </p:val>
                                        </p:tav>
                                      </p:tavLst>
                                    </p:anim>
                                    <p:anim calcmode="lin" valueType="num">
                                      <p:cBhvr>
                                        <p:cTn dur="1000" fill="hold" id="39"/>
                                        <p:tgtEl>
                                          <p:spTgt spid="17416"/>
                                        </p:tgtEl>
                                        <p:attrNameLst>
                                          <p:attrName>ppt_y</p:attrName>
                                        </p:attrNameLst>
                                      </p:cBhvr>
                                      <p:tavLst>
                                        <p:tav tm="0">
                                          <p:val>
                                            <p:strVal val="#ppt_y+.1"/>
                                          </p:val>
                                        </p:tav>
                                        <p:tav tm="100000">
                                          <p:val>
                                            <p:strVal val="#ppt_y"/>
                                          </p:val>
                                        </p:tav>
                                      </p:tavLst>
                                    </p:anim>
                                  </p:childTnLst>
                                </p:cTn>
                              </p:par>
                            </p:childTnLst>
                          </p:cTn>
                        </p:par>
                        <p:par>
                          <p:cTn fill="hold" id="40" nodeType="afterGroup">
                            <p:stCondLst>
                              <p:cond delay="6000"/>
                            </p:stCondLst>
                            <p:childTnLst>
                              <p:par>
                                <p:cTn fill="hold" grpId="0" id="41" nodeType="afterEffect" presetClass="entr" presetID="42" presetSubtype="0">
                                  <p:stCondLst>
                                    <p:cond delay="0"/>
                                  </p:stCondLst>
                                  <p:childTnLst>
                                    <p:set>
                                      <p:cBhvr>
                                        <p:cTn dur="1" fill="hold" id="42">
                                          <p:stCondLst>
                                            <p:cond delay="0"/>
                                          </p:stCondLst>
                                        </p:cTn>
                                        <p:tgtEl>
                                          <p:spTgt spid="66"/>
                                        </p:tgtEl>
                                        <p:attrNameLst>
                                          <p:attrName>style.visibility</p:attrName>
                                        </p:attrNameLst>
                                      </p:cBhvr>
                                      <p:to>
                                        <p:strVal val="visible"/>
                                      </p:to>
                                    </p:set>
                                    <p:animEffect filter="fade" transition="in">
                                      <p:cBhvr>
                                        <p:cTn dur="1000" id="43"/>
                                        <p:tgtEl>
                                          <p:spTgt spid="66"/>
                                        </p:tgtEl>
                                      </p:cBhvr>
                                    </p:animEffect>
                                    <p:anim calcmode="lin" valueType="num">
                                      <p:cBhvr>
                                        <p:cTn dur="1000" fill="hold" id="44"/>
                                        <p:tgtEl>
                                          <p:spTgt spid="66"/>
                                        </p:tgtEl>
                                        <p:attrNameLst>
                                          <p:attrName>ppt_x</p:attrName>
                                        </p:attrNameLst>
                                      </p:cBhvr>
                                      <p:tavLst>
                                        <p:tav tm="0">
                                          <p:val>
                                            <p:strVal val="#ppt_x"/>
                                          </p:val>
                                        </p:tav>
                                        <p:tav tm="100000">
                                          <p:val>
                                            <p:strVal val="#ppt_x"/>
                                          </p:val>
                                        </p:tav>
                                      </p:tavLst>
                                    </p:anim>
                                    <p:anim calcmode="lin" valueType="num">
                                      <p:cBhvr>
                                        <p:cTn dur="1000" fill="hold" id="45"/>
                                        <p:tgtEl>
                                          <p:spTgt spid="66"/>
                                        </p:tgtEl>
                                        <p:attrNameLst>
                                          <p:attrName>ppt_y</p:attrName>
                                        </p:attrNameLst>
                                      </p:cBhvr>
                                      <p:tavLst>
                                        <p:tav tm="0">
                                          <p:val>
                                            <p:strVal val="#ppt_y+.1"/>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7412"/>
      <p:bldP grpId="0" spid="17413"/>
      <p:bldP grpId="0" spid="98"/>
      <p:bldP grpId="0" spid="17415"/>
      <p:bldP grpId="0" spid="17416"/>
      <p:bldP grpId="0" spid="66"/>
    </p:bldLst>
  </p:timing>
</p:sld>
</file>

<file path=ppt/slides/slide18.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3" name="椭圆 2">
            <a:extLst>
              <a:ext uri="{FF2B5EF4-FFF2-40B4-BE49-F238E27FC236}">
                <a16:creationId xmlns:a16="http://schemas.microsoft.com/office/drawing/2014/main" id="{10835ADF-EF73-4CB4-8674-B2FEC7C41149}"/>
              </a:ext>
            </a:extLst>
          </p:cNvPr>
          <p:cNvSpPr/>
          <p:nvPr/>
        </p:nvSpPr>
        <p:spPr>
          <a:xfrm>
            <a:off x="5588649" y="1649413"/>
            <a:ext cx="685800" cy="6858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5" name="KSO_Shape">
            <a:extLst>
              <a:ext uri="{FF2B5EF4-FFF2-40B4-BE49-F238E27FC236}">
                <a16:creationId xmlns:a16="http://schemas.microsoft.com/office/drawing/2014/main" id="{BE544E0D-7AAD-4FE2-86EC-567565A1F558}"/>
              </a:ext>
            </a:extLst>
          </p:cNvPr>
          <p:cNvSpPr/>
          <p:nvPr/>
        </p:nvSpPr>
        <p:spPr>
          <a:xfrm>
            <a:off x="5718824" y="1830388"/>
            <a:ext cx="425450" cy="322262"/>
          </a:xfrm>
          <a:custGeom>
            <a:gdLst>
              <a:gd fmla="*/ 367281 w 529316" name="connsiteX0"/>
              <a:gd fmla="*/ 196274 h 401026" name="connsiteY0"/>
              <a:gd fmla="*/ 355293 w 529316" name="connsiteX1"/>
              <a:gd fmla="*/ 208263 h 401026" name="connsiteY1"/>
              <a:gd fmla="*/ 465090 w 529316" name="connsiteX2"/>
              <a:gd fmla="*/ 318060 h 401026" name="connsiteY2"/>
              <a:gd fmla="*/ 466739 w 529316" name="connsiteX3"/>
              <a:gd fmla="*/ 320716 h 401026" name="connsiteY3"/>
              <a:gd fmla="*/ 491723 w 529316" name="connsiteX4"/>
              <a:gd fmla="*/ 320716 h 401026" name="connsiteY4"/>
              <a:gd fmla="*/ 162035 w 529316" name="connsiteX5"/>
              <a:gd fmla="*/ 196274 h 401026" name="connsiteY5"/>
              <a:gd fmla="*/ 37593 w 529316" name="connsiteX6"/>
              <a:gd fmla="*/ 320716 h 401026" name="connsiteY6"/>
              <a:gd fmla="*/ 62577 w 529316" name="connsiteX7"/>
              <a:gd fmla="*/ 320716 h 401026" name="connsiteY7"/>
              <a:gd fmla="*/ 64225 w 529316" name="connsiteX8"/>
              <a:gd fmla="*/ 318061 h 401026" name="connsiteY8"/>
              <a:gd fmla="*/ 174023 w 529316" name="connsiteX9"/>
              <a:gd fmla="*/ 208263 h 401026" name="connsiteY9"/>
              <a:gd fmla="*/ 46349 w 529316" name="connsiteX10"/>
              <a:gd fmla="*/ 80311 h 401026" name="connsiteY10"/>
              <a:gd fmla="*/ 222791 w 529316" name="connsiteX11"/>
              <a:gd fmla="*/ 256753 h 401026" name="connsiteY11"/>
              <a:gd fmla="*/ 263500 w 529316" name="connsiteX12"/>
              <a:gd fmla="*/ 273616 h 401026" name="connsiteY12"/>
              <a:gd fmla="*/ 264659 w 529316" name="connsiteX13"/>
              <a:gd fmla="*/ 273504 h 401026" name="connsiteY13"/>
              <a:gd fmla="*/ 306525 w 529316" name="connsiteX14"/>
              <a:gd fmla="*/ 256753 h 401026" name="connsiteY14"/>
              <a:gd fmla="*/ 482968 w 529316" name="connsiteX15"/>
              <a:gd fmla="*/ 80311 h 401026" name="connsiteY15"/>
              <a:gd fmla="*/ 458990 w 529316" name="connsiteX16"/>
              <a:gd fmla="*/ 80311 h 401026" name="connsiteY16"/>
              <a:gd fmla="*/ 300904 w 529316" name="connsiteX17"/>
              <a:gd fmla="*/ 238397 h 401026" name="connsiteY17"/>
              <a:gd fmla="*/ 264659 w 529316" name="connsiteX18"/>
              <a:gd fmla="*/ 252899 h 401026" name="connsiteY18"/>
              <a:gd fmla="*/ 263656 w 529316" name="connsiteX19"/>
              <a:gd fmla="*/ 252995 h 401026" name="connsiteY19"/>
              <a:gd fmla="*/ 228412 w 529316" name="connsiteX20"/>
              <a:gd fmla="*/ 238397 h 401026" name="connsiteY20"/>
              <a:gd fmla="*/ 70326 w 529316" name="connsiteX21"/>
              <a:gd fmla="*/ 80311 h 401026" name="connsiteY21"/>
              <a:gd fmla="*/ 92015 w 529316" name="connsiteX22"/>
              <a:gd fmla="*/ 0 h 401026" name="connsiteY22"/>
              <a:gd fmla="*/ 437301 w 529316" name="connsiteX23"/>
              <a:gd fmla="*/ 0 h 401026" name="connsiteY23"/>
              <a:gd fmla="*/ 529316 w 529316" name="connsiteX24"/>
              <a:gd fmla="*/ 92015 h 401026" name="connsiteY24"/>
              <a:gd fmla="*/ 529316 w 529316" name="connsiteX25"/>
              <a:gd fmla="*/ 309011 h 401026" name="connsiteY25"/>
              <a:gd fmla="*/ 437301 w 529316" name="connsiteX26"/>
              <a:gd fmla="*/ 401026 h 401026" name="connsiteY26"/>
              <a:gd fmla="*/ 92015 w 529316" name="connsiteX27"/>
              <a:gd fmla="*/ 401026 h 401026" name="connsiteY27"/>
              <a:gd fmla="*/ 0 w 529316" name="connsiteX28"/>
              <a:gd fmla="*/ 309011 h 401026" name="connsiteY28"/>
              <a:gd fmla="*/ 0 w 529316" name="connsiteX29"/>
              <a:gd fmla="*/ 92015 h 401026" name="connsiteY29"/>
              <a:gd fmla="*/ 92015 w 529316" name="connsiteX30"/>
              <a:gd fmla="*/ 0 h 401026" name="connsiteY3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b="b" l="l" r="r" t="t"/>
            <a:pathLst>
              <a:path h="401026" w="529316">
                <a:moveTo>
                  <a:pt x="367281" y="196274"/>
                </a:moveTo>
                <a:lnTo>
                  <a:pt x="355293" y="208263"/>
                </a:lnTo>
                <a:lnTo>
                  <a:pt x="465090" y="318060"/>
                </a:lnTo>
                <a:cubicBezTo>
                  <a:pt x="465822" y="318792"/>
                  <a:pt x="466527" y="319541"/>
                  <a:pt x="466739" y="320716"/>
                </a:cubicBezTo>
                <a:lnTo>
                  <a:pt x="491723" y="320716"/>
                </a:lnTo>
                <a:close/>
                <a:moveTo>
                  <a:pt x="162035" y="196274"/>
                </a:moveTo>
                <a:lnTo>
                  <a:pt x="37593" y="320716"/>
                </a:lnTo>
                <a:lnTo>
                  <a:pt x="62577" y="320716"/>
                </a:lnTo>
                <a:lnTo>
                  <a:pt x="64225" y="318061"/>
                </a:lnTo>
                <a:lnTo>
                  <a:pt x="174023" y="208263"/>
                </a:lnTo>
                <a:close/>
                <a:moveTo>
                  <a:pt x="46349" y="80311"/>
                </a:moveTo>
                <a:lnTo>
                  <a:pt x="222791" y="256753"/>
                </a:lnTo>
                <a:cubicBezTo>
                  <a:pt x="234032" y="267995"/>
                  <a:pt x="248767" y="273616"/>
                  <a:pt x="263500" y="273616"/>
                </a:cubicBezTo>
                <a:cubicBezTo>
                  <a:pt x="263887" y="273616"/>
                  <a:pt x="264274" y="273611"/>
                  <a:pt x="264659" y="273504"/>
                </a:cubicBezTo>
                <a:cubicBezTo>
                  <a:pt x="279774" y="273906"/>
                  <a:pt x="294989" y="268289"/>
                  <a:pt x="306525" y="256753"/>
                </a:cubicBezTo>
                <a:lnTo>
                  <a:pt x="482968" y="80311"/>
                </a:lnTo>
                <a:lnTo>
                  <a:pt x="458990" y="80311"/>
                </a:lnTo>
                <a:lnTo>
                  <a:pt x="300904" y="238397"/>
                </a:lnTo>
                <a:cubicBezTo>
                  <a:pt x="290917" y="248385"/>
                  <a:pt x="277745" y="253247"/>
                  <a:pt x="264659" y="252899"/>
                </a:cubicBezTo>
                <a:cubicBezTo>
                  <a:pt x="264325" y="252991"/>
                  <a:pt x="263990" y="252995"/>
                  <a:pt x="263656" y="252995"/>
                </a:cubicBezTo>
                <a:cubicBezTo>
                  <a:pt x="250900" y="252995"/>
                  <a:pt x="238144" y="248128"/>
                  <a:pt x="228412" y="238397"/>
                </a:cubicBezTo>
                <a:lnTo>
                  <a:pt x="70326" y="80311"/>
                </a:lnTo>
                <a:close/>
                <a:moveTo>
                  <a:pt x="92015" y="0"/>
                </a:moveTo>
                <a:lnTo>
                  <a:pt x="437301" y="0"/>
                </a:lnTo>
                <a:cubicBezTo>
                  <a:pt x="488119" y="0"/>
                  <a:pt x="529316" y="41197"/>
                  <a:pt x="529316" y="92015"/>
                </a:cubicBezTo>
                <a:lnTo>
                  <a:pt x="529316" y="309011"/>
                </a:lnTo>
                <a:cubicBezTo>
                  <a:pt x="529316" y="359829"/>
                  <a:pt x="488119" y="401026"/>
                  <a:pt x="437301" y="401026"/>
                </a:cubicBezTo>
                <a:lnTo>
                  <a:pt x="92015" y="401026"/>
                </a:lnTo>
                <a:cubicBezTo>
                  <a:pt x="41197" y="401026"/>
                  <a:pt x="0" y="359829"/>
                  <a:pt x="0" y="309011"/>
                </a:cubicBezTo>
                <a:lnTo>
                  <a:pt x="0" y="92015"/>
                </a:lnTo>
                <a:cubicBezTo>
                  <a:pt x="0" y="41197"/>
                  <a:pt x="41197" y="0"/>
                  <a:pt x="9201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6" name="椭圆 5">
            <a:extLst>
              <a:ext uri="{FF2B5EF4-FFF2-40B4-BE49-F238E27FC236}">
                <a16:creationId xmlns:a16="http://schemas.microsoft.com/office/drawing/2014/main" id="{A0B3BEB8-FDED-45D2-B0C5-4828E91A6A30}"/>
              </a:ext>
            </a:extLst>
          </p:cNvPr>
          <p:cNvSpPr/>
          <p:nvPr/>
        </p:nvSpPr>
        <p:spPr>
          <a:xfrm>
            <a:off x="5588649" y="2849563"/>
            <a:ext cx="685800" cy="685800"/>
          </a:xfrm>
          <a:prstGeom prst="ellipse">
            <a:avLst/>
          </a:prstGeom>
          <a:solidFill>
            <a:schemeClr val="l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7" name="KSO_Shape">
            <a:extLst>
              <a:ext uri="{FF2B5EF4-FFF2-40B4-BE49-F238E27FC236}">
                <a16:creationId xmlns:a16="http://schemas.microsoft.com/office/drawing/2014/main" id="{F85B1207-8C93-457E-B70B-8E6696BA78DD}"/>
              </a:ext>
            </a:extLst>
          </p:cNvPr>
          <p:cNvSpPr/>
          <p:nvPr/>
        </p:nvSpPr>
        <p:spPr>
          <a:xfrm>
            <a:off x="5718824" y="3035300"/>
            <a:ext cx="419100" cy="314325"/>
          </a:xfrm>
          <a:custGeom>
            <a:gdLst>
              <a:gd fmla="*/ 577329 w 833225" name="connsiteX0"/>
              <a:gd fmla="*/ 241699 h 624687" name="connsiteY0"/>
              <a:gd fmla="*/ 541325 w 833225" name="connsiteX1"/>
              <a:gd fmla="*/ 277703 h 624687" name="connsiteY1"/>
              <a:gd fmla="*/ 577329 w 833225" name="connsiteX2"/>
              <a:gd fmla="*/ 313707 h 624687" name="connsiteY2"/>
              <a:gd fmla="*/ 613333 w 833225" name="connsiteX3"/>
              <a:gd fmla="*/ 277703 h 624687" name="connsiteY3"/>
              <a:gd fmla="*/ 577329 w 833225" name="connsiteX4"/>
              <a:gd fmla="*/ 241699 h 624687" name="connsiteY4"/>
              <a:gd fmla="*/ 424929 w 833225" name="connsiteX5"/>
              <a:gd fmla="*/ 241699 h 624687" name="connsiteY5"/>
              <a:gd fmla="*/ 388925 w 833225" name="connsiteX6"/>
              <a:gd fmla="*/ 277703 h 624687" name="connsiteY6"/>
              <a:gd fmla="*/ 424929 w 833225" name="connsiteX7"/>
              <a:gd fmla="*/ 313707 h 624687" name="connsiteY7"/>
              <a:gd fmla="*/ 460933 w 833225" name="connsiteX8"/>
              <a:gd fmla="*/ 277703 h 624687" name="connsiteY8"/>
              <a:gd fmla="*/ 424929 w 833225" name="connsiteX9"/>
              <a:gd fmla="*/ 241699 h 624687" name="connsiteY9"/>
              <a:gd fmla="*/ 272529 w 833225" name="connsiteX10"/>
              <a:gd fmla="*/ 241699 h 624687" name="connsiteY10"/>
              <a:gd fmla="*/ 236525 w 833225" name="connsiteX11"/>
              <a:gd fmla="*/ 277703 h 624687" name="connsiteY11"/>
              <a:gd fmla="*/ 272529 w 833225" name="connsiteX12"/>
              <a:gd fmla="*/ 313707 h 624687" name="connsiteY12"/>
              <a:gd fmla="*/ 308533 w 833225" name="connsiteX13"/>
              <a:gd fmla="*/ 277703 h 624687" name="connsiteY13"/>
              <a:gd fmla="*/ 272529 w 833225" name="connsiteX14"/>
              <a:gd fmla="*/ 241699 h 624687" name="connsiteY14"/>
              <a:gd fmla="*/ 429066 w 833225" name="connsiteX15"/>
              <a:gd fmla="*/ 124 h 624687" name="connsiteY15"/>
              <a:gd fmla="*/ 543580 w 833225" name="connsiteX16"/>
              <a:gd fmla="*/ 13237 h 624687" name="connsiteY16"/>
              <a:gd fmla="*/ 789350 w 833225" name="connsiteX17"/>
              <a:gd fmla="*/ 401436 h 624687" name="connsiteY17"/>
              <a:gd fmla="*/ 362652 w 833225" name="connsiteX18"/>
              <a:gd fmla="*/ 552944 h 624687" name="connsiteY18"/>
              <a:gd fmla="*/ 243007 w 833225" name="connsiteX19"/>
              <a:gd fmla="*/ 624687 h 624687" name="connsiteY19"/>
              <a:gd fmla="*/ 211865 w 833225" name="connsiteX20"/>
              <a:gd fmla="*/ 519440 h 624687" name="connsiteY20"/>
              <a:gd fmla="*/ 117966 w 833225" name="connsiteX21"/>
              <a:gd fmla="*/ 84077 h 624687" name="connsiteY21"/>
              <a:gd fmla="*/ 429066 w 833225" name="connsiteX22"/>
              <a:gd fmla="*/ 124 h 624687" name="connsiteY22"/>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b="b" l="l" r="r" t="t"/>
            <a:pathLst>
              <a:path h="624687" w="833225">
                <a:moveTo>
                  <a:pt x="577329" y="241699"/>
                </a:moveTo>
                <a:cubicBezTo>
                  <a:pt x="557445" y="241699"/>
                  <a:pt x="541325" y="257819"/>
                  <a:pt x="541325" y="277703"/>
                </a:cubicBezTo>
                <a:cubicBezTo>
                  <a:pt x="541325" y="297587"/>
                  <a:pt x="557445" y="313707"/>
                  <a:pt x="577329" y="313707"/>
                </a:cubicBezTo>
                <a:cubicBezTo>
                  <a:pt x="597213" y="313707"/>
                  <a:pt x="613333" y="297587"/>
                  <a:pt x="613333" y="277703"/>
                </a:cubicBezTo>
                <a:cubicBezTo>
                  <a:pt x="613333" y="257819"/>
                  <a:pt x="597213" y="241699"/>
                  <a:pt x="577329" y="241699"/>
                </a:cubicBezTo>
                <a:close/>
                <a:moveTo>
                  <a:pt x="424929" y="241699"/>
                </a:moveTo>
                <a:cubicBezTo>
                  <a:pt x="405045" y="241699"/>
                  <a:pt x="388925" y="257819"/>
                  <a:pt x="388925" y="277703"/>
                </a:cubicBezTo>
                <a:cubicBezTo>
                  <a:pt x="388925" y="297587"/>
                  <a:pt x="405045" y="313707"/>
                  <a:pt x="424929" y="313707"/>
                </a:cubicBezTo>
                <a:cubicBezTo>
                  <a:pt x="444813" y="313707"/>
                  <a:pt x="460933" y="297587"/>
                  <a:pt x="460933" y="277703"/>
                </a:cubicBezTo>
                <a:cubicBezTo>
                  <a:pt x="460933" y="257819"/>
                  <a:pt x="444813" y="241699"/>
                  <a:pt x="424929" y="241699"/>
                </a:cubicBezTo>
                <a:close/>
                <a:moveTo>
                  <a:pt x="272529" y="241699"/>
                </a:moveTo>
                <a:cubicBezTo>
                  <a:pt x="252645" y="241699"/>
                  <a:pt x="236525" y="257819"/>
                  <a:pt x="236525" y="277703"/>
                </a:cubicBezTo>
                <a:cubicBezTo>
                  <a:pt x="236525" y="297587"/>
                  <a:pt x="252645" y="313707"/>
                  <a:pt x="272529" y="313707"/>
                </a:cubicBezTo>
                <a:cubicBezTo>
                  <a:pt x="292413" y="313707"/>
                  <a:pt x="308533" y="297587"/>
                  <a:pt x="308533" y="277703"/>
                </a:cubicBezTo>
                <a:cubicBezTo>
                  <a:pt x="308533" y="257819"/>
                  <a:pt x="292413" y="241699"/>
                  <a:pt x="272529" y="241699"/>
                </a:cubicBezTo>
                <a:close/>
                <a:moveTo>
                  <a:pt x="429066" y="124"/>
                </a:moveTo>
                <a:cubicBezTo>
                  <a:pt x="467414" y="891"/>
                  <a:pt x="505944" y="5202"/>
                  <a:pt x="543580" y="13237"/>
                </a:cubicBezTo>
                <a:cubicBezTo>
                  <a:pt x="786614" y="65121"/>
                  <a:pt x="903137" y="249172"/>
                  <a:pt x="789350" y="401436"/>
                </a:cubicBezTo>
                <a:cubicBezTo>
                  <a:pt x="710142" y="507428"/>
                  <a:pt x="538801" y="568267"/>
                  <a:pt x="362652" y="552944"/>
                </a:cubicBezTo>
                <a:lnTo>
                  <a:pt x="243007" y="624687"/>
                </a:lnTo>
                <a:lnTo>
                  <a:pt x="211865" y="519440"/>
                </a:lnTo>
                <a:cubicBezTo>
                  <a:pt x="-26035" y="429957"/>
                  <a:pt x="-72481" y="214611"/>
                  <a:pt x="117966" y="84077"/>
                </a:cubicBezTo>
                <a:cubicBezTo>
                  <a:pt x="200623" y="27423"/>
                  <a:pt x="314022" y="-2176"/>
                  <a:pt x="429066" y="124"/>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lang="en-US">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8" name="椭圆 7">
            <a:extLst>
              <a:ext uri="{FF2B5EF4-FFF2-40B4-BE49-F238E27FC236}">
                <a16:creationId xmlns:a16="http://schemas.microsoft.com/office/drawing/2014/main" id="{4BCD4EC7-13F2-4E06-9700-23E0F6255378}"/>
              </a:ext>
            </a:extLst>
          </p:cNvPr>
          <p:cNvSpPr/>
          <p:nvPr/>
        </p:nvSpPr>
        <p:spPr>
          <a:xfrm>
            <a:off x="5590236" y="3824288"/>
            <a:ext cx="685800" cy="685800"/>
          </a:xfrm>
          <a:prstGeom prst="ellipse">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9" name="椭圆 8">
            <a:extLst>
              <a:ext uri="{FF2B5EF4-FFF2-40B4-BE49-F238E27FC236}">
                <a16:creationId xmlns:a16="http://schemas.microsoft.com/office/drawing/2014/main" id="{AD29A634-1C51-4082-9945-8442F1DC91E6}"/>
              </a:ext>
            </a:extLst>
          </p:cNvPr>
          <p:cNvSpPr/>
          <p:nvPr/>
        </p:nvSpPr>
        <p:spPr>
          <a:xfrm>
            <a:off x="5590236" y="4965700"/>
            <a:ext cx="685800" cy="6858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393" name="KSO_Shape">
            <a:extLst>
              <a:ext uri="{FF2B5EF4-FFF2-40B4-BE49-F238E27FC236}">
                <a16:creationId xmlns:a16="http://schemas.microsoft.com/office/drawing/2014/main" id="{C1D0B812-E363-433D-AC26-68F7D3189F2D}"/>
              </a:ext>
            </a:extLst>
          </p:cNvPr>
          <p:cNvSpPr/>
          <p:nvPr/>
        </p:nvSpPr>
        <p:spPr bwMode="auto">
          <a:xfrm>
            <a:off x="5729936" y="3921125"/>
            <a:ext cx="406400" cy="492125"/>
          </a:xfrm>
          <a:custGeom>
            <a:gdLst>
              <a:gd fmla="*/ 4835 w 968375" name="T0"/>
              <a:gd fmla="*/ 54647 h 1170887" name="T1"/>
              <a:gd fmla="*/ 23337 w 968375" name="T2"/>
              <a:gd fmla="*/ 62897 h 1170887" name="T3"/>
              <a:gd fmla="*/ 41628 w 968375" name="T4"/>
              <a:gd fmla="*/ 55070 h 1170887" name="T5"/>
              <a:gd fmla="*/ 44361 w 968375" name="T6"/>
              <a:gd fmla="*/ 56339 h 1170887" name="T7"/>
              <a:gd fmla="*/ 23337 w 968375" name="T8"/>
              <a:gd fmla="*/ 66070 h 1170887" name="T9"/>
              <a:gd fmla="*/ 1892 w 968375" name="T10"/>
              <a:gd fmla="*/ 55916 h 1170887" name="T11"/>
              <a:gd fmla="*/ 4835 w 968375" name="T12"/>
              <a:gd fmla="*/ 54647 h 1170887" name="T13"/>
              <a:gd fmla="*/ 48776 w 968375" name="T14"/>
              <a:gd fmla="*/ 34974 h 1170887" name="T15"/>
              <a:gd fmla="*/ 54242 w 968375" name="T16"/>
              <a:gd fmla="*/ 41743 h 1170887" name="T17"/>
              <a:gd fmla="*/ 47304 w 968375" name="T18"/>
              <a:gd fmla="*/ 48724 h 1170887" name="T19"/>
              <a:gd fmla="*/ 44782 w 968375" name="T20"/>
              <a:gd fmla="*/ 48301 h 1170887" name="T21"/>
              <a:gd fmla="*/ 46463 w 968375" name="T22"/>
              <a:gd fmla="*/ 45551 h 1170887" name="T23"/>
              <a:gd fmla="*/ 47304 w 968375" name="T24"/>
              <a:gd fmla="*/ 45762 h 1170887" name="T25"/>
              <a:gd fmla="*/ 51089 w 968375" name="T26"/>
              <a:gd fmla="*/ 41743 h 1170887" name="T27"/>
              <a:gd fmla="*/ 48566 w 968375" name="T28"/>
              <a:gd fmla="*/ 38147 h 1170887" name="T29"/>
              <a:gd fmla="*/ 48776 w 968375" name="T30"/>
              <a:gd fmla="*/ 34974 h 1170887" name="T31"/>
              <a:gd fmla="*/ 46043 w 968375" name="T32"/>
              <a:gd fmla="*/ 30320 h 1170887" name="T33"/>
              <a:gd fmla="*/ 46463 w 968375" name="T34"/>
              <a:gd fmla="*/ 34551 h 1170887" name="T35"/>
              <a:gd fmla="*/ 23337 w 968375" name="T36"/>
              <a:gd fmla="*/ 57820 h 1170887" name="T37"/>
              <a:gd fmla="*/ 0 w 968375" name="T38"/>
              <a:gd fmla="*/ 34551 h 1170887" name="T39"/>
              <a:gd fmla="*/ 421 w 968375" name="T40"/>
              <a:gd fmla="*/ 30743 h 1170887" name="T41"/>
              <a:gd fmla="*/ 23337 w 968375" name="T42"/>
              <a:gd fmla="*/ 42801 h 1170887" name="T43"/>
              <a:gd fmla="*/ 46043 w 968375" name="T44"/>
              <a:gd fmla="*/ 30743 h 1170887" name="T45"/>
              <a:gd fmla="*/ 46043 w 968375" name="T46"/>
              <a:gd fmla="*/ 30320 h 1170887" name="T47"/>
              <a:gd fmla="*/ 23337 w 968375" name="T48"/>
              <a:gd fmla="*/ 21012 h 1170887" name="T49"/>
              <a:gd fmla="*/ 43520 w 968375" name="T50"/>
              <a:gd fmla="*/ 30743 h 1170887" name="T51"/>
              <a:gd fmla="*/ 43310 w 968375" name="T52"/>
              <a:gd fmla="*/ 32224 h 1170887" name="T53"/>
              <a:gd fmla="*/ 23337 w 968375" name="T54"/>
              <a:gd fmla="*/ 25454 h 1170887" name="T55"/>
              <a:gd fmla="*/ 3154 w 968375" name="T56"/>
              <a:gd fmla="*/ 32224 h 1170887" name="T57"/>
              <a:gd fmla="*/ 2944 w 968375" name="T58"/>
              <a:gd fmla="*/ 30743 h 1170887" name="T59"/>
              <a:gd fmla="*/ 23337 w 968375" name="T60"/>
              <a:gd fmla="*/ 21012 h 1170887" name="T61"/>
              <a:gd fmla="*/ 30466 w 968375" name="T62"/>
              <a:gd fmla="*/ 3504 h 1170887" name="T63"/>
              <a:gd fmla="*/ 31045 w 968375" name="T64"/>
              <a:gd fmla="*/ 21023 h 1170887" name="T65"/>
              <a:gd fmla="*/ 30466 w 968375" name="T66"/>
              <a:gd fmla="*/ 3504 h 1170887" name="T67"/>
              <a:gd fmla="*/ 15412 w 968375" name="T68"/>
              <a:gd fmla="*/ 2336 h 1170887" name="T69"/>
              <a:gd fmla="*/ 15992 w 968375" name="T70"/>
              <a:gd fmla="*/ 19855 h 1170887" name="T71"/>
              <a:gd fmla="*/ 15412 w 968375" name="T72"/>
              <a:gd fmla="*/ 2336 h 1170887" name="T73"/>
              <a:gd fmla="*/ 22939 w 968375" name="T74"/>
              <a:gd fmla="*/ 0 h 1170887" name="T75"/>
              <a:gd fmla="*/ 23518 w 968375" name="T76"/>
              <a:gd fmla="*/ 17519 h 1170887" name="T77"/>
              <a:gd fmla="*/ 22939 w 968375" name="T78"/>
              <a:gd fmla="*/ 0 h 1170887" name="T79"/>
              <a:gd fmla="*/ 0 60000 65536" name="T80"/>
              <a:gd fmla="*/ 0 60000 65536" name="T81"/>
              <a:gd fmla="*/ 0 60000 65536" name="T82"/>
              <a:gd fmla="*/ 0 60000 65536" name="T83"/>
              <a:gd fmla="*/ 0 60000 65536" name="T84"/>
              <a:gd fmla="*/ 0 60000 65536" name="T85"/>
              <a:gd fmla="*/ 0 60000 65536" name="T86"/>
              <a:gd fmla="*/ 0 60000 65536" name="T87"/>
              <a:gd fmla="*/ 0 60000 65536" name="T88"/>
              <a:gd fmla="*/ 0 60000 65536" name="T89"/>
              <a:gd fmla="*/ 0 60000 65536" name="T90"/>
              <a:gd fmla="*/ 0 60000 65536" name="T91"/>
              <a:gd fmla="*/ 0 60000 65536" name="T92"/>
              <a:gd fmla="*/ 0 60000 65536"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b="b" l="0" r="r" t="0"/>
            <a:pathLst>
              <a:path h="1170887" w="968375">
                <a:moveTo>
                  <a:pt x="86328" y="968447"/>
                </a:moveTo>
                <a:cubicBezTo>
                  <a:pt x="120108" y="1054672"/>
                  <a:pt x="258984" y="1114654"/>
                  <a:pt x="416627" y="1114654"/>
                </a:cubicBezTo>
                <a:cubicBezTo>
                  <a:pt x="566762" y="1114654"/>
                  <a:pt x="701884" y="1058421"/>
                  <a:pt x="743172" y="975945"/>
                </a:cubicBezTo>
                <a:cubicBezTo>
                  <a:pt x="791966" y="998438"/>
                  <a:pt x="791966" y="998438"/>
                  <a:pt x="791966" y="998438"/>
                </a:cubicBezTo>
                <a:cubicBezTo>
                  <a:pt x="743172" y="1103407"/>
                  <a:pt x="589283" y="1170887"/>
                  <a:pt x="416627" y="1170887"/>
                </a:cubicBezTo>
                <a:cubicBezTo>
                  <a:pt x="236464" y="1170887"/>
                  <a:pt x="78821" y="1095909"/>
                  <a:pt x="33780" y="990941"/>
                </a:cubicBezTo>
                <a:cubicBezTo>
                  <a:pt x="86328" y="968447"/>
                  <a:pt x="86328" y="968447"/>
                  <a:pt x="86328" y="968447"/>
                </a:cubicBezTo>
                <a:close/>
                <a:moveTo>
                  <a:pt x="870787" y="619801"/>
                </a:moveTo>
                <a:cubicBezTo>
                  <a:pt x="927088" y="634796"/>
                  <a:pt x="968375" y="683532"/>
                  <a:pt x="968375" y="739765"/>
                </a:cubicBezTo>
                <a:cubicBezTo>
                  <a:pt x="968375" y="810994"/>
                  <a:pt x="912074" y="863478"/>
                  <a:pt x="844513" y="863478"/>
                </a:cubicBezTo>
                <a:cubicBezTo>
                  <a:pt x="829500" y="863478"/>
                  <a:pt x="814486" y="863478"/>
                  <a:pt x="799473" y="855981"/>
                </a:cubicBezTo>
                <a:cubicBezTo>
                  <a:pt x="810733" y="840985"/>
                  <a:pt x="821993" y="822241"/>
                  <a:pt x="829500" y="807245"/>
                </a:cubicBezTo>
                <a:cubicBezTo>
                  <a:pt x="833253" y="807245"/>
                  <a:pt x="840760" y="810994"/>
                  <a:pt x="844513" y="810994"/>
                </a:cubicBezTo>
                <a:cubicBezTo>
                  <a:pt x="882047" y="810994"/>
                  <a:pt x="912074" y="777254"/>
                  <a:pt x="912074" y="739765"/>
                </a:cubicBezTo>
                <a:cubicBezTo>
                  <a:pt x="912074" y="713523"/>
                  <a:pt x="893307" y="687281"/>
                  <a:pt x="867034" y="676034"/>
                </a:cubicBezTo>
                <a:cubicBezTo>
                  <a:pt x="870787" y="661038"/>
                  <a:pt x="870787" y="642294"/>
                  <a:pt x="870787" y="619801"/>
                </a:cubicBezTo>
                <a:close/>
                <a:moveTo>
                  <a:pt x="821993" y="537325"/>
                </a:moveTo>
                <a:cubicBezTo>
                  <a:pt x="825746" y="556070"/>
                  <a:pt x="829500" y="582312"/>
                  <a:pt x="829500" y="612303"/>
                </a:cubicBezTo>
                <a:cubicBezTo>
                  <a:pt x="829500" y="840985"/>
                  <a:pt x="645584" y="1024681"/>
                  <a:pt x="416627" y="1024681"/>
                </a:cubicBezTo>
                <a:cubicBezTo>
                  <a:pt x="187669" y="1024681"/>
                  <a:pt x="0" y="840985"/>
                  <a:pt x="0" y="612303"/>
                </a:cubicBezTo>
                <a:cubicBezTo>
                  <a:pt x="0" y="586061"/>
                  <a:pt x="3753" y="563567"/>
                  <a:pt x="7507" y="544823"/>
                </a:cubicBezTo>
                <a:cubicBezTo>
                  <a:pt x="7507" y="664787"/>
                  <a:pt x="187669" y="758510"/>
                  <a:pt x="416627" y="758510"/>
                </a:cubicBezTo>
                <a:cubicBezTo>
                  <a:pt x="641830" y="758510"/>
                  <a:pt x="821993" y="664787"/>
                  <a:pt x="821993" y="544823"/>
                </a:cubicBezTo>
                <a:cubicBezTo>
                  <a:pt x="821993" y="541074"/>
                  <a:pt x="821993" y="541074"/>
                  <a:pt x="821993" y="537325"/>
                </a:cubicBezTo>
                <a:close/>
                <a:moveTo>
                  <a:pt x="416627" y="372374"/>
                </a:moveTo>
                <a:cubicBezTo>
                  <a:pt x="611803" y="372374"/>
                  <a:pt x="776952" y="451101"/>
                  <a:pt x="776952" y="544823"/>
                </a:cubicBezTo>
                <a:cubicBezTo>
                  <a:pt x="776952" y="556070"/>
                  <a:pt x="776952" y="563567"/>
                  <a:pt x="773199" y="571065"/>
                </a:cubicBezTo>
                <a:cubicBezTo>
                  <a:pt x="716898" y="499836"/>
                  <a:pt x="578023" y="451101"/>
                  <a:pt x="416627" y="451101"/>
                </a:cubicBezTo>
                <a:cubicBezTo>
                  <a:pt x="251477" y="451101"/>
                  <a:pt x="112601" y="499836"/>
                  <a:pt x="56301" y="571065"/>
                </a:cubicBezTo>
                <a:cubicBezTo>
                  <a:pt x="52547" y="563567"/>
                  <a:pt x="52547" y="556070"/>
                  <a:pt x="52547" y="544823"/>
                </a:cubicBezTo>
                <a:cubicBezTo>
                  <a:pt x="52547" y="451101"/>
                  <a:pt x="217696" y="372374"/>
                  <a:pt x="416627" y="372374"/>
                </a:cubicBezTo>
                <a:close/>
                <a:moveTo>
                  <a:pt x="543902" y="62096"/>
                </a:moveTo>
                <a:cubicBezTo>
                  <a:pt x="636930" y="186288"/>
                  <a:pt x="492220" y="196637"/>
                  <a:pt x="554238" y="372576"/>
                </a:cubicBezTo>
                <a:cubicBezTo>
                  <a:pt x="409528" y="155240"/>
                  <a:pt x="585248" y="196637"/>
                  <a:pt x="543902" y="62096"/>
                </a:cubicBezTo>
                <a:close/>
                <a:moveTo>
                  <a:pt x="275155" y="41398"/>
                </a:moveTo>
                <a:cubicBezTo>
                  <a:pt x="368183" y="175939"/>
                  <a:pt x="223472" y="175939"/>
                  <a:pt x="285491" y="351878"/>
                </a:cubicBezTo>
                <a:cubicBezTo>
                  <a:pt x="140780" y="144891"/>
                  <a:pt x="316500" y="186288"/>
                  <a:pt x="275155" y="41398"/>
                </a:cubicBezTo>
                <a:close/>
                <a:moveTo>
                  <a:pt x="409528" y="0"/>
                </a:moveTo>
                <a:cubicBezTo>
                  <a:pt x="502556" y="124192"/>
                  <a:pt x="357846" y="134542"/>
                  <a:pt x="419865" y="310480"/>
                </a:cubicBezTo>
                <a:cubicBezTo>
                  <a:pt x="275155" y="103493"/>
                  <a:pt x="450874" y="144891"/>
                  <a:pt x="409528" y="0"/>
                </a:cubicBezTo>
                <a:close/>
              </a:path>
            </a:pathLst>
          </a:custGeom>
          <a:solidFill>
            <a:schemeClr val="bg1"/>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1" name="KSO_Shape">
            <a:extLst>
              <a:ext uri="{FF2B5EF4-FFF2-40B4-BE49-F238E27FC236}">
                <a16:creationId xmlns:a16="http://schemas.microsoft.com/office/drawing/2014/main" id="{DA2DC9C4-A003-4B30-AC42-6F18EF3D18F5}"/>
              </a:ext>
            </a:extLst>
          </p:cNvPr>
          <p:cNvSpPr/>
          <p:nvPr/>
        </p:nvSpPr>
        <p:spPr>
          <a:xfrm>
            <a:off x="5712474" y="5149850"/>
            <a:ext cx="441325" cy="317500"/>
          </a:xfrm>
          <a:custGeom>
            <a:gdLst>
              <a:gd fmla="*/ 880442 w 1224136" name="connsiteX0"/>
              <a:gd fmla="*/ 361080 h 883138" name="connsiteY0"/>
              <a:gd fmla="*/ 1006456 w 1224136" name="connsiteX1"/>
              <a:gd fmla="*/ 487094 h 883138" name="connsiteY1"/>
              <a:gd fmla="*/ 880442 w 1224136" name="connsiteX2"/>
              <a:gd fmla="*/ 613108 h 883138" name="connsiteY2"/>
              <a:gd fmla="*/ 754428 w 1224136" name="connsiteX3"/>
              <a:gd fmla="*/ 487094 h 883138" name="connsiteY3"/>
              <a:gd fmla="*/ 880442 w 1224136" name="connsiteX4"/>
              <a:gd fmla="*/ 361080 h 883138" name="connsiteY4"/>
              <a:gd fmla="*/ 880442 w 1224136" name="connsiteX5"/>
              <a:gd fmla="*/ 235066 h 883138" name="connsiteY5"/>
              <a:gd fmla="*/ 628414 w 1224136" name="connsiteX6"/>
              <a:gd fmla="*/ 487094 h 883138" name="connsiteY6"/>
              <a:gd fmla="*/ 880442 w 1224136" name="connsiteX7"/>
              <a:gd fmla="*/ 739122 h 883138" name="connsiteY7"/>
              <a:gd fmla="*/ 1132470 w 1224136" name="connsiteX8"/>
              <a:gd fmla="*/ 487094 h 883138" name="connsiteY8"/>
              <a:gd fmla="*/ 880442 w 1224136" name="connsiteX9"/>
              <a:gd fmla="*/ 235066 h 883138" name="connsiteY9"/>
              <a:gd fmla="*/ 132017 w 1224136" name="connsiteX10"/>
              <a:gd fmla="*/ 91050 h 883138" name="connsiteY10"/>
              <a:gd fmla="*/ 1092119 w 1224136" name="connsiteX11"/>
              <a:gd fmla="*/ 91050 h 883138" name="connsiteY11"/>
              <a:gd fmla="*/ 1224136 w 1224136" name="connsiteX12"/>
              <a:gd fmla="*/ 223067 h 883138" name="connsiteY12"/>
              <a:gd fmla="*/ 1224136 w 1224136" name="connsiteX13"/>
              <a:gd fmla="*/ 751121 h 883138" name="connsiteY13"/>
              <a:gd fmla="*/ 1092119 w 1224136" name="connsiteX14"/>
              <a:gd fmla="*/ 883138 h 883138" name="connsiteY14"/>
              <a:gd fmla="*/ 132017 w 1224136" name="connsiteX15"/>
              <a:gd fmla="*/ 883138 h 883138" name="connsiteY15"/>
              <a:gd fmla="*/ 0 w 1224136" name="connsiteX16"/>
              <a:gd fmla="*/ 751121 h 883138" name="connsiteY16"/>
              <a:gd fmla="*/ 0 w 1224136" name="connsiteX17"/>
              <a:gd fmla="*/ 223067 h 883138" name="connsiteY17"/>
              <a:gd fmla="*/ 132017 w 1224136" name="connsiteX18"/>
              <a:gd fmla="*/ 91050 h 883138" name="connsiteY18"/>
              <a:gd fmla="*/ 156016 w 1224136" name="connsiteX19"/>
              <a:gd fmla="*/ 0 h 883138" name="connsiteY19"/>
              <a:gd fmla="*/ 348040 w 1224136" name="connsiteX20"/>
              <a:gd fmla="*/ 0 h 883138" name="connsiteY20"/>
              <a:gd fmla="*/ 360040 w 1224136" name="connsiteX21"/>
              <a:gd fmla="*/ 12000 h 883138" name="connsiteY21"/>
              <a:gd fmla="*/ 360040 w 1224136" name="connsiteX22"/>
              <a:gd fmla="*/ 60000 h 883138" name="connsiteY22"/>
              <a:gd fmla="*/ 348040 w 1224136" name="connsiteX23"/>
              <a:gd fmla="*/ 72000 h 883138" name="connsiteY23"/>
              <a:gd fmla="*/ 156016 w 1224136" name="connsiteX24"/>
              <a:gd fmla="*/ 72000 h 883138" name="connsiteY24"/>
              <a:gd fmla="*/ 144016 w 1224136" name="connsiteX25"/>
              <a:gd fmla="*/ 60000 h 883138" name="connsiteY25"/>
              <a:gd fmla="*/ 144016 w 1224136" name="connsiteX26"/>
              <a:gd fmla="*/ 12000 h 883138" name="connsiteY26"/>
              <a:gd fmla="*/ 156016 w 1224136" name="connsiteX27"/>
              <a:gd fmla="*/ 0 h 883138" name="connsiteY2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b="b" l="l" r="r" t="t"/>
            <a:pathLst>
              <a:path h="883138" w="1224136">
                <a:moveTo>
                  <a:pt x="880442" y="361080"/>
                </a:moveTo>
                <a:cubicBezTo>
                  <a:pt x="950038" y="361080"/>
                  <a:pt x="1006456" y="417498"/>
                  <a:pt x="1006456" y="487094"/>
                </a:cubicBezTo>
                <a:cubicBezTo>
                  <a:pt x="1006456" y="556690"/>
                  <a:pt x="950038" y="613108"/>
                  <a:pt x="880442" y="613108"/>
                </a:cubicBezTo>
                <a:cubicBezTo>
                  <a:pt x="810846" y="613108"/>
                  <a:pt x="754428" y="556690"/>
                  <a:pt x="754428" y="487094"/>
                </a:cubicBezTo>
                <a:cubicBezTo>
                  <a:pt x="754428" y="417498"/>
                  <a:pt x="810846" y="361080"/>
                  <a:pt x="880442" y="361080"/>
                </a:cubicBezTo>
                <a:close/>
                <a:moveTo>
                  <a:pt x="880442" y="235066"/>
                </a:moveTo>
                <a:cubicBezTo>
                  <a:pt x="741251" y="235066"/>
                  <a:pt x="628414" y="347903"/>
                  <a:pt x="628414" y="487094"/>
                </a:cubicBezTo>
                <a:cubicBezTo>
                  <a:pt x="628414" y="626285"/>
                  <a:pt x="741251" y="739122"/>
                  <a:pt x="880442" y="739122"/>
                </a:cubicBezTo>
                <a:cubicBezTo>
                  <a:pt x="1019633" y="739122"/>
                  <a:pt x="1132470" y="626285"/>
                  <a:pt x="1132470" y="487094"/>
                </a:cubicBezTo>
                <a:cubicBezTo>
                  <a:pt x="1132470" y="347903"/>
                  <a:pt x="1019633" y="235066"/>
                  <a:pt x="880442" y="235066"/>
                </a:cubicBezTo>
                <a:close/>
                <a:moveTo>
                  <a:pt x="132017" y="91050"/>
                </a:moveTo>
                <a:lnTo>
                  <a:pt x="1092119" y="91050"/>
                </a:lnTo>
                <a:cubicBezTo>
                  <a:pt x="1165030" y="91050"/>
                  <a:pt x="1224136" y="150156"/>
                  <a:pt x="1224136" y="223067"/>
                </a:cubicBezTo>
                <a:lnTo>
                  <a:pt x="1224136" y="751121"/>
                </a:lnTo>
                <a:cubicBezTo>
                  <a:pt x="1224136" y="824032"/>
                  <a:pt x="1165030" y="883138"/>
                  <a:pt x="1092119" y="883138"/>
                </a:cubicBezTo>
                <a:lnTo>
                  <a:pt x="132017" y="883138"/>
                </a:lnTo>
                <a:cubicBezTo>
                  <a:pt x="59106" y="883138"/>
                  <a:pt x="0" y="824032"/>
                  <a:pt x="0" y="751121"/>
                </a:cubicBezTo>
                <a:lnTo>
                  <a:pt x="0" y="223067"/>
                </a:lnTo>
                <a:cubicBezTo>
                  <a:pt x="0" y="150156"/>
                  <a:pt x="59106" y="91050"/>
                  <a:pt x="132017" y="91050"/>
                </a:cubicBezTo>
                <a:close/>
                <a:moveTo>
                  <a:pt x="156016" y="0"/>
                </a:moveTo>
                <a:lnTo>
                  <a:pt x="348040" y="0"/>
                </a:lnTo>
                <a:cubicBezTo>
                  <a:pt x="354667" y="0"/>
                  <a:pt x="360040" y="5373"/>
                  <a:pt x="360040" y="12000"/>
                </a:cubicBezTo>
                <a:lnTo>
                  <a:pt x="360040" y="60000"/>
                </a:lnTo>
                <a:cubicBezTo>
                  <a:pt x="360040" y="66627"/>
                  <a:pt x="354667" y="72000"/>
                  <a:pt x="348040" y="72000"/>
                </a:cubicBezTo>
                <a:lnTo>
                  <a:pt x="156016" y="72000"/>
                </a:lnTo>
                <a:cubicBezTo>
                  <a:pt x="149389" y="72000"/>
                  <a:pt x="144016" y="66627"/>
                  <a:pt x="144016" y="60000"/>
                </a:cubicBezTo>
                <a:lnTo>
                  <a:pt x="144016" y="12000"/>
                </a:lnTo>
                <a:cubicBezTo>
                  <a:pt x="144016" y="5373"/>
                  <a:pt x="149389" y="0"/>
                  <a:pt x="15601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395" name="矩形 11">
            <a:extLst>
              <a:ext uri="{FF2B5EF4-FFF2-40B4-BE49-F238E27FC236}">
                <a16:creationId xmlns:a16="http://schemas.microsoft.com/office/drawing/2014/main" id="{3BD88C71-C69B-47CF-B412-59571A454B1C}"/>
              </a:ext>
            </a:extLst>
          </p:cNvPr>
          <p:cNvSpPr>
            <a:spLocks noChangeArrowheads="1"/>
          </p:cNvSpPr>
          <p:nvPr/>
        </p:nvSpPr>
        <p:spPr bwMode="auto">
          <a:xfrm>
            <a:off x="6349061" y="1895475"/>
            <a:ext cx="4606925" cy="51816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r>
              <a:rPr altLang="en-US" lang="zh-CN" sz="1400">
                <a:solidFill>
                  <a:schemeClr val="bg2"/>
                </a:solidFill>
                <a:latin charset="-122" panose="020b0400000000000000" pitchFamily="34" typeface="思源黑体"/>
                <a:ea charset="-122" panose="020b0400000000000000" pitchFamily="34" typeface="思源黑体"/>
                <a:sym charset="-122" panose="020b0400000000000000" pitchFamily="34" typeface="思源黑体"/>
              </a:rPr>
              <a:t>Lorem ut libero malesuada feugiat. Vestibulum ac diam sit amet quam vehiculanulla quis lorem ut</a:t>
            </a:r>
          </a:p>
        </p:txBody>
      </p:sp>
      <p:sp>
        <p:nvSpPr>
          <p:cNvPr id="16396" name="矩形 12">
            <a:extLst>
              <a:ext uri="{FF2B5EF4-FFF2-40B4-BE49-F238E27FC236}">
                <a16:creationId xmlns:a16="http://schemas.microsoft.com/office/drawing/2014/main" id="{31A65DB1-9E1A-4EE8-909B-7567F835B052}"/>
              </a:ext>
            </a:extLst>
          </p:cNvPr>
          <p:cNvSpPr>
            <a:spLocks noChangeArrowheads="1"/>
          </p:cNvSpPr>
          <p:nvPr/>
        </p:nvSpPr>
        <p:spPr bwMode="auto">
          <a:xfrm>
            <a:off x="6349062" y="1595438"/>
            <a:ext cx="2102167" cy="36576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none">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r>
              <a:rPr altLang="zh-CN" b="1" lang="en-US">
                <a:solidFill>
                  <a:schemeClr val="accent1"/>
                </a:solidFill>
                <a:latin charset="-122" panose="020b0400000000000000" pitchFamily="34" typeface="思源黑体"/>
                <a:ea charset="-122" panose="020b0400000000000000" pitchFamily="34" typeface="思源黑体"/>
                <a:sym charset="-122" panose="020b0400000000000000" pitchFamily="34" typeface="思源黑体"/>
              </a:rPr>
              <a:t>ADD YOUR TEXT</a:t>
            </a:r>
          </a:p>
        </p:txBody>
      </p:sp>
      <p:sp>
        <p:nvSpPr>
          <p:cNvPr id="16397" name="矩形 13">
            <a:extLst>
              <a:ext uri="{FF2B5EF4-FFF2-40B4-BE49-F238E27FC236}">
                <a16:creationId xmlns:a16="http://schemas.microsoft.com/office/drawing/2014/main" id="{EDC57640-390A-4131-B9B4-1B4B72CA10BB}"/>
              </a:ext>
            </a:extLst>
          </p:cNvPr>
          <p:cNvSpPr>
            <a:spLocks noChangeArrowheads="1"/>
          </p:cNvSpPr>
          <p:nvPr/>
        </p:nvSpPr>
        <p:spPr bwMode="auto">
          <a:xfrm>
            <a:off x="6364936" y="3019425"/>
            <a:ext cx="4608806" cy="51816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r>
              <a:rPr altLang="en-US" lang="zh-CN" sz="1400">
                <a:solidFill>
                  <a:schemeClr val="bg2"/>
                </a:solidFill>
                <a:latin charset="-122" panose="020b0400000000000000" pitchFamily="34" typeface="思源黑体"/>
                <a:ea charset="-122" panose="020b0400000000000000" pitchFamily="34" typeface="思源黑体"/>
                <a:sym charset="-122" panose="020b0400000000000000" pitchFamily="34" typeface="思源黑体"/>
              </a:rPr>
              <a:t>Lorem ut libero malesuada feugiat. Vestibulum ac diam sit amet quam vehiculanulla quis lorem ut</a:t>
            </a:r>
          </a:p>
        </p:txBody>
      </p:sp>
      <p:sp>
        <p:nvSpPr>
          <p:cNvPr id="16398" name="矩形 14">
            <a:extLst>
              <a:ext uri="{FF2B5EF4-FFF2-40B4-BE49-F238E27FC236}">
                <a16:creationId xmlns:a16="http://schemas.microsoft.com/office/drawing/2014/main" id="{4BA580C1-57F6-4350-8936-561C1540EE3F}"/>
              </a:ext>
            </a:extLst>
          </p:cNvPr>
          <p:cNvSpPr>
            <a:spLocks noChangeArrowheads="1"/>
          </p:cNvSpPr>
          <p:nvPr/>
        </p:nvSpPr>
        <p:spPr bwMode="auto">
          <a:xfrm>
            <a:off x="6364937" y="2719388"/>
            <a:ext cx="2102167" cy="36576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none">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r>
              <a:rPr altLang="zh-CN" b="1" lang="en-US">
                <a:solidFill>
                  <a:schemeClr val="accent3"/>
                </a:solidFill>
                <a:latin charset="-122" panose="020b0400000000000000" pitchFamily="34" typeface="思源黑体"/>
                <a:ea charset="-122" panose="020b0400000000000000" pitchFamily="34" typeface="思源黑体"/>
                <a:sym charset="-122" panose="020b0400000000000000" pitchFamily="34" typeface="思源黑体"/>
              </a:rPr>
              <a:t>ADD YOUR TEXT</a:t>
            </a:r>
          </a:p>
        </p:txBody>
      </p:sp>
      <p:sp>
        <p:nvSpPr>
          <p:cNvPr id="16399" name="矩形 15">
            <a:extLst>
              <a:ext uri="{FF2B5EF4-FFF2-40B4-BE49-F238E27FC236}">
                <a16:creationId xmlns:a16="http://schemas.microsoft.com/office/drawing/2014/main" id="{0AF11CC2-C916-47EE-B893-75F14DEC2AA7}"/>
              </a:ext>
            </a:extLst>
          </p:cNvPr>
          <p:cNvSpPr>
            <a:spLocks noChangeArrowheads="1"/>
          </p:cNvSpPr>
          <p:nvPr/>
        </p:nvSpPr>
        <p:spPr bwMode="auto">
          <a:xfrm>
            <a:off x="6349061" y="4044950"/>
            <a:ext cx="4606925" cy="51816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r>
              <a:rPr altLang="en-US" lang="zh-CN" sz="1400">
                <a:solidFill>
                  <a:schemeClr val="bg2"/>
                </a:solidFill>
                <a:latin charset="-122" panose="020b0400000000000000" pitchFamily="34" typeface="思源黑体"/>
                <a:ea charset="-122" panose="020b0400000000000000" pitchFamily="34" typeface="思源黑体"/>
                <a:sym charset="-122" panose="020b0400000000000000" pitchFamily="34" typeface="思源黑体"/>
              </a:rPr>
              <a:t>Lorem ut libero malesuada feugiat. Vestibulum ac diam sit amet quam vehiculanulla quis lorem ut</a:t>
            </a:r>
          </a:p>
        </p:txBody>
      </p:sp>
      <p:sp>
        <p:nvSpPr>
          <p:cNvPr id="16400" name="矩形 16">
            <a:extLst>
              <a:ext uri="{FF2B5EF4-FFF2-40B4-BE49-F238E27FC236}">
                <a16:creationId xmlns:a16="http://schemas.microsoft.com/office/drawing/2014/main" id="{78BAD858-E51D-4D58-B9AD-D1B0135BF8BC}"/>
              </a:ext>
            </a:extLst>
          </p:cNvPr>
          <p:cNvSpPr>
            <a:spLocks noChangeArrowheads="1"/>
          </p:cNvSpPr>
          <p:nvPr/>
        </p:nvSpPr>
        <p:spPr bwMode="auto">
          <a:xfrm>
            <a:off x="6349062" y="3744913"/>
            <a:ext cx="2102167" cy="36576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none">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r>
              <a:rPr altLang="zh-CN" b="1" lang="en-US">
                <a:solidFill>
                  <a:schemeClr val="accent3"/>
                </a:solidFill>
                <a:latin charset="-122" panose="020b0400000000000000" pitchFamily="34" typeface="思源黑体"/>
                <a:ea charset="-122" panose="020b0400000000000000" pitchFamily="34" typeface="思源黑体"/>
                <a:sym charset="-122" panose="020b0400000000000000" pitchFamily="34" typeface="思源黑体"/>
              </a:rPr>
              <a:t>ADD YOUR TEXT</a:t>
            </a:r>
          </a:p>
        </p:txBody>
      </p:sp>
      <p:sp>
        <p:nvSpPr>
          <p:cNvPr id="16401" name="矩形 17">
            <a:extLst>
              <a:ext uri="{FF2B5EF4-FFF2-40B4-BE49-F238E27FC236}">
                <a16:creationId xmlns:a16="http://schemas.microsoft.com/office/drawing/2014/main" id="{CC269712-678F-44D5-B42D-D6E76CDE9C6D}"/>
              </a:ext>
            </a:extLst>
          </p:cNvPr>
          <p:cNvSpPr>
            <a:spLocks noChangeArrowheads="1"/>
          </p:cNvSpPr>
          <p:nvPr/>
        </p:nvSpPr>
        <p:spPr bwMode="auto">
          <a:xfrm>
            <a:off x="6364936" y="5173663"/>
            <a:ext cx="4608806" cy="51816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r>
              <a:rPr altLang="en-US" lang="zh-CN" sz="1400">
                <a:solidFill>
                  <a:schemeClr val="bg2"/>
                </a:solidFill>
                <a:latin charset="-122" panose="020b0400000000000000" pitchFamily="34" typeface="思源黑体"/>
                <a:ea charset="-122" panose="020b0400000000000000" pitchFamily="34" typeface="思源黑体"/>
                <a:sym charset="-122" panose="020b0400000000000000" pitchFamily="34" typeface="思源黑体"/>
              </a:rPr>
              <a:t>Lorem ut libero malesuada feugiat. Vestibulum ac diam sit amet quam vehiculanulla quis lorem ut</a:t>
            </a:r>
          </a:p>
        </p:txBody>
      </p:sp>
      <p:sp>
        <p:nvSpPr>
          <p:cNvPr id="16402" name="矩形 18">
            <a:extLst>
              <a:ext uri="{FF2B5EF4-FFF2-40B4-BE49-F238E27FC236}">
                <a16:creationId xmlns:a16="http://schemas.microsoft.com/office/drawing/2014/main" id="{7EBA88E3-27AB-4DFA-984D-076FBE12B702}"/>
              </a:ext>
            </a:extLst>
          </p:cNvPr>
          <p:cNvSpPr>
            <a:spLocks noChangeArrowheads="1"/>
          </p:cNvSpPr>
          <p:nvPr/>
        </p:nvSpPr>
        <p:spPr bwMode="auto">
          <a:xfrm>
            <a:off x="6364937" y="4873625"/>
            <a:ext cx="2102167" cy="36576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none">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r>
              <a:rPr altLang="zh-CN" b="1" lang="en-US">
                <a:solidFill>
                  <a:schemeClr val="accent1"/>
                </a:solidFill>
                <a:latin charset="-122" panose="020b0400000000000000" pitchFamily="34" typeface="思源黑体"/>
                <a:ea charset="-122" panose="020b0400000000000000" pitchFamily="34" typeface="思源黑体"/>
                <a:sym charset="-122" panose="020b0400000000000000" pitchFamily="34" typeface="思源黑体"/>
              </a:rPr>
              <a:t>ADD YOUR TEXT</a:t>
            </a:r>
          </a:p>
        </p:txBody>
      </p:sp>
      <p:grpSp>
        <p:nvGrpSpPr>
          <p:cNvPr id="20" name="组合 19">
            <a:extLst>
              <a:ext uri="{FF2B5EF4-FFF2-40B4-BE49-F238E27FC236}">
                <a16:creationId xmlns:a16="http://schemas.microsoft.com/office/drawing/2014/main" id="{02437B2E-53E3-473E-AFAD-3DC4E3A29C8E}"/>
              </a:ext>
            </a:extLst>
          </p:cNvPr>
          <p:cNvGrpSpPr/>
          <p:nvPr/>
        </p:nvGrpSpPr>
        <p:grpSpPr>
          <a:xfrm>
            <a:off x="2160952" y="4202891"/>
            <a:ext cx="2029100" cy="1473693"/>
            <a:chOff x="7743826" y="2522538"/>
            <a:chExt cx="236538" cy="217488"/>
          </a:xfrm>
          <a:solidFill>
            <a:schemeClr val="bg1">
              <a:lumMod val="65000"/>
            </a:schemeClr>
          </a:solidFill>
        </p:grpSpPr>
        <p:sp>
          <p:nvSpPr>
            <p:cNvPr id="21" name="Freeform 132">
              <a:extLst>
                <a:ext uri="{FF2B5EF4-FFF2-40B4-BE49-F238E27FC236}">
                  <a16:creationId xmlns:a16="http://schemas.microsoft.com/office/drawing/2014/main" id="{C68A9228-A9E5-434B-B602-D67FDD8124AD}"/>
                </a:ext>
              </a:extLst>
            </p:cNvPr>
            <p:cNvSpPr/>
            <p:nvPr/>
          </p:nvSpPr>
          <p:spPr bwMode="auto">
            <a:xfrm>
              <a:off x="7743826" y="2522538"/>
              <a:ext cx="117475" cy="82550"/>
            </a:xfrm>
            <a:custGeom>
              <a:gdLst>
                <a:gd fmla="*/ 44 w 74" name="T0"/>
                <a:gd fmla="*/ 0 h 52" name="T1"/>
                <a:gd fmla="*/ 0 w 74" name="T2"/>
                <a:gd fmla="*/ 27 h 52" name="T3"/>
                <a:gd fmla="*/ 30 w 74" name="T4"/>
                <a:gd fmla="*/ 52 h 52" name="T5"/>
                <a:gd fmla="*/ 74 w 74" name="T6"/>
                <a:gd fmla="*/ 25 h 52" name="T7"/>
                <a:gd fmla="*/ 44 w 74" name="T8"/>
                <a:gd fmla="*/ 0 h 52" name="T9"/>
              </a:gdLst>
              <a:cxnLst>
                <a:cxn ang="0">
                  <a:pos x="T0" y="T1"/>
                </a:cxn>
                <a:cxn ang="0">
                  <a:pos x="T2" y="T3"/>
                </a:cxn>
                <a:cxn ang="0">
                  <a:pos x="T4" y="T5"/>
                </a:cxn>
                <a:cxn ang="0">
                  <a:pos x="T6" y="T7"/>
                </a:cxn>
                <a:cxn ang="0">
                  <a:pos x="T8" y="T9"/>
                </a:cxn>
              </a:cxnLst>
              <a:rect b="b" l="0" r="r" t="0"/>
              <a:pathLst>
                <a:path h="52" w="74">
                  <a:moveTo>
                    <a:pt x="44" y="0"/>
                  </a:moveTo>
                  <a:lnTo>
                    <a:pt x="0" y="27"/>
                  </a:lnTo>
                  <a:lnTo>
                    <a:pt x="30" y="52"/>
                  </a:lnTo>
                  <a:lnTo>
                    <a:pt x="74" y="25"/>
                  </a:lnTo>
                  <a:lnTo>
                    <a:pt x="44" y="0"/>
                  </a:lnTo>
                  <a:close/>
                </a:path>
              </a:pathLst>
            </a:custGeom>
            <a:grpFill/>
            <a:ln>
              <a:noFill/>
            </a:ln>
            <a:extLst>
              <a:ext uri="{91240B29-F687-4F45-9708-019B960494DF}">
                <a14:hiddenLine w="9525">
                  <a:solidFill>
                    <a:srgbClr val="000000"/>
                  </a:solidFill>
                  <a:round/>
                  <a:headEnd/>
                  <a:tailEnd/>
                </a14:hiddenLine>
              </a:ext>
            </a:extLst>
          </p:spPr>
          <p:txBody>
            <a:bodyPr/>
            <a:lstStyle/>
            <a:p>
              <a:pPr eaLnBrk="1" fontAlgn="auto" hangingPunct="1">
                <a:spcBef>
                  <a:spcPct val="0"/>
                </a:spcBef>
                <a:spcAft>
                  <a:spcPct val="0"/>
                </a:spcAft>
                <a:defRPr/>
              </a:pPr>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22" name="Freeform 133">
              <a:extLst>
                <a:ext uri="{FF2B5EF4-FFF2-40B4-BE49-F238E27FC236}">
                  <a16:creationId xmlns:a16="http://schemas.microsoft.com/office/drawing/2014/main" id="{485C7F7A-50DC-432F-B65D-1B6CAD248CBF}"/>
                </a:ext>
              </a:extLst>
            </p:cNvPr>
            <p:cNvSpPr/>
            <p:nvPr/>
          </p:nvSpPr>
          <p:spPr bwMode="auto">
            <a:xfrm>
              <a:off x="7743826" y="2605088"/>
              <a:ext cx="117475" cy="84138"/>
            </a:xfrm>
            <a:custGeom>
              <a:gdLst>
                <a:gd fmla="*/ 44 w 74" name="T0"/>
                <a:gd fmla="*/ 53 h 53" name="T1"/>
                <a:gd fmla="*/ 74 w 74" name="T2"/>
                <a:gd fmla="*/ 27 h 53" name="T3"/>
                <a:gd fmla="*/ 30 w 74" name="T4"/>
                <a:gd fmla="*/ 0 h 53" name="T5"/>
                <a:gd fmla="*/ 0 w 74" name="T6"/>
                <a:gd fmla="*/ 24 h 53" name="T7"/>
                <a:gd fmla="*/ 44 w 74" name="T8"/>
                <a:gd fmla="*/ 53 h 53" name="T9"/>
              </a:gdLst>
              <a:cxnLst>
                <a:cxn ang="0">
                  <a:pos x="T0" y="T1"/>
                </a:cxn>
                <a:cxn ang="0">
                  <a:pos x="T2" y="T3"/>
                </a:cxn>
                <a:cxn ang="0">
                  <a:pos x="T4" y="T5"/>
                </a:cxn>
                <a:cxn ang="0">
                  <a:pos x="T6" y="T7"/>
                </a:cxn>
                <a:cxn ang="0">
                  <a:pos x="T8" y="T9"/>
                </a:cxn>
              </a:cxnLst>
              <a:rect b="b" l="0" r="r" t="0"/>
              <a:pathLst>
                <a:path h="52" w="74">
                  <a:moveTo>
                    <a:pt x="44" y="53"/>
                  </a:moveTo>
                  <a:lnTo>
                    <a:pt x="74" y="27"/>
                  </a:lnTo>
                  <a:lnTo>
                    <a:pt x="30" y="0"/>
                  </a:lnTo>
                  <a:lnTo>
                    <a:pt x="0" y="24"/>
                  </a:lnTo>
                  <a:lnTo>
                    <a:pt x="44" y="53"/>
                  </a:lnTo>
                  <a:close/>
                </a:path>
              </a:pathLst>
            </a:custGeom>
            <a:grpFill/>
            <a:ln>
              <a:noFill/>
            </a:ln>
            <a:extLst>
              <a:ext uri="{91240B29-F687-4F45-9708-019B960494DF}">
                <a14:hiddenLine w="9525">
                  <a:solidFill>
                    <a:srgbClr val="000000"/>
                  </a:solidFill>
                  <a:round/>
                  <a:headEnd/>
                  <a:tailEnd/>
                </a14:hiddenLine>
              </a:ext>
            </a:extLst>
          </p:spPr>
          <p:txBody>
            <a:bodyPr/>
            <a:lstStyle/>
            <a:p>
              <a:pPr eaLnBrk="1" fontAlgn="auto" hangingPunct="1">
                <a:spcBef>
                  <a:spcPct val="0"/>
                </a:spcBef>
                <a:spcAft>
                  <a:spcPct val="0"/>
                </a:spcAft>
                <a:defRPr/>
              </a:pPr>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23" name="Freeform 134">
              <a:extLst>
                <a:ext uri="{FF2B5EF4-FFF2-40B4-BE49-F238E27FC236}">
                  <a16:creationId xmlns:a16="http://schemas.microsoft.com/office/drawing/2014/main" id="{E2BE86E2-4D07-4F57-B541-020FCF8D11CE}"/>
                </a:ext>
              </a:extLst>
            </p:cNvPr>
            <p:cNvSpPr/>
            <p:nvPr/>
          </p:nvSpPr>
          <p:spPr bwMode="auto">
            <a:xfrm>
              <a:off x="7861301" y="2605088"/>
              <a:ext cx="119063" cy="84138"/>
            </a:xfrm>
            <a:custGeom>
              <a:gdLst>
                <a:gd fmla="*/ 31 w 75" name="T0"/>
                <a:gd fmla="*/ 53 h 53" name="T1"/>
                <a:gd fmla="*/ 75 w 75" name="T2"/>
                <a:gd fmla="*/ 24 h 53" name="T3"/>
                <a:gd fmla="*/ 44 w 75" name="T4"/>
                <a:gd fmla="*/ 0 h 53" name="T5"/>
                <a:gd fmla="*/ 0 w 75" name="T6"/>
                <a:gd fmla="*/ 27 h 53" name="T7"/>
                <a:gd fmla="*/ 31 w 75" name="T8"/>
                <a:gd fmla="*/ 53 h 53" name="T9"/>
              </a:gdLst>
              <a:cxnLst>
                <a:cxn ang="0">
                  <a:pos x="T0" y="T1"/>
                </a:cxn>
                <a:cxn ang="0">
                  <a:pos x="T2" y="T3"/>
                </a:cxn>
                <a:cxn ang="0">
                  <a:pos x="T4" y="T5"/>
                </a:cxn>
                <a:cxn ang="0">
                  <a:pos x="T6" y="T7"/>
                </a:cxn>
                <a:cxn ang="0">
                  <a:pos x="T8" y="T9"/>
                </a:cxn>
              </a:cxnLst>
              <a:rect b="b" l="0" r="r" t="0"/>
              <a:pathLst>
                <a:path h="52" w="75">
                  <a:moveTo>
                    <a:pt x="31" y="53"/>
                  </a:moveTo>
                  <a:lnTo>
                    <a:pt x="75" y="24"/>
                  </a:lnTo>
                  <a:lnTo>
                    <a:pt x="44" y="0"/>
                  </a:lnTo>
                  <a:lnTo>
                    <a:pt x="0" y="27"/>
                  </a:lnTo>
                  <a:lnTo>
                    <a:pt x="31" y="53"/>
                  </a:lnTo>
                  <a:close/>
                </a:path>
              </a:pathLst>
            </a:custGeom>
            <a:grpFill/>
            <a:ln>
              <a:noFill/>
            </a:ln>
            <a:extLst>
              <a:ext uri="{91240B29-F687-4F45-9708-019B960494DF}">
                <a14:hiddenLine w="9525">
                  <a:solidFill>
                    <a:srgbClr val="000000"/>
                  </a:solidFill>
                  <a:round/>
                  <a:headEnd/>
                  <a:tailEnd/>
                </a14:hiddenLine>
              </a:ext>
            </a:extLst>
          </p:spPr>
          <p:txBody>
            <a:bodyPr/>
            <a:lstStyle/>
            <a:p>
              <a:pPr eaLnBrk="1" fontAlgn="auto" hangingPunct="1">
                <a:spcBef>
                  <a:spcPct val="0"/>
                </a:spcBef>
                <a:spcAft>
                  <a:spcPct val="0"/>
                </a:spcAft>
                <a:defRPr/>
              </a:pPr>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24" name="Freeform 135">
              <a:extLst>
                <a:ext uri="{FF2B5EF4-FFF2-40B4-BE49-F238E27FC236}">
                  <a16:creationId xmlns:a16="http://schemas.microsoft.com/office/drawing/2014/main" id="{0F70E3AB-67D2-46A0-95AD-A18E43492F25}"/>
                </a:ext>
              </a:extLst>
            </p:cNvPr>
            <p:cNvSpPr/>
            <p:nvPr/>
          </p:nvSpPr>
          <p:spPr bwMode="auto">
            <a:xfrm>
              <a:off x="7861301" y="2522538"/>
              <a:ext cx="119063" cy="82550"/>
            </a:xfrm>
            <a:custGeom>
              <a:gdLst>
                <a:gd fmla="*/ 75 w 75" name="T0"/>
                <a:gd fmla="*/ 27 h 52" name="T1"/>
                <a:gd fmla="*/ 31 w 75" name="T2"/>
                <a:gd fmla="*/ 0 h 52" name="T3"/>
                <a:gd fmla="*/ 0 w 75" name="T4"/>
                <a:gd fmla="*/ 25 h 52" name="T5"/>
                <a:gd fmla="*/ 44 w 75" name="T6"/>
                <a:gd fmla="*/ 52 h 52" name="T7"/>
                <a:gd fmla="*/ 75 w 75" name="T8"/>
                <a:gd fmla="*/ 27 h 52" name="T9"/>
              </a:gdLst>
              <a:cxnLst>
                <a:cxn ang="0">
                  <a:pos x="T0" y="T1"/>
                </a:cxn>
                <a:cxn ang="0">
                  <a:pos x="T2" y="T3"/>
                </a:cxn>
                <a:cxn ang="0">
                  <a:pos x="T4" y="T5"/>
                </a:cxn>
                <a:cxn ang="0">
                  <a:pos x="T6" y="T7"/>
                </a:cxn>
                <a:cxn ang="0">
                  <a:pos x="T8" y="T9"/>
                </a:cxn>
              </a:cxnLst>
              <a:rect b="b" l="0" r="r" t="0"/>
              <a:pathLst>
                <a:path h="52" w="75">
                  <a:moveTo>
                    <a:pt x="75" y="27"/>
                  </a:moveTo>
                  <a:lnTo>
                    <a:pt x="31" y="0"/>
                  </a:lnTo>
                  <a:lnTo>
                    <a:pt x="0" y="25"/>
                  </a:lnTo>
                  <a:lnTo>
                    <a:pt x="44" y="52"/>
                  </a:lnTo>
                  <a:lnTo>
                    <a:pt x="75" y="27"/>
                  </a:lnTo>
                  <a:close/>
                </a:path>
              </a:pathLst>
            </a:custGeom>
            <a:grpFill/>
            <a:ln>
              <a:noFill/>
            </a:ln>
            <a:extLst>
              <a:ext uri="{91240B29-F687-4F45-9708-019B960494DF}">
                <a14:hiddenLine w="9525">
                  <a:solidFill>
                    <a:srgbClr val="000000"/>
                  </a:solidFill>
                  <a:round/>
                  <a:headEnd/>
                  <a:tailEnd/>
                </a14:hiddenLine>
              </a:ext>
            </a:extLst>
          </p:spPr>
          <p:txBody>
            <a:bodyPr/>
            <a:lstStyle/>
            <a:p>
              <a:pPr eaLnBrk="1" fontAlgn="auto" hangingPunct="1">
                <a:spcBef>
                  <a:spcPct val="0"/>
                </a:spcBef>
                <a:spcAft>
                  <a:spcPct val="0"/>
                </a:spcAft>
                <a:defRPr/>
              </a:pPr>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25" name="Freeform 136">
              <a:extLst>
                <a:ext uri="{FF2B5EF4-FFF2-40B4-BE49-F238E27FC236}">
                  <a16:creationId xmlns:a16="http://schemas.microsoft.com/office/drawing/2014/main" id="{4D184BC8-9438-4734-9F82-85946F3069FB}"/>
                </a:ext>
              </a:extLst>
            </p:cNvPr>
            <p:cNvSpPr/>
            <p:nvPr/>
          </p:nvSpPr>
          <p:spPr bwMode="auto">
            <a:xfrm>
              <a:off x="7791451" y="2655888"/>
              <a:ext cx="139700" cy="84138"/>
            </a:xfrm>
            <a:custGeom>
              <a:gdLst>
                <a:gd fmla="*/ 44 w 88" name="T0"/>
                <a:gd fmla="*/ 0 h 53" name="T1"/>
                <a:gd fmla="*/ 14 w 88" name="T2"/>
                <a:gd fmla="*/ 26 h 53" name="T3"/>
                <a:gd fmla="*/ 0 w 88" name="T4"/>
                <a:gd fmla="*/ 17 h 53" name="T5"/>
                <a:gd fmla="*/ 0 w 88" name="T6"/>
                <a:gd fmla="*/ 27 h 53" name="T7"/>
                <a:gd fmla="*/ 44 w 88" name="T8"/>
                <a:gd fmla="*/ 53 h 53" name="T9"/>
                <a:gd fmla="*/ 88 w 88" name="T10"/>
                <a:gd fmla="*/ 27 h 53" name="T11"/>
                <a:gd fmla="*/ 88 w 88" name="T12"/>
                <a:gd fmla="*/ 17 h 53" name="T13"/>
                <a:gd fmla="*/ 75 w 88" name="T14"/>
                <a:gd fmla="*/ 26 h 53" name="T15"/>
                <a:gd fmla="*/ 44 w 88" name="T16"/>
                <a:gd fmla="*/ 0 h 53"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52" w="88">
                  <a:moveTo>
                    <a:pt x="44" y="0"/>
                  </a:moveTo>
                  <a:lnTo>
                    <a:pt x="14" y="26"/>
                  </a:lnTo>
                  <a:lnTo>
                    <a:pt x="0" y="17"/>
                  </a:lnTo>
                  <a:lnTo>
                    <a:pt x="0" y="27"/>
                  </a:lnTo>
                  <a:lnTo>
                    <a:pt x="44" y="53"/>
                  </a:lnTo>
                  <a:lnTo>
                    <a:pt x="88" y="27"/>
                  </a:lnTo>
                  <a:lnTo>
                    <a:pt x="88" y="17"/>
                  </a:lnTo>
                  <a:lnTo>
                    <a:pt x="75" y="26"/>
                  </a:lnTo>
                  <a:lnTo>
                    <a:pt x="44" y="0"/>
                  </a:lnTo>
                  <a:close/>
                </a:path>
              </a:pathLst>
            </a:custGeom>
            <a:grpFill/>
            <a:ln>
              <a:noFill/>
            </a:ln>
            <a:extLst>
              <a:ext uri="{91240B29-F687-4F45-9708-019B960494DF}">
                <a14:hiddenLine w="9525">
                  <a:solidFill>
                    <a:srgbClr val="000000"/>
                  </a:solidFill>
                  <a:round/>
                  <a:headEnd/>
                  <a:tailEnd/>
                </a14:hiddenLine>
              </a:ext>
            </a:extLst>
          </p:spPr>
          <p:txBody>
            <a:bodyPr/>
            <a:lstStyle/>
            <a:p>
              <a:pPr eaLnBrk="1" fontAlgn="auto" hangingPunct="1">
                <a:spcBef>
                  <a:spcPct val="0"/>
                </a:spcBef>
                <a:spcAft>
                  <a:spcPct val="0"/>
                </a:spcAft>
                <a:defRPr/>
              </a:pPr>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grpSp>
      <p:sp>
        <p:nvSpPr>
          <p:cNvPr id="16404" name="Oval 14">
            <a:extLst>
              <a:ext uri="{FF2B5EF4-FFF2-40B4-BE49-F238E27FC236}">
                <a16:creationId xmlns:a16="http://schemas.microsoft.com/office/drawing/2014/main" id="{2FFEF355-0268-462F-AAA6-7E6BBDE93BCC}"/>
              </a:ext>
            </a:extLst>
          </p:cNvPr>
          <p:cNvSpPr>
            <a:spLocks noChangeArrowheads="1"/>
          </p:cNvSpPr>
          <p:nvPr/>
        </p:nvSpPr>
        <p:spPr bwMode="auto">
          <a:xfrm>
            <a:off x="3425825" y="2060575"/>
            <a:ext cx="400050" cy="400050"/>
          </a:xfrm>
          <a:prstGeom prst="ellipse">
            <a:avLst/>
          </a:prstGeom>
          <a:solidFill>
            <a:schemeClr val="accent1"/>
          </a:solidFill>
          <a:ln>
            <a:noFill/>
          </a:ln>
          <a:extLst>
            <a:ext uri="{91240B29-F687-4F45-9708-019B960494DF}">
              <a14:hiddenLine w="9525">
                <a:solidFill>
                  <a:srgbClr val="000000"/>
                </a:solidFill>
                <a:round/>
                <a:headEnd/>
                <a:tailEnd/>
              </a14:hiddenLine>
            </a:ext>
          </a:extLst>
        </p:spPr>
        <p:txBody>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05" name="Freeform 15">
            <a:extLst>
              <a:ext uri="{FF2B5EF4-FFF2-40B4-BE49-F238E27FC236}">
                <a16:creationId xmlns:a16="http://schemas.microsoft.com/office/drawing/2014/main" id="{122F2E8E-B4B0-47FA-88A9-EB4D2DA868DD}"/>
              </a:ext>
            </a:extLst>
          </p:cNvPr>
          <p:cNvSpPr/>
          <p:nvPr/>
        </p:nvSpPr>
        <p:spPr bwMode="auto">
          <a:xfrm>
            <a:off x="3527425" y="2433638"/>
            <a:ext cx="103188" cy="95250"/>
          </a:xfrm>
          <a:custGeom>
            <a:gdLst>
              <a:gd fmla="*/ 0 w 65" name="T0"/>
              <a:gd fmla="*/ 0 h 60" name="T1"/>
              <a:gd fmla="*/ 2147483647 w 65" name="T2"/>
              <a:gd fmla="*/ 2147483647 h 60" name="T3"/>
              <a:gd fmla="*/ 2147483647 w 65" name="T4"/>
              <a:gd fmla="*/ 2147483647 h 60" name="T5"/>
              <a:gd fmla="*/ 0 w 65" name="T6"/>
              <a:gd fmla="*/ 0 h 60" name="T7"/>
              <a:gd fmla="*/ 0 60000 65536" name="T8"/>
              <a:gd fmla="*/ 0 60000 65536" name="T9"/>
              <a:gd fmla="*/ 0 60000 65536" name="T10"/>
              <a:gd fmla="*/ 0 60000 65536" name="T11"/>
            </a:gdLst>
            <a:cxnLst>
              <a:cxn ang="T8">
                <a:pos x="T0" y="T1"/>
              </a:cxn>
              <a:cxn ang="T9">
                <a:pos x="T2" y="T3"/>
              </a:cxn>
              <a:cxn ang="T10">
                <a:pos x="T4" y="T5"/>
              </a:cxn>
              <a:cxn ang="T11">
                <a:pos x="T6" y="T7"/>
              </a:cxn>
            </a:cxnLst>
            <a:rect b="b" l="0" r="r" t="0"/>
            <a:pathLst>
              <a:path h="60" w="65">
                <a:moveTo>
                  <a:pt x="0" y="0"/>
                </a:moveTo>
                <a:lnTo>
                  <a:pt x="5" y="60"/>
                </a:lnTo>
                <a:lnTo>
                  <a:pt x="65" y="10"/>
                </a:lnTo>
                <a:lnTo>
                  <a:pt x="0" y="0"/>
                </a:lnTo>
                <a:close/>
              </a:path>
            </a:pathLst>
          </a:custGeom>
          <a:solidFill>
            <a:schemeClr val="accent1"/>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06" name="Freeform 16">
            <a:extLst>
              <a:ext uri="{FF2B5EF4-FFF2-40B4-BE49-F238E27FC236}">
                <a16:creationId xmlns:a16="http://schemas.microsoft.com/office/drawing/2014/main" id="{F7A85292-D4C0-423C-8EF0-4E0764E5FD8A}"/>
              </a:ext>
            </a:extLst>
          </p:cNvPr>
          <p:cNvSpPr/>
          <p:nvPr/>
        </p:nvSpPr>
        <p:spPr bwMode="auto">
          <a:xfrm>
            <a:off x="3559175" y="2165350"/>
            <a:ext cx="50800" cy="214313"/>
          </a:xfrm>
          <a:custGeom>
            <a:gdLst>
              <a:gd fmla="*/ 2147483647 w 32" name="T0"/>
              <a:gd fmla="*/ 2147483647 h 135" name="T1"/>
              <a:gd fmla="*/ 2147483647 w 32" name="T2"/>
              <a:gd fmla="*/ 2147483647 h 135" name="T3"/>
              <a:gd fmla="*/ 2147483647 w 32" name="T4"/>
              <a:gd fmla="*/ 2147483647 h 135" name="T5"/>
              <a:gd fmla="*/ 0 w 32" name="T6"/>
              <a:gd fmla="*/ 2147483647 h 135" name="T7"/>
              <a:gd fmla="*/ 0 w 32" name="T8"/>
              <a:gd fmla="*/ 0 h 135" name="T9"/>
              <a:gd fmla="*/ 2147483647 w 32" name="T10"/>
              <a:gd fmla="*/ 0 h 135" name="T11"/>
              <a:gd fmla="*/ 2147483647 w 32" name="T12"/>
              <a:gd fmla="*/ 2147483647 h 135" name="T13"/>
              <a:gd fmla="*/ 0 60000 65536" name="T14"/>
              <a:gd fmla="*/ 0 60000 65536" name="T15"/>
              <a:gd fmla="*/ 0 60000 65536" name="T16"/>
              <a:gd fmla="*/ 0 60000 65536" name="T17"/>
              <a:gd fmla="*/ 0 60000 65536" name="T18"/>
              <a:gd fmla="*/ 0 60000 65536" name="T19"/>
              <a:gd fmla="*/ 0 60000 65536" name="T20"/>
            </a:gdLst>
            <a:cxnLst>
              <a:cxn ang="T14">
                <a:pos x="T0" y="T1"/>
              </a:cxn>
              <a:cxn ang="T15">
                <a:pos x="T2" y="T3"/>
              </a:cxn>
              <a:cxn ang="T16">
                <a:pos x="T4" y="T5"/>
              </a:cxn>
              <a:cxn ang="T17">
                <a:pos x="T6" y="T7"/>
              </a:cxn>
              <a:cxn ang="T18">
                <a:pos x="T8" y="T9"/>
              </a:cxn>
              <a:cxn ang="T19">
                <a:pos x="T10" y="T11"/>
              </a:cxn>
              <a:cxn ang="T20">
                <a:pos x="T12" y="T13"/>
              </a:cxn>
            </a:cxnLst>
            <a:rect b="b" l="0" r="r" t="0"/>
            <a:pathLst>
              <a:path h="135" w="32">
                <a:moveTo>
                  <a:pt x="32" y="108"/>
                </a:moveTo>
                <a:lnTo>
                  <a:pt x="22" y="135"/>
                </a:lnTo>
                <a:lnTo>
                  <a:pt x="10" y="135"/>
                </a:lnTo>
                <a:lnTo>
                  <a:pt x="0" y="108"/>
                </a:lnTo>
                <a:lnTo>
                  <a:pt x="0" y="0"/>
                </a:lnTo>
                <a:lnTo>
                  <a:pt x="32" y="0"/>
                </a:lnTo>
                <a:lnTo>
                  <a:pt x="32" y="108"/>
                </a:lnTo>
                <a:close/>
              </a:path>
            </a:pathLst>
          </a:custGeom>
          <a:solidFill>
            <a:srgbClr val="F2F2F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07" name="Freeform 17">
            <a:extLst>
              <a:ext uri="{FF2B5EF4-FFF2-40B4-BE49-F238E27FC236}">
                <a16:creationId xmlns:a16="http://schemas.microsoft.com/office/drawing/2014/main" id="{F1EA8379-238A-4E9B-AA0E-C432E6A33134}"/>
              </a:ext>
            </a:extLst>
          </p:cNvPr>
          <p:cNvSpPr/>
          <p:nvPr/>
        </p:nvSpPr>
        <p:spPr bwMode="auto">
          <a:xfrm>
            <a:off x="3559175" y="2127250"/>
            <a:ext cx="50800" cy="61913"/>
          </a:xfrm>
          <a:custGeom>
            <a:gdLst>
              <a:gd fmla="*/ 2147483647 w 44" name="T0"/>
              <a:gd fmla="*/ 2147483647 h 54" name="T1"/>
              <a:gd fmla="*/ 2147483647 w 44" name="T2"/>
              <a:gd fmla="*/ 2147483647 h 54" name="T3"/>
              <a:gd fmla="*/ 2147483647 w 44" name="T4"/>
              <a:gd fmla="*/ 2147483647 h 54" name="T5"/>
              <a:gd fmla="*/ 0 w 44" name="T6"/>
              <a:gd fmla="*/ 2147483647 h 54" name="T7"/>
              <a:gd fmla="*/ 0 w 44" name="T8"/>
              <a:gd fmla="*/ 2147483647 h 54" name="T9"/>
              <a:gd fmla="*/ 2147483647 w 44" name="T10"/>
              <a:gd fmla="*/ 2147483647 h 54" name="T11"/>
              <a:gd fmla="*/ 2147483647 w 44" name="T12"/>
              <a:gd fmla="*/ 2147483647 h 54" name="T13"/>
              <a:gd fmla="*/ 2147483647 w 44" name="T14"/>
              <a:gd fmla="*/ 2147483647 h 54" name="T15"/>
              <a:gd fmla="*/ 2147483647 w 44" name="T16"/>
              <a:gd fmla="*/ 2147483647 h 54" name="T17"/>
              <a:gd fmla="*/ 0 60000 65536" name="T18"/>
              <a:gd fmla="*/ 0 60000 65536" name="T19"/>
              <a:gd fmla="*/ 0 60000 65536" name="T20"/>
              <a:gd fmla="*/ 0 60000 65536" name="T21"/>
              <a:gd fmla="*/ 0 60000 65536" name="T22"/>
              <a:gd fmla="*/ 0 60000 65536" name="T23"/>
              <a:gd fmla="*/ 0 60000 65536" name="T24"/>
              <a:gd fmla="*/ 0 60000 65536" name="T25"/>
              <a:gd fmla="*/ 0 60000 65536" name="T26"/>
            </a:gd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b="b" l="0" r="r" t="0"/>
            <a:pathLst>
              <a:path h="54" w="44">
                <a:moveTo>
                  <a:pt x="44" y="32"/>
                </a:moveTo>
                <a:cubicBezTo>
                  <a:pt x="44" y="44"/>
                  <a:pt x="34" y="54"/>
                  <a:pt x="22" y="54"/>
                </a:cubicBezTo>
                <a:cubicBezTo>
                  <a:pt x="22" y="54"/>
                  <a:pt x="22" y="54"/>
                  <a:pt x="22" y="54"/>
                </a:cubicBezTo>
                <a:cubicBezTo>
                  <a:pt x="10" y="54"/>
                  <a:pt x="0" y="44"/>
                  <a:pt x="0" y="32"/>
                </a:cubicBezTo>
                <a:cubicBezTo>
                  <a:pt x="0" y="12"/>
                  <a:pt x="0" y="12"/>
                  <a:pt x="0" y="12"/>
                </a:cubicBezTo>
                <a:cubicBezTo>
                  <a:pt x="0" y="0"/>
                  <a:pt x="10" y="2"/>
                  <a:pt x="22" y="2"/>
                </a:cubicBezTo>
                <a:cubicBezTo>
                  <a:pt x="22" y="2"/>
                  <a:pt x="22" y="2"/>
                  <a:pt x="22" y="2"/>
                </a:cubicBezTo>
                <a:cubicBezTo>
                  <a:pt x="34" y="2"/>
                  <a:pt x="44" y="0"/>
                  <a:pt x="44" y="12"/>
                </a:cubicBezTo>
                <a:lnTo>
                  <a:pt x="44" y="32"/>
                </a:lnTo>
                <a:close/>
              </a:path>
            </a:pathLst>
          </a:custGeom>
          <a:solidFill>
            <a:srgbClr val="F2F2F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08" name="Rectangle 18">
            <a:extLst>
              <a:ext uri="{FF2B5EF4-FFF2-40B4-BE49-F238E27FC236}">
                <a16:creationId xmlns:a16="http://schemas.microsoft.com/office/drawing/2014/main" id="{3A00731A-90F9-4BF4-ACDA-405B44A218EB}"/>
              </a:ext>
            </a:extLst>
          </p:cNvPr>
          <p:cNvSpPr>
            <a:spLocks noChangeArrowheads="1"/>
          </p:cNvSpPr>
          <p:nvPr/>
        </p:nvSpPr>
        <p:spPr bwMode="auto">
          <a:xfrm>
            <a:off x="3556000" y="2152650"/>
            <a:ext cx="55563" cy="52388"/>
          </a:xfrm>
          <a:prstGeom prst="rect">
            <a:avLst/>
          </a:prstGeom>
          <a:solidFill>
            <a:srgbClr val="F2F2F2"/>
          </a:solidFill>
          <a:ln>
            <a:noFill/>
          </a:ln>
          <a:extLst>
            <a:ext uri="{91240B29-F687-4F45-9708-019B960494DF}">
              <a14:hiddenLine w="9525">
                <a:solidFill>
                  <a:srgbClr val="000000"/>
                </a:solidFill>
                <a:miter lim="800000"/>
                <a:headEnd/>
                <a:tailEnd/>
              </a14:hiddenLine>
            </a:ext>
          </a:extLst>
        </p:spPr>
        <p:txBody>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09" name="Freeform 19">
            <a:extLst>
              <a:ext uri="{FF2B5EF4-FFF2-40B4-BE49-F238E27FC236}">
                <a16:creationId xmlns:a16="http://schemas.microsoft.com/office/drawing/2014/main" id="{2361BCAC-C486-4229-B8B9-D3F72BD032F2}"/>
              </a:ext>
            </a:extLst>
          </p:cNvPr>
          <p:cNvSpPr/>
          <p:nvPr/>
        </p:nvSpPr>
        <p:spPr bwMode="auto">
          <a:xfrm>
            <a:off x="3573463" y="2373313"/>
            <a:ext cx="20637" cy="31750"/>
          </a:xfrm>
          <a:custGeom>
            <a:gdLst>
              <a:gd fmla="*/ 0 w 17" name="T0"/>
              <a:gd fmla="*/ 2147483647 h 27" name="T1"/>
              <a:gd fmla="*/ 2147483647 w 17" name="T2"/>
              <a:gd fmla="*/ 2147483647 h 27" name="T3"/>
              <a:gd fmla="*/ 2147483647 w 17" name="T4"/>
              <a:gd fmla="*/ 2147483647 h 27" name="T5"/>
              <a:gd fmla="*/ 0 w 17" name="T6"/>
              <a:gd fmla="*/ 2147483647 h 27" name="T7"/>
              <a:gd fmla="*/ 0 60000 65536" name="T8"/>
              <a:gd fmla="*/ 0 60000 65536" name="T9"/>
              <a:gd fmla="*/ 0 60000 65536" name="T10"/>
              <a:gd fmla="*/ 0 60000 65536" name="T11"/>
            </a:gdLst>
            <a:cxnLst>
              <a:cxn ang="T8">
                <a:pos x="T0" y="T1"/>
              </a:cxn>
              <a:cxn ang="T9">
                <a:pos x="T2" y="T3"/>
              </a:cxn>
              <a:cxn ang="T10">
                <a:pos x="T4" y="T5"/>
              </a:cxn>
              <a:cxn ang="T11">
                <a:pos x="T6" y="T7"/>
              </a:cxn>
            </a:cxnLst>
            <a:rect b="b" l="0" r="r" t="0"/>
            <a:pathLst>
              <a:path h="27" w="17">
                <a:moveTo>
                  <a:pt x="0" y="5"/>
                </a:moveTo>
                <a:cubicBezTo>
                  <a:pt x="0" y="5"/>
                  <a:pt x="4" y="18"/>
                  <a:pt x="6" y="21"/>
                </a:cubicBezTo>
                <a:cubicBezTo>
                  <a:pt x="8" y="25"/>
                  <a:pt x="11" y="27"/>
                  <a:pt x="17" y="6"/>
                </a:cubicBezTo>
                <a:cubicBezTo>
                  <a:pt x="17" y="6"/>
                  <a:pt x="10" y="0"/>
                  <a:pt x="0" y="5"/>
                </a:cubicBezTo>
                <a:close/>
              </a:path>
            </a:pathLst>
          </a:custGeom>
          <a:solidFill>
            <a:srgbClr val="F2F2F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10" name="Freeform 20">
            <a:extLst>
              <a:ext uri="{FF2B5EF4-FFF2-40B4-BE49-F238E27FC236}">
                <a16:creationId xmlns:a16="http://schemas.microsoft.com/office/drawing/2014/main" id="{1A8193D3-DEE8-49F4-ADAF-0757FDB82CC6}"/>
              </a:ext>
            </a:extLst>
          </p:cNvPr>
          <p:cNvSpPr/>
          <p:nvPr/>
        </p:nvSpPr>
        <p:spPr bwMode="auto">
          <a:xfrm>
            <a:off x="3635375" y="2165350"/>
            <a:ext cx="50800" cy="214313"/>
          </a:xfrm>
          <a:custGeom>
            <a:gdLst>
              <a:gd fmla="*/ 2147483647 w 32" name="T0"/>
              <a:gd fmla="*/ 2147483647 h 135" name="T1"/>
              <a:gd fmla="*/ 2147483647 w 32" name="T2"/>
              <a:gd fmla="*/ 2147483647 h 135" name="T3"/>
              <a:gd fmla="*/ 2147483647 w 32" name="T4"/>
              <a:gd fmla="*/ 2147483647 h 135" name="T5"/>
              <a:gd fmla="*/ 0 w 32" name="T6"/>
              <a:gd fmla="*/ 2147483647 h 135" name="T7"/>
              <a:gd fmla="*/ 0 w 32" name="T8"/>
              <a:gd fmla="*/ 0 h 135" name="T9"/>
              <a:gd fmla="*/ 2147483647 w 32" name="T10"/>
              <a:gd fmla="*/ 0 h 135" name="T11"/>
              <a:gd fmla="*/ 2147483647 w 32" name="T12"/>
              <a:gd fmla="*/ 2147483647 h 135" name="T13"/>
              <a:gd fmla="*/ 0 60000 65536" name="T14"/>
              <a:gd fmla="*/ 0 60000 65536" name="T15"/>
              <a:gd fmla="*/ 0 60000 65536" name="T16"/>
              <a:gd fmla="*/ 0 60000 65536" name="T17"/>
              <a:gd fmla="*/ 0 60000 65536" name="T18"/>
              <a:gd fmla="*/ 0 60000 65536" name="T19"/>
              <a:gd fmla="*/ 0 60000 65536" name="T20"/>
            </a:gdLst>
            <a:cxnLst>
              <a:cxn ang="T14">
                <a:pos x="T0" y="T1"/>
              </a:cxn>
              <a:cxn ang="T15">
                <a:pos x="T2" y="T3"/>
              </a:cxn>
              <a:cxn ang="T16">
                <a:pos x="T4" y="T5"/>
              </a:cxn>
              <a:cxn ang="T17">
                <a:pos x="T6" y="T7"/>
              </a:cxn>
              <a:cxn ang="T18">
                <a:pos x="T8" y="T9"/>
              </a:cxn>
              <a:cxn ang="T19">
                <a:pos x="T10" y="T11"/>
              </a:cxn>
              <a:cxn ang="T20">
                <a:pos x="T12" y="T13"/>
              </a:cxn>
            </a:cxnLst>
            <a:rect b="b" l="0" r="r" t="0"/>
            <a:pathLst>
              <a:path h="135" w="32">
                <a:moveTo>
                  <a:pt x="32" y="108"/>
                </a:moveTo>
                <a:lnTo>
                  <a:pt x="21" y="135"/>
                </a:lnTo>
                <a:lnTo>
                  <a:pt x="10" y="135"/>
                </a:lnTo>
                <a:lnTo>
                  <a:pt x="0" y="108"/>
                </a:lnTo>
                <a:lnTo>
                  <a:pt x="0" y="0"/>
                </a:lnTo>
                <a:lnTo>
                  <a:pt x="32" y="0"/>
                </a:lnTo>
                <a:lnTo>
                  <a:pt x="32" y="108"/>
                </a:lnTo>
                <a:close/>
              </a:path>
            </a:pathLst>
          </a:custGeom>
          <a:solidFill>
            <a:srgbClr val="F2F2F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11" name="Freeform 21">
            <a:extLst>
              <a:ext uri="{FF2B5EF4-FFF2-40B4-BE49-F238E27FC236}">
                <a16:creationId xmlns:a16="http://schemas.microsoft.com/office/drawing/2014/main" id="{B3D31F1E-086C-4B34-A414-9B4C6E134669}"/>
              </a:ext>
            </a:extLst>
          </p:cNvPr>
          <p:cNvSpPr/>
          <p:nvPr/>
        </p:nvSpPr>
        <p:spPr bwMode="auto">
          <a:xfrm>
            <a:off x="3635375" y="2127250"/>
            <a:ext cx="50800" cy="61913"/>
          </a:xfrm>
          <a:custGeom>
            <a:gdLst>
              <a:gd fmla="*/ 2147483647 w 44" name="T0"/>
              <a:gd fmla="*/ 2147483647 h 54" name="T1"/>
              <a:gd fmla="*/ 2147483647 w 44" name="T2"/>
              <a:gd fmla="*/ 2147483647 h 54" name="T3"/>
              <a:gd fmla="*/ 2147483647 w 44" name="T4"/>
              <a:gd fmla="*/ 2147483647 h 54" name="T5"/>
              <a:gd fmla="*/ 0 w 44" name="T6"/>
              <a:gd fmla="*/ 2147483647 h 54" name="T7"/>
              <a:gd fmla="*/ 0 w 44" name="T8"/>
              <a:gd fmla="*/ 2147483647 h 54" name="T9"/>
              <a:gd fmla="*/ 2147483647 w 44" name="T10"/>
              <a:gd fmla="*/ 2147483647 h 54" name="T11"/>
              <a:gd fmla="*/ 2147483647 w 44" name="T12"/>
              <a:gd fmla="*/ 2147483647 h 54" name="T13"/>
              <a:gd fmla="*/ 2147483647 w 44" name="T14"/>
              <a:gd fmla="*/ 2147483647 h 54" name="T15"/>
              <a:gd fmla="*/ 2147483647 w 44" name="T16"/>
              <a:gd fmla="*/ 2147483647 h 54" name="T17"/>
              <a:gd fmla="*/ 0 60000 65536" name="T18"/>
              <a:gd fmla="*/ 0 60000 65536" name="T19"/>
              <a:gd fmla="*/ 0 60000 65536" name="T20"/>
              <a:gd fmla="*/ 0 60000 65536" name="T21"/>
              <a:gd fmla="*/ 0 60000 65536" name="T22"/>
              <a:gd fmla="*/ 0 60000 65536" name="T23"/>
              <a:gd fmla="*/ 0 60000 65536" name="T24"/>
              <a:gd fmla="*/ 0 60000 65536" name="T25"/>
              <a:gd fmla="*/ 0 60000 65536" name="T26"/>
            </a:gd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b="b" l="0" r="r" t="0"/>
            <a:pathLst>
              <a:path h="54" w="44">
                <a:moveTo>
                  <a:pt x="44" y="32"/>
                </a:moveTo>
                <a:cubicBezTo>
                  <a:pt x="44" y="44"/>
                  <a:pt x="34" y="54"/>
                  <a:pt x="22" y="54"/>
                </a:cubicBezTo>
                <a:cubicBezTo>
                  <a:pt x="22" y="54"/>
                  <a:pt x="22" y="54"/>
                  <a:pt x="22" y="54"/>
                </a:cubicBezTo>
                <a:cubicBezTo>
                  <a:pt x="10" y="54"/>
                  <a:pt x="0" y="44"/>
                  <a:pt x="0" y="32"/>
                </a:cubicBezTo>
                <a:cubicBezTo>
                  <a:pt x="0" y="12"/>
                  <a:pt x="0" y="12"/>
                  <a:pt x="0" y="12"/>
                </a:cubicBezTo>
                <a:cubicBezTo>
                  <a:pt x="0" y="0"/>
                  <a:pt x="10" y="2"/>
                  <a:pt x="22" y="2"/>
                </a:cubicBezTo>
                <a:cubicBezTo>
                  <a:pt x="22" y="2"/>
                  <a:pt x="22" y="2"/>
                  <a:pt x="22" y="2"/>
                </a:cubicBezTo>
                <a:cubicBezTo>
                  <a:pt x="34" y="2"/>
                  <a:pt x="44" y="0"/>
                  <a:pt x="44" y="12"/>
                </a:cubicBezTo>
                <a:lnTo>
                  <a:pt x="44" y="32"/>
                </a:lnTo>
                <a:close/>
              </a:path>
            </a:pathLst>
          </a:custGeom>
          <a:solidFill>
            <a:srgbClr val="F2F2F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12" name="Rectangle 22">
            <a:extLst>
              <a:ext uri="{FF2B5EF4-FFF2-40B4-BE49-F238E27FC236}">
                <a16:creationId xmlns:a16="http://schemas.microsoft.com/office/drawing/2014/main" id="{2379338E-8EA1-4E52-BB6A-A1BFE91350FC}"/>
              </a:ext>
            </a:extLst>
          </p:cNvPr>
          <p:cNvSpPr>
            <a:spLocks noChangeArrowheads="1"/>
          </p:cNvSpPr>
          <p:nvPr/>
        </p:nvSpPr>
        <p:spPr bwMode="auto">
          <a:xfrm>
            <a:off x="3632200" y="2152650"/>
            <a:ext cx="57150" cy="52388"/>
          </a:xfrm>
          <a:prstGeom prst="rect">
            <a:avLst/>
          </a:prstGeom>
          <a:solidFill>
            <a:srgbClr val="F2F2F2"/>
          </a:solidFill>
          <a:ln>
            <a:noFill/>
          </a:ln>
          <a:extLst>
            <a:ext uri="{91240B29-F687-4F45-9708-019B960494DF}">
              <a14:hiddenLine w="9525">
                <a:solidFill>
                  <a:srgbClr val="000000"/>
                </a:solidFill>
                <a:miter lim="800000"/>
                <a:headEnd/>
                <a:tailEnd/>
              </a14:hiddenLine>
            </a:ext>
          </a:extLst>
        </p:spPr>
        <p:txBody>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13" name="Freeform 23">
            <a:extLst>
              <a:ext uri="{FF2B5EF4-FFF2-40B4-BE49-F238E27FC236}">
                <a16:creationId xmlns:a16="http://schemas.microsoft.com/office/drawing/2014/main" id="{9CA7FF22-61FC-464E-8021-46B612CC5EC3}"/>
              </a:ext>
            </a:extLst>
          </p:cNvPr>
          <p:cNvSpPr/>
          <p:nvPr/>
        </p:nvSpPr>
        <p:spPr bwMode="auto">
          <a:xfrm>
            <a:off x="3649663" y="2373313"/>
            <a:ext cx="19050" cy="31750"/>
          </a:xfrm>
          <a:custGeom>
            <a:gdLst>
              <a:gd fmla="*/ 0 w 17" name="T0"/>
              <a:gd fmla="*/ 2147483647 h 27" name="T1"/>
              <a:gd fmla="*/ 2147483647 w 17" name="T2"/>
              <a:gd fmla="*/ 2147483647 h 27" name="T3"/>
              <a:gd fmla="*/ 2147483647 w 17" name="T4"/>
              <a:gd fmla="*/ 2147483647 h 27" name="T5"/>
              <a:gd fmla="*/ 0 w 17" name="T6"/>
              <a:gd fmla="*/ 2147483647 h 27" name="T7"/>
              <a:gd fmla="*/ 0 60000 65536" name="T8"/>
              <a:gd fmla="*/ 0 60000 65536" name="T9"/>
              <a:gd fmla="*/ 0 60000 65536" name="T10"/>
              <a:gd fmla="*/ 0 60000 65536" name="T11"/>
            </a:gdLst>
            <a:cxnLst>
              <a:cxn ang="T8">
                <a:pos x="T0" y="T1"/>
              </a:cxn>
              <a:cxn ang="T9">
                <a:pos x="T2" y="T3"/>
              </a:cxn>
              <a:cxn ang="T10">
                <a:pos x="T4" y="T5"/>
              </a:cxn>
              <a:cxn ang="T11">
                <a:pos x="T6" y="T7"/>
              </a:cxn>
            </a:cxnLst>
            <a:rect b="b" l="0" r="r" t="0"/>
            <a:pathLst>
              <a:path h="27" w="17">
                <a:moveTo>
                  <a:pt x="0" y="5"/>
                </a:moveTo>
                <a:cubicBezTo>
                  <a:pt x="0" y="5"/>
                  <a:pt x="5" y="18"/>
                  <a:pt x="6" y="21"/>
                </a:cubicBezTo>
                <a:cubicBezTo>
                  <a:pt x="8" y="25"/>
                  <a:pt x="11" y="27"/>
                  <a:pt x="17" y="6"/>
                </a:cubicBezTo>
                <a:cubicBezTo>
                  <a:pt x="17" y="6"/>
                  <a:pt x="10" y="0"/>
                  <a:pt x="0" y="5"/>
                </a:cubicBezTo>
                <a:close/>
              </a:path>
            </a:pathLst>
          </a:custGeom>
          <a:solidFill>
            <a:srgbClr val="F2F2F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14" name="Freeform 24">
            <a:extLst>
              <a:ext uri="{FF2B5EF4-FFF2-40B4-BE49-F238E27FC236}">
                <a16:creationId xmlns:a16="http://schemas.microsoft.com/office/drawing/2014/main" id="{6B2596B6-FA4E-44F4-BA19-E45D565F7FD2}"/>
              </a:ext>
            </a:extLst>
          </p:cNvPr>
          <p:cNvSpPr/>
          <p:nvPr/>
        </p:nvSpPr>
        <p:spPr bwMode="auto">
          <a:xfrm>
            <a:off x="3681413" y="2162175"/>
            <a:ext cx="19050" cy="107950"/>
          </a:xfrm>
          <a:custGeom>
            <a:gdLst>
              <a:gd fmla="*/ 2147483647 w 16" name="T0"/>
              <a:gd fmla="*/ 2147483647 h 95" name="T1"/>
              <a:gd fmla="*/ 2147483647 w 16" name="T2"/>
              <a:gd fmla="*/ 2147483647 h 95" name="T3"/>
              <a:gd fmla="*/ 2147483647 w 16" name="T4"/>
              <a:gd fmla="*/ 2147483647 h 95" name="T5"/>
              <a:gd fmla="*/ 2147483647 w 16" name="T6"/>
              <a:gd fmla="*/ 2147483647 h 95" name="T7"/>
              <a:gd fmla="*/ 2147483647 w 16" name="T8"/>
              <a:gd fmla="*/ 2147483647 h 95" name="T9"/>
              <a:gd fmla="*/ 2147483647 w 16" name="T10"/>
              <a:gd fmla="*/ 2147483647 h 95" name="T11"/>
              <a:gd fmla="*/ 0 w 16" name="T12"/>
              <a:gd fmla="*/ 0 h 95" name="T13"/>
              <a:gd fmla="*/ 0 60000 65536" name="T14"/>
              <a:gd fmla="*/ 0 60000 65536" name="T15"/>
              <a:gd fmla="*/ 0 60000 65536" name="T16"/>
              <a:gd fmla="*/ 0 60000 65536" name="T17"/>
              <a:gd fmla="*/ 0 60000 65536" name="T18"/>
              <a:gd fmla="*/ 0 60000 65536" name="T19"/>
              <a:gd fmla="*/ 0 60000 65536" name="T20"/>
            </a:gdLst>
            <a:cxnLst>
              <a:cxn ang="T14">
                <a:pos x="T0" y="T1"/>
              </a:cxn>
              <a:cxn ang="T15">
                <a:pos x="T2" y="T3"/>
              </a:cxn>
              <a:cxn ang="T16">
                <a:pos x="T4" y="T5"/>
              </a:cxn>
              <a:cxn ang="T17">
                <a:pos x="T6" y="T7"/>
              </a:cxn>
              <a:cxn ang="T18">
                <a:pos x="T8" y="T9"/>
              </a:cxn>
              <a:cxn ang="T19">
                <a:pos x="T10" y="T11"/>
              </a:cxn>
              <a:cxn ang="T20">
                <a:pos x="T12" y="T13"/>
              </a:cxn>
            </a:cxnLst>
            <a:rect b="b" l="0" r="r" t="0"/>
            <a:pathLst>
              <a:path h="95" w="16">
                <a:moveTo>
                  <a:pt x="1" y="1"/>
                </a:moveTo>
                <a:cubicBezTo>
                  <a:pt x="1" y="1"/>
                  <a:pt x="13" y="7"/>
                  <a:pt x="14" y="11"/>
                </a:cubicBezTo>
                <a:cubicBezTo>
                  <a:pt x="14" y="15"/>
                  <a:pt x="14" y="89"/>
                  <a:pt x="14" y="89"/>
                </a:cubicBezTo>
                <a:cubicBezTo>
                  <a:pt x="14" y="89"/>
                  <a:pt x="16" y="95"/>
                  <a:pt x="10" y="95"/>
                </a:cubicBezTo>
                <a:cubicBezTo>
                  <a:pt x="10" y="33"/>
                  <a:pt x="10" y="33"/>
                  <a:pt x="10" y="33"/>
                </a:cubicBezTo>
                <a:cubicBezTo>
                  <a:pt x="5" y="26"/>
                  <a:pt x="5" y="26"/>
                  <a:pt x="5" y="26"/>
                </a:cubicBezTo>
                <a:cubicBezTo>
                  <a:pt x="0" y="0"/>
                  <a:pt x="0" y="0"/>
                  <a:pt x="0" y="0"/>
                </a:cubicBezTo>
              </a:path>
            </a:pathLst>
          </a:custGeom>
          <a:solidFill>
            <a:srgbClr val="F2F2F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15" name="Oval 25">
            <a:extLst>
              <a:ext uri="{FF2B5EF4-FFF2-40B4-BE49-F238E27FC236}">
                <a16:creationId xmlns:a16="http://schemas.microsoft.com/office/drawing/2014/main" id="{97EFB7D5-A74F-4D0A-8093-90C60B3BAF6E}"/>
              </a:ext>
            </a:extLst>
          </p:cNvPr>
          <p:cNvSpPr>
            <a:spLocks noChangeArrowheads="1"/>
          </p:cNvSpPr>
          <p:nvPr/>
        </p:nvSpPr>
        <p:spPr bwMode="auto">
          <a:xfrm>
            <a:off x="2887663" y="3835400"/>
            <a:ext cx="676275" cy="677863"/>
          </a:xfrm>
          <a:prstGeom prst="ellipse">
            <a:avLst/>
          </a:prstGeom>
          <a:solidFill>
            <a:schemeClr val="accent1"/>
          </a:solidFill>
          <a:ln>
            <a:noFill/>
          </a:ln>
          <a:extLst>
            <a:ext uri="{91240B29-F687-4F45-9708-019B960494DF}">
              <a14:hiddenLine w="9525">
                <a:solidFill>
                  <a:srgbClr val="000000"/>
                </a:solidFill>
                <a:round/>
                <a:headEnd/>
                <a:tailEnd/>
              </a14:hiddenLine>
            </a:ext>
          </a:extLst>
        </p:spPr>
        <p:txBody>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16" name="Oval 27">
            <a:extLst>
              <a:ext uri="{FF2B5EF4-FFF2-40B4-BE49-F238E27FC236}">
                <a16:creationId xmlns:a16="http://schemas.microsoft.com/office/drawing/2014/main" id="{27C4E8C3-53F1-4FB1-B7C9-D1441B6D2B69}"/>
              </a:ext>
            </a:extLst>
          </p:cNvPr>
          <p:cNvSpPr>
            <a:spLocks noChangeArrowheads="1"/>
          </p:cNvSpPr>
          <p:nvPr/>
        </p:nvSpPr>
        <p:spPr bwMode="auto">
          <a:xfrm>
            <a:off x="3732213" y="3702050"/>
            <a:ext cx="442912" cy="441325"/>
          </a:xfrm>
          <a:prstGeom prst="ellipse">
            <a:avLst/>
          </a:prstGeom>
          <a:solidFill>
            <a:schemeClr val="accent1"/>
          </a:solidFill>
          <a:ln>
            <a:noFill/>
          </a:ln>
          <a:extLst>
            <a:ext uri="{91240B29-F687-4F45-9708-019B960494DF}">
              <a14:hiddenLine w="9525">
                <a:solidFill>
                  <a:srgbClr val="000000"/>
                </a:solidFill>
                <a:round/>
                <a:headEnd/>
                <a:tailEnd/>
              </a14:hiddenLine>
            </a:ext>
          </a:extLst>
        </p:spPr>
        <p:txBody>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17" name="Oval 29">
            <a:extLst>
              <a:ext uri="{FF2B5EF4-FFF2-40B4-BE49-F238E27FC236}">
                <a16:creationId xmlns:a16="http://schemas.microsoft.com/office/drawing/2014/main" id="{8C3CC1CD-BE48-4142-86A6-068FD34EF41E}"/>
              </a:ext>
            </a:extLst>
          </p:cNvPr>
          <p:cNvSpPr>
            <a:spLocks noChangeArrowheads="1"/>
          </p:cNvSpPr>
          <p:nvPr/>
        </p:nvSpPr>
        <p:spPr bwMode="auto">
          <a:xfrm>
            <a:off x="3487738" y="3109913"/>
            <a:ext cx="534987" cy="534987"/>
          </a:xfrm>
          <a:prstGeom prst="ellipse">
            <a:avLst/>
          </a:prstGeom>
          <a:solidFill>
            <a:schemeClr val="accent1"/>
          </a:solidFill>
          <a:ln>
            <a:noFill/>
          </a:ln>
          <a:extLst>
            <a:ext uri="{91240B29-F687-4F45-9708-019B960494DF}">
              <a14:hiddenLine w="9525">
                <a:solidFill>
                  <a:srgbClr val="000000"/>
                </a:solidFill>
                <a:round/>
                <a:headEnd/>
                <a:tailEnd/>
              </a14:hiddenLine>
            </a:ext>
          </a:extLst>
        </p:spPr>
        <p:txBody>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18" name="Freeform 30">
            <a:extLst>
              <a:ext uri="{FF2B5EF4-FFF2-40B4-BE49-F238E27FC236}">
                <a16:creationId xmlns:a16="http://schemas.microsoft.com/office/drawing/2014/main" id="{2D3D4A85-D855-423B-9927-9A93863396BF}"/>
              </a:ext>
            </a:extLst>
          </p:cNvPr>
          <p:cNvSpPr/>
          <p:nvPr/>
        </p:nvSpPr>
        <p:spPr bwMode="auto">
          <a:xfrm>
            <a:off x="3622675" y="3608388"/>
            <a:ext cx="138113" cy="127000"/>
          </a:xfrm>
          <a:custGeom>
            <a:gdLst>
              <a:gd fmla="*/ 0 w 87" name="T0"/>
              <a:gd fmla="*/ 0 h 80" name="T1"/>
              <a:gd fmla="*/ 2147483647 w 87" name="T2"/>
              <a:gd fmla="*/ 2147483647 h 80" name="T3"/>
              <a:gd fmla="*/ 2147483647 w 87" name="T4"/>
              <a:gd fmla="*/ 2147483647 h 80" name="T5"/>
              <a:gd fmla="*/ 0 w 87" name="T6"/>
              <a:gd fmla="*/ 0 h 80" name="T7"/>
              <a:gd fmla="*/ 0 60000 65536" name="T8"/>
              <a:gd fmla="*/ 0 60000 65536" name="T9"/>
              <a:gd fmla="*/ 0 60000 65536" name="T10"/>
              <a:gd fmla="*/ 0 60000 65536" name="T11"/>
            </a:gdLst>
            <a:cxnLst>
              <a:cxn ang="T8">
                <a:pos x="T0" y="T1"/>
              </a:cxn>
              <a:cxn ang="T9">
                <a:pos x="T2" y="T3"/>
              </a:cxn>
              <a:cxn ang="T10">
                <a:pos x="T4" y="T5"/>
              </a:cxn>
              <a:cxn ang="T11">
                <a:pos x="T6" y="T7"/>
              </a:cxn>
            </a:cxnLst>
            <a:rect b="b" l="0" r="r" t="0"/>
            <a:pathLst>
              <a:path h="80" w="87">
                <a:moveTo>
                  <a:pt x="0" y="0"/>
                </a:moveTo>
                <a:lnTo>
                  <a:pt x="8" y="80"/>
                </a:lnTo>
                <a:lnTo>
                  <a:pt x="87" y="13"/>
                </a:lnTo>
                <a:lnTo>
                  <a:pt x="0" y="0"/>
                </a:lnTo>
                <a:close/>
              </a:path>
            </a:pathLst>
          </a:custGeom>
          <a:solidFill>
            <a:schemeClr val="accent1"/>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19" name="Oval 31">
            <a:extLst>
              <a:ext uri="{FF2B5EF4-FFF2-40B4-BE49-F238E27FC236}">
                <a16:creationId xmlns:a16="http://schemas.microsoft.com/office/drawing/2014/main" id="{C8D29315-CABB-4512-A682-397A4ADE6907}"/>
              </a:ext>
            </a:extLst>
          </p:cNvPr>
          <p:cNvSpPr>
            <a:spLocks noChangeArrowheads="1"/>
          </p:cNvSpPr>
          <p:nvPr/>
        </p:nvSpPr>
        <p:spPr bwMode="auto">
          <a:xfrm>
            <a:off x="2987675" y="2549525"/>
            <a:ext cx="534988" cy="534988"/>
          </a:xfrm>
          <a:prstGeom prst="ellipse">
            <a:avLst/>
          </a:prstGeom>
          <a:solidFill>
            <a:schemeClr val="lt2"/>
          </a:solidFill>
          <a:ln>
            <a:noFill/>
          </a:ln>
          <a:extLst>
            <a:ext uri="{91240B29-F687-4F45-9708-019B960494DF}">
              <a14:hiddenLine w="9525">
                <a:solidFill>
                  <a:srgbClr val="000000"/>
                </a:solidFill>
                <a:round/>
                <a:headEnd/>
                <a:tailEnd/>
              </a14:hiddenLine>
            </a:ext>
          </a:extLst>
        </p:spPr>
        <p:txBody>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20" name="Freeform 32">
            <a:extLst>
              <a:ext uri="{FF2B5EF4-FFF2-40B4-BE49-F238E27FC236}">
                <a16:creationId xmlns:a16="http://schemas.microsoft.com/office/drawing/2014/main" id="{DA15CBB5-D008-4A44-9C5B-ACE1B1E52413}"/>
              </a:ext>
            </a:extLst>
          </p:cNvPr>
          <p:cNvSpPr/>
          <p:nvPr/>
        </p:nvSpPr>
        <p:spPr bwMode="auto">
          <a:xfrm>
            <a:off x="3122613" y="3048000"/>
            <a:ext cx="138112" cy="127000"/>
          </a:xfrm>
          <a:custGeom>
            <a:gdLst>
              <a:gd fmla="*/ 0 w 87" name="T0"/>
              <a:gd fmla="*/ 0 h 80" name="T1"/>
              <a:gd fmla="*/ 2147483647 w 87" name="T2"/>
              <a:gd fmla="*/ 2147483647 h 80" name="T3"/>
              <a:gd fmla="*/ 2147483647 w 87" name="T4"/>
              <a:gd fmla="*/ 2147483647 h 80" name="T5"/>
              <a:gd fmla="*/ 0 w 87" name="T6"/>
              <a:gd fmla="*/ 0 h 80" name="T7"/>
              <a:gd fmla="*/ 0 60000 65536" name="T8"/>
              <a:gd fmla="*/ 0 60000 65536" name="T9"/>
              <a:gd fmla="*/ 0 60000 65536" name="T10"/>
              <a:gd fmla="*/ 0 60000 65536" name="T11"/>
            </a:gdLst>
            <a:cxnLst>
              <a:cxn ang="T8">
                <a:pos x="T0" y="T1"/>
              </a:cxn>
              <a:cxn ang="T9">
                <a:pos x="T2" y="T3"/>
              </a:cxn>
              <a:cxn ang="T10">
                <a:pos x="T4" y="T5"/>
              </a:cxn>
              <a:cxn ang="T11">
                <a:pos x="T6" y="T7"/>
              </a:cxn>
            </a:cxnLst>
            <a:rect b="b" l="0" r="r" t="0"/>
            <a:pathLst>
              <a:path h="80" w="87">
                <a:moveTo>
                  <a:pt x="0" y="0"/>
                </a:moveTo>
                <a:lnTo>
                  <a:pt x="7" y="80"/>
                </a:lnTo>
                <a:lnTo>
                  <a:pt x="87" y="14"/>
                </a:lnTo>
                <a:lnTo>
                  <a:pt x="0" y="0"/>
                </a:lnTo>
                <a:close/>
              </a:path>
            </a:pathLst>
          </a:custGeom>
          <a:solidFill>
            <a:schemeClr val="lt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21" name="Oval 33">
            <a:extLst>
              <a:ext uri="{FF2B5EF4-FFF2-40B4-BE49-F238E27FC236}">
                <a16:creationId xmlns:a16="http://schemas.microsoft.com/office/drawing/2014/main" id="{C977ED1F-EC65-4EA5-8BE6-6429FF2E2739}"/>
              </a:ext>
            </a:extLst>
          </p:cNvPr>
          <p:cNvSpPr>
            <a:spLocks noChangeArrowheads="1"/>
          </p:cNvSpPr>
          <p:nvPr/>
        </p:nvSpPr>
        <p:spPr bwMode="auto">
          <a:xfrm>
            <a:off x="4179888" y="3128963"/>
            <a:ext cx="423862" cy="423862"/>
          </a:xfrm>
          <a:prstGeom prst="ellipse">
            <a:avLst/>
          </a:prstGeom>
          <a:solidFill>
            <a:schemeClr val="lt2"/>
          </a:solidFill>
          <a:ln>
            <a:noFill/>
          </a:ln>
          <a:extLst>
            <a:ext uri="{91240B29-F687-4F45-9708-019B960494DF}">
              <a14:hiddenLine w="9525">
                <a:solidFill>
                  <a:srgbClr val="000000"/>
                </a:solidFill>
                <a:round/>
                <a:headEnd/>
                <a:tailEnd/>
              </a14:hiddenLine>
            </a:ext>
          </a:extLst>
        </p:spPr>
        <p:txBody>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22" name="Freeform 34">
            <a:extLst>
              <a:ext uri="{FF2B5EF4-FFF2-40B4-BE49-F238E27FC236}">
                <a16:creationId xmlns:a16="http://schemas.microsoft.com/office/drawing/2014/main" id="{157A5E75-475F-40BC-B80D-99EB3AAE4850}"/>
              </a:ext>
            </a:extLst>
          </p:cNvPr>
          <p:cNvSpPr/>
          <p:nvPr/>
        </p:nvSpPr>
        <p:spPr bwMode="auto">
          <a:xfrm>
            <a:off x="4287838" y="3524250"/>
            <a:ext cx="109537" cy="101600"/>
          </a:xfrm>
          <a:custGeom>
            <a:gdLst>
              <a:gd fmla="*/ 0 w 69" name="T0"/>
              <a:gd fmla="*/ 0 h 64" name="T1"/>
              <a:gd fmla="*/ 2147483647 w 69" name="T2"/>
              <a:gd fmla="*/ 2147483647 h 64" name="T3"/>
              <a:gd fmla="*/ 2147483647 w 69" name="T4"/>
              <a:gd fmla="*/ 2147483647 h 64" name="T5"/>
              <a:gd fmla="*/ 0 w 69" name="T6"/>
              <a:gd fmla="*/ 0 h 64" name="T7"/>
              <a:gd fmla="*/ 0 60000 65536" name="T8"/>
              <a:gd fmla="*/ 0 60000 65536" name="T9"/>
              <a:gd fmla="*/ 0 60000 65536" name="T10"/>
              <a:gd fmla="*/ 0 60000 65536" name="T11"/>
            </a:gdLst>
            <a:cxnLst>
              <a:cxn ang="T8">
                <a:pos x="T0" y="T1"/>
              </a:cxn>
              <a:cxn ang="T9">
                <a:pos x="T2" y="T3"/>
              </a:cxn>
              <a:cxn ang="T10">
                <a:pos x="T4" y="T5"/>
              </a:cxn>
              <a:cxn ang="T11">
                <a:pos x="T6" y="T7"/>
              </a:cxn>
            </a:cxnLst>
            <a:rect b="b" l="0" r="r" t="0"/>
            <a:pathLst>
              <a:path h="64" w="69">
                <a:moveTo>
                  <a:pt x="0" y="0"/>
                </a:moveTo>
                <a:lnTo>
                  <a:pt x="5" y="64"/>
                </a:lnTo>
                <a:lnTo>
                  <a:pt x="69" y="10"/>
                </a:lnTo>
                <a:lnTo>
                  <a:pt x="0" y="0"/>
                </a:lnTo>
                <a:close/>
              </a:path>
            </a:pathLst>
          </a:custGeom>
          <a:solidFill>
            <a:schemeClr val="lt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23" name="Oval 35">
            <a:extLst>
              <a:ext uri="{FF2B5EF4-FFF2-40B4-BE49-F238E27FC236}">
                <a16:creationId xmlns:a16="http://schemas.microsoft.com/office/drawing/2014/main" id="{0B86824C-F2D0-4C24-B6CC-15FC36194861}"/>
              </a:ext>
            </a:extLst>
          </p:cNvPr>
          <p:cNvSpPr>
            <a:spLocks noChangeArrowheads="1"/>
          </p:cNvSpPr>
          <p:nvPr/>
        </p:nvSpPr>
        <p:spPr bwMode="auto">
          <a:xfrm>
            <a:off x="2538413" y="2068513"/>
            <a:ext cx="423862" cy="423862"/>
          </a:xfrm>
          <a:prstGeom prst="ellipse">
            <a:avLst/>
          </a:prstGeom>
          <a:solidFill>
            <a:schemeClr val="dk2"/>
          </a:solidFill>
          <a:ln>
            <a:noFill/>
          </a:ln>
          <a:extLst>
            <a:ext uri="{91240B29-F687-4F45-9708-019B960494DF}">
              <a14:hiddenLine w="9525">
                <a:solidFill>
                  <a:srgbClr val="000000"/>
                </a:solidFill>
                <a:round/>
                <a:headEnd/>
                <a:tailEnd/>
              </a14:hiddenLine>
            </a:ext>
          </a:extLst>
        </p:spPr>
        <p:txBody>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24" name="Freeform 36">
            <a:extLst>
              <a:ext uri="{FF2B5EF4-FFF2-40B4-BE49-F238E27FC236}">
                <a16:creationId xmlns:a16="http://schemas.microsoft.com/office/drawing/2014/main" id="{7EDA181D-8DB0-461D-9791-D4A145827514}"/>
              </a:ext>
            </a:extLst>
          </p:cNvPr>
          <p:cNvSpPr/>
          <p:nvPr/>
        </p:nvSpPr>
        <p:spPr bwMode="auto">
          <a:xfrm>
            <a:off x="2744788" y="2462213"/>
            <a:ext cx="107950" cy="101600"/>
          </a:xfrm>
          <a:custGeom>
            <a:gdLst>
              <a:gd fmla="*/ 2147483647 w 68" name="T0"/>
              <a:gd fmla="*/ 0 h 64" name="T1"/>
              <a:gd fmla="*/ 2147483647 w 68" name="T2"/>
              <a:gd fmla="*/ 2147483647 h 64" name="T3"/>
              <a:gd fmla="*/ 0 w 68" name="T4"/>
              <a:gd fmla="*/ 2147483647 h 64" name="T5"/>
              <a:gd fmla="*/ 2147483647 w 68" name="T6"/>
              <a:gd fmla="*/ 0 h 64" name="T7"/>
              <a:gd fmla="*/ 0 60000 65536" name="T8"/>
              <a:gd fmla="*/ 0 60000 65536" name="T9"/>
              <a:gd fmla="*/ 0 60000 65536" name="T10"/>
              <a:gd fmla="*/ 0 60000 65536" name="T11"/>
            </a:gdLst>
            <a:cxnLst>
              <a:cxn ang="T8">
                <a:pos x="T0" y="T1"/>
              </a:cxn>
              <a:cxn ang="T9">
                <a:pos x="T2" y="T3"/>
              </a:cxn>
              <a:cxn ang="T10">
                <a:pos x="T4" y="T5"/>
              </a:cxn>
              <a:cxn ang="T11">
                <a:pos x="T6" y="T7"/>
              </a:cxn>
            </a:cxnLst>
            <a:rect b="b" l="0" r="r" t="0"/>
            <a:pathLst>
              <a:path h="64" w="68">
                <a:moveTo>
                  <a:pt x="68" y="0"/>
                </a:moveTo>
                <a:lnTo>
                  <a:pt x="63" y="64"/>
                </a:lnTo>
                <a:lnTo>
                  <a:pt x="0" y="11"/>
                </a:lnTo>
                <a:lnTo>
                  <a:pt x="68" y="0"/>
                </a:lnTo>
                <a:close/>
              </a:path>
            </a:pathLst>
          </a:custGeom>
          <a:solidFill>
            <a:schemeClr val="dk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25" name="Oval 37">
            <a:extLst>
              <a:ext uri="{FF2B5EF4-FFF2-40B4-BE49-F238E27FC236}">
                <a16:creationId xmlns:a16="http://schemas.microsoft.com/office/drawing/2014/main" id="{D018B8DE-C2E9-43A0-BFE6-19030EADC6F5}"/>
              </a:ext>
            </a:extLst>
          </p:cNvPr>
          <p:cNvSpPr>
            <a:spLocks noChangeArrowheads="1"/>
          </p:cNvSpPr>
          <p:nvPr/>
        </p:nvSpPr>
        <p:spPr bwMode="auto">
          <a:xfrm>
            <a:off x="1933575" y="2289175"/>
            <a:ext cx="423863" cy="423863"/>
          </a:xfrm>
          <a:prstGeom prst="ellipse">
            <a:avLst/>
          </a:prstGeom>
          <a:solidFill>
            <a:schemeClr val="lt2"/>
          </a:solidFill>
          <a:ln>
            <a:noFill/>
          </a:ln>
          <a:extLst>
            <a:ext uri="{91240B29-F687-4F45-9708-019B960494DF}">
              <a14:hiddenLine w="9525">
                <a:solidFill>
                  <a:srgbClr val="000000"/>
                </a:solidFill>
                <a:round/>
                <a:headEnd/>
                <a:tailEnd/>
              </a14:hiddenLine>
            </a:ext>
          </a:extLst>
        </p:spPr>
        <p:txBody>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26" name="Freeform 38">
            <a:extLst>
              <a:ext uri="{FF2B5EF4-FFF2-40B4-BE49-F238E27FC236}">
                <a16:creationId xmlns:a16="http://schemas.microsoft.com/office/drawing/2014/main" id="{962FB3F3-D753-41AB-A5F1-8474FFCD2DB0}"/>
              </a:ext>
            </a:extLst>
          </p:cNvPr>
          <p:cNvSpPr/>
          <p:nvPr/>
        </p:nvSpPr>
        <p:spPr bwMode="auto">
          <a:xfrm>
            <a:off x="2141538" y="2684463"/>
            <a:ext cx="109537" cy="100012"/>
          </a:xfrm>
          <a:custGeom>
            <a:gdLst>
              <a:gd fmla="*/ 2147483647 w 69" name="T0"/>
              <a:gd fmla="*/ 0 h 63" name="T1"/>
              <a:gd fmla="*/ 2147483647 w 69" name="T2"/>
              <a:gd fmla="*/ 2147483647 h 63" name="T3"/>
              <a:gd fmla="*/ 0 w 69" name="T4"/>
              <a:gd fmla="*/ 2147483647 h 63" name="T5"/>
              <a:gd fmla="*/ 2147483647 w 69" name="T6"/>
              <a:gd fmla="*/ 0 h 63" name="T7"/>
              <a:gd fmla="*/ 0 60000 65536" name="T8"/>
              <a:gd fmla="*/ 0 60000 65536" name="T9"/>
              <a:gd fmla="*/ 0 60000 65536" name="T10"/>
              <a:gd fmla="*/ 0 60000 65536" name="T11"/>
            </a:gdLst>
            <a:cxnLst>
              <a:cxn ang="T8">
                <a:pos x="T0" y="T1"/>
              </a:cxn>
              <a:cxn ang="T9">
                <a:pos x="T2" y="T3"/>
              </a:cxn>
              <a:cxn ang="T10">
                <a:pos x="T4" y="T5"/>
              </a:cxn>
              <a:cxn ang="T11">
                <a:pos x="T6" y="T7"/>
              </a:cxn>
            </a:cxnLst>
            <a:rect b="b" l="0" r="r" t="0"/>
            <a:pathLst>
              <a:path h="62" w="69">
                <a:moveTo>
                  <a:pt x="69" y="0"/>
                </a:moveTo>
                <a:lnTo>
                  <a:pt x="63" y="63"/>
                </a:lnTo>
                <a:lnTo>
                  <a:pt x="0" y="11"/>
                </a:lnTo>
                <a:lnTo>
                  <a:pt x="69" y="0"/>
                </a:lnTo>
                <a:close/>
              </a:path>
            </a:pathLst>
          </a:custGeom>
          <a:solidFill>
            <a:schemeClr val="lt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27" name="Oval 39">
            <a:extLst>
              <a:ext uri="{FF2B5EF4-FFF2-40B4-BE49-F238E27FC236}">
                <a16:creationId xmlns:a16="http://schemas.microsoft.com/office/drawing/2014/main" id="{C0DD213E-9F63-4CD0-AA4C-4AC06D61D783}"/>
              </a:ext>
            </a:extLst>
          </p:cNvPr>
          <p:cNvSpPr>
            <a:spLocks noChangeArrowheads="1"/>
          </p:cNvSpPr>
          <p:nvPr/>
        </p:nvSpPr>
        <p:spPr bwMode="auto">
          <a:xfrm>
            <a:off x="1662113" y="2841625"/>
            <a:ext cx="422275" cy="423863"/>
          </a:xfrm>
          <a:prstGeom prst="ellipse">
            <a:avLst/>
          </a:prstGeom>
          <a:solidFill>
            <a:schemeClr val="accent1"/>
          </a:solidFill>
          <a:ln>
            <a:noFill/>
          </a:ln>
          <a:extLst>
            <a:ext uri="{91240B29-F687-4F45-9708-019B960494DF}">
              <a14:hiddenLine w="9525">
                <a:solidFill>
                  <a:srgbClr val="000000"/>
                </a:solidFill>
                <a:round/>
                <a:headEnd/>
                <a:tailEnd/>
              </a14:hiddenLine>
            </a:ext>
          </a:extLst>
        </p:spPr>
        <p:txBody>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28" name="Freeform 40">
            <a:extLst>
              <a:ext uri="{FF2B5EF4-FFF2-40B4-BE49-F238E27FC236}">
                <a16:creationId xmlns:a16="http://schemas.microsoft.com/office/drawing/2014/main" id="{62DFDE76-BDA4-42A7-905E-C84BC567ED0E}"/>
              </a:ext>
            </a:extLst>
          </p:cNvPr>
          <p:cNvSpPr/>
          <p:nvPr/>
        </p:nvSpPr>
        <p:spPr bwMode="auto">
          <a:xfrm>
            <a:off x="1868488" y="3236913"/>
            <a:ext cx="109537" cy="100012"/>
          </a:xfrm>
          <a:custGeom>
            <a:gdLst>
              <a:gd fmla="*/ 2147483647 w 69" name="T0"/>
              <a:gd fmla="*/ 0 h 63" name="T1"/>
              <a:gd fmla="*/ 2147483647 w 69" name="T2"/>
              <a:gd fmla="*/ 2147483647 h 63" name="T3"/>
              <a:gd fmla="*/ 0 w 69" name="T4"/>
              <a:gd fmla="*/ 2147483647 h 63" name="T5"/>
              <a:gd fmla="*/ 2147483647 w 69" name="T6"/>
              <a:gd fmla="*/ 0 h 63" name="T7"/>
              <a:gd fmla="*/ 0 60000 65536" name="T8"/>
              <a:gd fmla="*/ 0 60000 65536" name="T9"/>
              <a:gd fmla="*/ 0 60000 65536" name="T10"/>
              <a:gd fmla="*/ 0 60000 65536" name="T11"/>
            </a:gdLst>
            <a:cxnLst>
              <a:cxn ang="T8">
                <a:pos x="T0" y="T1"/>
              </a:cxn>
              <a:cxn ang="T9">
                <a:pos x="T2" y="T3"/>
              </a:cxn>
              <a:cxn ang="T10">
                <a:pos x="T4" y="T5"/>
              </a:cxn>
              <a:cxn ang="T11">
                <a:pos x="T6" y="T7"/>
              </a:cxn>
            </a:cxnLst>
            <a:rect b="b" l="0" r="r" t="0"/>
            <a:pathLst>
              <a:path h="62" w="69">
                <a:moveTo>
                  <a:pt x="69" y="0"/>
                </a:moveTo>
                <a:lnTo>
                  <a:pt x="63" y="63"/>
                </a:lnTo>
                <a:lnTo>
                  <a:pt x="0" y="11"/>
                </a:lnTo>
                <a:lnTo>
                  <a:pt x="69" y="0"/>
                </a:lnTo>
                <a:close/>
              </a:path>
            </a:pathLst>
          </a:custGeom>
          <a:solidFill>
            <a:schemeClr val="accent1"/>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29" name="Oval 41">
            <a:extLst>
              <a:ext uri="{FF2B5EF4-FFF2-40B4-BE49-F238E27FC236}">
                <a16:creationId xmlns:a16="http://schemas.microsoft.com/office/drawing/2014/main" id="{86BB2464-4351-45A7-9ECD-4F941FD9AC49}"/>
              </a:ext>
            </a:extLst>
          </p:cNvPr>
          <p:cNvSpPr>
            <a:spLocks noChangeArrowheads="1"/>
          </p:cNvSpPr>
          <p:nvPr/>
        </p:nvSpPr>
        <p:spPr bwMode="auto">
          <a:xfrm>
            <a:off x="2913063" y="3276600"/>
            <a:ext cx="423862" cy="423863"/>
          </a:xfrm>
          <a:prstGeom prst="ellipse">
            <a:avLst/>
          </a:prstGeom>
          <a:solidFill>
            <a:schemeClr val="dk2"/>
          </a:solidFill>
          <a:ln>
            <a:noFill/>
          </a:ln>
          <a:extLst>
            <a:ext uri="{91240B29-F687-4F45-9708-019B960494DF}">
              <a14:hiddenLine w="9525">
                <a:solidFill>
                  <a:srgbClr val="000000"/>
                </a:solidFill>
                <a:round/>
                <a:headEnd/>
                <a:tailEnd/>
              </a14:hiddenLine>
            </a:ext>
          </a:extLst>
        </p:spPr>
        <p:txBody>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30" name="Freeform 42">
            <a:extLst>
              <a:ext uri="{FF2B5EF4-FFF2-40B4-BE49-F238E27FC236}">
                <a16:creationId xmlns:a16="http://schemas.microsoft.com/office/drawing/2014/main" id="{41EEB54F-5213-44CA-BD8A-B5EC64103612}"/>
              </a:ext>
            </a:extLst>
          </p:cNvPr>
          <p:cNvSpPr/>
          <p:nvPr/>
        </p:nvSpPr>
        <p:spPr bwMode="auto">
          <a:xfrm>
            <a:off x="3121025" y="3671888"/>
            <a:ext cx="109538" cy="100012"/>
          </a:xfrm>
          <a:custGeom>
            <a:gdLst>
              <a:gd fmla="*/ 2147483647 w 69" name="T0"/>
              <a:gd fmla="*/ 0 h 63" name="T1"/>
              <a:gd fmla="*/ 2147483647 w 69" name="T2"/>
              <a:gd fmla="*/ 2147483647 h 63" name="T3"/>
              <a:gd fmla="*/ 0 w 69" name="T4"/>
              <a:gd fmla="*/ 2147483647 h 63" name="T5"/>
              <a:gd fmla="*/ 2147483647 w 69" name="T6"/>
              <a:gd fmla="*/ 0 h 63" name="T7"/>
              <a:gd fmla="*/ 0 60000 65536" name="T8"/>
              <a:gd fmla="*/ 0 60000 65536" name="T9"/>
              <a:gd fmla="*/ 0 60000 65536" name="T10"/>
              <a:gd fmla="*/ 0 60000 65536" name="T11"/>
            </a:gdLst>
            <a:cxnLst>
              <a:cxn ang="T8">
                <a:pos x="T0" y="T1"/>
              </a:cxn>
              <a:cxn ang="T9">
                <a:pos x="T2" y="T3"/>
              </a:cxn>
              <a:cxn ang="T10">
                <a:pos x="T4" y="T5"/>
              </a:cxn>
              <a:cxn ang="T11">
                <a:pos x="T6" y="T7"/>
              </a:cxn>
            </a:cxnLst>
            <a:rect b="b" l="0" r="r" t="0"/>
            <a:pathLst>
              <a:path h="62" w="69">
                <a:moveTo>
                  <a:pt x="69" y="0"/>
                </a:moveTo>
                <a:lnTo>
                  <a:pt x="63" y="63"/>
                </a:lnTo>
                <a:lnTo>
                  <a:pt x="0" y="10"/>
                </a:lnTo>
                <a:lnTo>
                  <a:pt x="69" y="0"/>
                </a:lnTo>
                <a:close/>
              </a:path>
            </a:pathLst>
          </a:custGeom>
          <a:solidFill>
            <a:schemeClr val="dk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31" name="Oval 43">
            <a:extLst>
              <a:ext uri="{FF2B5EF4-FFF2-40B4-BE49-F238E27FC236}">
                <a16:creationId xmlns:a16="http://schemas.microsoft.com/office/drawing/2014/main" id="{1288431F-5E1C-4860-B75A-9CA26EB3B810}"/>
              </a:ext>
            </a:extLst>
          </p:cNvPr>
          <p:cNvSpPr>
            <a:spLocks noChangeArrowheads="1"/>
          </p:cNvSpPr>
          <p:nvPr/>
        </p:nvSpPr>
        <p:spPr bwMode="auto">
          <a:xfrm>
            <a:off x="1662113" y="3408363"/>
            <a:ext cx="422275" cy="423862"/>
          </a:xfrm>
          <a:prstGeom prst="ellipse">
            <a:avLst/>
          </a:prstGeom>
          <a:solidFill>
            <a:schemeClr val="accent1"/>
          </a:solidFill>
          <a:ln>
            <a:noFill/>
          </a:ln>
          <a:extLst>
            <a:ext uri="{91240B29-F687-4F45-9708-019B960494DF}">
              <a14:hiddenLine w="9525">
                <a:solidFill>
                  <a:srgbClr val="000000"/>
                </a:solidFill>
                <a:round/>
                <a:headEnd/>
                <a:tailEnd/>
              </a14:hiddenLine>
            </a:ext>
          </a:extLst>
        </p:spPr>
        <p:txBody>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32" name="Freeform 44">
            <a:extLst>
              <a:ext uri="{FF2B5EF4-FFF2-40B4-BE49-F238E27FC236}">
                <a16:creationId xmlns:a16="http://schemas.microsoft.com/office/drawing/2014/main" id="{ACE4D2D6-1019-46AE-9F55-E574E44072E8}"/>
              </a:ext>
            </a:extLst>
          </p:cNvPr>
          <p:cNvSpPr/>
          <p:nvPr/>
        </p:nvSpPr>
        <p:spPr bwMode="auto">
          <a:xfrm>
            <a:off x="1868488" y="3803650"/>
            <a:ext cx="109537" cy="101600"/>
          </a:xfrm>
          <a:custGeom>
            <a:gdLst>
              <a:gd fmla="*/ 2147483647 w 69" name="T0"/>
              <a:gd fmla="*/ 0 h 64" name="T1"/>
              <a:gd fmla="*/ 2147483647 w 69" name="T2"/>
              <a:gd fmla="*/ 2147483647 h 64" name="T3"/>
              <a:gd fmla="*/ 0 w 69" name="T4"/>
              <a:gd fmla="*/ 2147483647 h 64" name="T5"/>
              <a:gd fmla="*/ 2147483647 w 69" name="T6"/>
              <a:gd fmla="*/ 0 h 64" name="T7"/>
              <a:gd fmla="*/ 0 60000 65536" name="T8"/>
              <a:gd fmla="*/ 0 60000 65536" name="T9"/>
              <a:gd fmla="*/ 0 60000 65536" name="T10"/>
              <a:gd fmla="*/ 0 60000 65536" name="T11"/>
            </a:gdLst>
            <a:cxnLst>
              <a:cxn ang="T8">
                <a:pos x="T0" y="T1"/>
              </a:cxn>
              <a:cxn ang="T9">
                <a:pos x="T2" y="T3"/>
              </a:cxn>
              <a:cxn ang="T10">
                <a:pos x="T4" y="T5"/>
              </a:cxn>
              <a:cxn ang="T11">
                <a:pos x="T6" y="T7"/>
              </a:cxn>
            </a:cxnLst>
            <a:rect b="b" l="0" r="r" t="0"/>
            <a:pathLst>
              <a:path h="64" w="69">
                <a:moveTo>
                  <a:pt x="69" y="0"/>
                </a:moveTo>
                <a:lnTo>
                  <a:pt x="63" y="64"/>
                </a:lnTo>
                <a:lnTo>
                  <a:pt x="0" y="10"/>
                </a:lnTo>
                <a:lnTo>
                  <a:pt x="69" y="0"/>
                </a:lnTo>
                <a:close/>
              </a:path>
            </a:pathLst>
          </a:custGeom>
          <a:solidFill>
            <a:schemeClr val="accent1"/>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33" name="Oval 45">
            <a:extLst>
              <a:ext uri="{FF2B5EF4-FFF2-40B4-BE49-F238E27FC236}">
                <a16:creationId xmlns:a16="http://schemas.microsoft.com/office/drawing/2014/main" id="{B5888813-7970-4D65-8BD0-E5FD23CFB0C2}"/>
              </a:ext>
            </a:extLst>
          </p:cNvPr>
          <p:cNvSpPr>
            <a:spLocks noChangeArrowheads="1"/>
          </p:cNvSpPr>
          <p:nvPr/>
        </p:nvSpPr>
        <p:spPr bwMode="auto">
          <a:xfrm>
            <a:off x="2181225" y="3365500"/>
            <a:ext cx="592138" cy="590550"/>
          </a:xfrm>
          <a:prstGeom prst="ellipse">
            <a:avLst/>
          </a:prstGeom>
          <a:solidFill>
            <a:schemeClr val="dk2"/>
          </a:solidFill>
          <a:ln>
            <a:noFill/>
          </a:ln>
          <a:extLst>
            <a:ext uri="{91240B29-F687-4F45-9708-019B960494DF}">
              <a14:hiddenLine w="9525">
                <a:solidFill>
                  <a:srgbClr val="000000"/>
                </a:solidFill>
                <a:round/>
                <a:headEnd/>
                <a:tailEnd/>
              </a14:hiddenLine>
            </a:ext>
          </a:extLst>
        </p:spPr>
        <p:txBody>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34" name="Oval 47">
            <a:extLst>
              <a:ext uri="{FF2B5EF4-FFF2-40B4-BE49-F238E27FC236}">
                <a16:creationId xmlns:a16="http://schemas.microsoft.com/office/drawing/2014/main" id="{F5EF4092-2D30-4D84-B8AA-008AD4CB9320}"/>
              </a:ext>
            </a:extLst>
          </p:cNvPr>
          <p:cNvSpPr>
            <a:spLocks noChangeArrowheads="1"/>
          </p:cNvSpPr>
          <p:nvPr/>
        </p:nvSpPr>
        <p:spPr bwMode="auto">
          <a:xfrm>
            <a:off x="2351088" y="2751138"/>
            <a:ext cx="488950" cy="490537"/>
          </a:xfrm>
          <a:prstGeom prst="ellipse">
            <a:avLst/>
          </a:prstGeom>
          <a:solidFill>
            <a:schemeClr val="accent1"/>
          </a:solidFill>
          <a:ln>
            <a:noFill/>
          </a:ln>
          <a:extLst>
            <a:ext uri="{91240B29-F687-4F45-9708-019B960494DF}">
              <a14:hiddenLine w="9525">
                <a:solidFill>
                  <a:srgbClr val="000000"/>
                </a:solidFill>
                <a:round/>
                <a:headEnd/>
                <a:tailEnd/>
              </a14:hiddenLine>
            </a:ext>
          </a:extLst>
        </p:spPr>
        <p:txBody>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35" name="Freeform 48">
            <a:extLst>
              <a:ext uri="{FF2B5EF4-FFF2-40B4-BE49-F238E27FC236}">
                <a16:creationId xmlns:a16="http://schemas.microsoft.com/office/drawing/2014/main" id="{0C0684FE-0D24-4C06-94A3-CC0676D43A58}"/>
              </a:ext>
            </a:extLst>
          </p:cNvPr>
          <p:cNvSpPr/>
          <p:nvPr/>
        </p:nvSpPr>
        <p:spPr bwMode="auto">
          <a:xfrm>
            <a:off x="2589213" y="3208338"/>
            <a:ext cx="127000" cy="115887"/>
          </a:xfrm>
          <a:custGeom>
            <a:gdLst>
              <a:gd fmla="*/ 2147483647 w 80" name="T0"/>
              <a:gd fmla="*/ 0 h 73" name="T1"/>
              <a:gd fmla="*/ 2147483647 w 80" name="T2"/>
              <a:gd fmla="*/ 2147483647 h 73" name="T3"/>
              <a:gd fmla="*/ 0 w 80" name="T4"/>
              <a:gd fmla="*/ 2147483647 h 73" name="T5"/>
              <a:gd fmla="*/ 2147483647 w 80" name="T6"/>
              <a:gd fmla="*/ 0 h 73" name="T7"/>
              <a:gd fmla="*/ 0 60000 65536" name="T8"/>
              <a:gd fmla="*/ 0 60000 65536" name="T9"/>
              <a:gd fmla="*/ 0 60000 65536" name="T10"/>
              <a:gd fmla="*/ 0 60000 65536" name="T11"/>
            </a:gdLst>
            <a:cxnLst>
              <a:cxn ang="T8">
                <a:pos x="T0" y="T1"/>
              </a:cxn>
              <a:cxn ang="T9">
                <a:pos x="T2" y="T3"/>
              </a:cxn>
              <a:cxn ang="T10">
                <a:pos x="T4" y="T5"/>
              </a:cxn>
              <a:cxn ang="T11">
                <a:pos x="T6" y="T7"/>
              </a:cxn>
            </a:cxnLst>
            <a:rect b="b" l="0" r="r" t="0"/>
            <a:pathLst>
              <a:path h="73" w="80">
                <a:moveTo>
                  <a:pt x="80" y="0"/>
                </a:moveTo>
                <a:lnTo>
                  <a:pt x="73" y="73"/>
                </a:lnTo>
                <a:lnTo>
                  <a:pt x="0" y="12"/>
                </a:lnTo>
                <a:lnTo>
                  <a:pt x="80" y="0"/>
                </a:lnTo>
                <a:close/>
              </a:path>
            </a:pathLst>
          </a:custGeom>
          <a:solidFill>
            <a:schemeClr val="accent1"/>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36" name="Oval 49">
            <a:extLst>
              <a:ext uri="{FF2B5EF4-FFF2-40B4-BE49-F238E27FC236}">
                <a16:creationId xmlns:a16="http://schemas.microsoft.com/office/drawing/2014/main" id="{31949019-D411-4F44-AC6F-65681FCF4F6A}"/>
              </a:ext>
            </a:extLst>
          </p:cNvPr>
          <p:cNvSpPr>
            <a:spLocks noChangeArrowheads="1"/>
          </p:cNvSpPr>
          <p:nvPr/>
        </p:nvSpPr>
        <p:spPr bwMode="auto">
          <a:xfrm>
            <a:off x="3778250" y="2468563"/>
            <a:ext cx="506413" cy="508000"/>
          </a:xfrm>
          <a:prstGeom prst="ellipse">
            <a:avLst/>
          </a:prstGeom>
          <a:solidFill>
            <a:schemeClr val="dk2"/>
          </a:solidFill>
          <a:ln>
            <a:noFill/>
          </a:ln>
          <a:extLst>
            <a:ext uri="{91240B29-F687-4F45-9708-019B960494DF}">
              <a14:hiddenLine w="9525">
                <a:solidFill>
                  <a:srgbClr val="000000"/>
                </a:solidFill>
                <a:round/>
                <a:headEnd/>
                <a:tailEnd/>
              </a14:hiddenLine>
            </a:ext>
          </a:extLst>
        </p:spPr>
        <p:txBody>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37" name="Freeform 50">
            <a:extLst>
              <a:ext uri="{FF2B5EF4-FFF2-40B4-BE49-F238E27FC236}">
                <a16:creationId xmlns:a16="http://schemas.microsoft.com/office/drawing/2014/main" id="{43A017BA-E635-441D-B11F-9E845C8B4A9E}"/>
              </a:ext>
            </a:extLst>
          </p:cNvPr>
          <p:cNvSpPr/>
          <p:nvPr/>
        </p:nvSpPr>
        <p:spPr bwMode="auto">
          <a:xfrm>
            <a:off x="3906838" y="2941638"/>
            <a:ext cx="130175" cy="120650"/>
          </a:xfrm>
          <a:custGeom>
            <a:gdLst>
              <a:gd fmla="*/ 0 w 82" name="T0"/>
              <a:gd fmla="*/ 0 h 76" name="T1"/>
              <a:gd fmla="*/ 2147483647 w 82" name="T2"/>
              <a:gd fmla="*/ 2147483647 h 76" name="T3"/>
              <a:gd fmla="*/ 2147483647 w 82" name="T4"/>
              <a:gd fmla="*/ 2147483647 h 76" name="T5"/>
              <a:gd fmla="*/ 0 w 82" name="T6"/>
              <a:gd fmla="*/ 0 h 76" name="T7"/>
              <a:gd fmla="*/ 0 60000 65536" name="T8"/>
              <a:gd fmla="*/ 0 60000 65536" name="T9"/>
              <a:gd fmla="*/ 0 60000 65536" name="T10"/>
              <a:gd fmla="*/ 0 60000 65536" name="T11"/>
            </a:gdLst>
            <a:cxnLst>
              <a:cxn ang="T8">
                <a:pos x="T0" y="T1"/>
              </a:cxn>
              <a:cxn ang="T9">
                <a:pos x="T2" y="T3"/>
              </a:cxn>
              <a:cxn ang="T10">
                <a:pos x="T4" y="T5"/>
              </a:cxn>
              <a:cxn ang="T11">
                <a:pos x="T6" y="T7"/>
              </a:cxn>
            </a:cxnLst>
            <a:rect b="b" l="0" r="r" t="0"/>
            <a:pathLst>
              <a:path h="76" w="82">
                <a:moveTo>
                  <a:pt x="0" y="0"/>
                </a:moveTo>
                <a:lnTo>
                  <a:pt x="6" y="76"/>
                </a:lnTo>
                <a:lnTo>
                  <a:pt x="82" y="12"/>
                </a:lnTo>
                <a:lnTo>
                  <a:pt x="0" y="0"/>
                </a:lnTo>
                <a:close/>
              </a:path>
            </a:pathLst>
          </a:custGeom>
          <a:solidFill>
            <a:schemeClr val="dk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38" name="Freeform 57">
            <a:extLst>
              <a:ext uri="{FF2B5EF4-FFF2-40B4-BE49-F238E27FC236}">
                <a16:creationId xmlns:a16="http://schemas.microsoft.com/office/drawing/2014/main" id="{DDA5EB23-6E57-474A-A21B-88CD7D30C5BE}"/>
              </a:ext>
            </a:extLst>
          </p:cNvPr>
          <p:cNvSpPr>
            <a:spLocks noEditPoints="1"/>
          </p:cNvSpPr>
          <p:nvPr/>
        </p:nvSpPr>
        <p:spPr bwMode="auto">
          <a:xfrm>
            <a:off x="3829050" y="3771900"/>
            <a:ext cx="263525" cy="266700"/>
          </a:xfrm>
          <a:custGeom>
            <a:gdLst>
              <a:gd fmla="*/ 2147483647 w 229" name="T0"/>
              <a:gd fmla="*/ 2147483647 h 231" name="T1"/>
              <a:gd fmla="*/ 2147483647 w 229" name="T2"/>
              <a:gd fmla="*/ 2147483647 h 231" name="T3"/>
              <a:gd fmla="*/ 2147483647 w 229" name="T4"/>
              <a:gd fmla="*/ 2147483647 h 231" name="T5"/>
              <a:gd fmla="*/ 2147483647 w 229" name="T6"/>
              <a:gd fmla="*/ 2147483647 h 231" name="T7"/>
              <a:gd fmla="*/ 2147483647 w 229" name="T8"/>
              <a:gd fmla="*/ 2147483647 h 231" name="T9"/>
              <a:gd fmla="*/ 2147483647 w 229" name="T10"/>
              <a:gd fmla="*/ 2147483647 h 231" name="T11"/>
              <a:gd fmla="*/ 2147483647 w 229" name="T12"/>
              <a:gd fmla="*/ 2147483647 h 231" name="T13"/>
              <a:gd fmla="*/ 2147483647 w 229" name="T14"/>
              <a:gd fmla="*/ 2147483647 h 231" name="T15"/>
              <a:gd fmla="*/ 2147483647 w 229" name="T16"/>
              <a:gd fmla="*/ 0 h 231" name="T17"/>
              <a:gd fmla="*/ 2147483647 w 229" name="T18"/>
              <a:gd fmla="*/ 2147483647 h 231" name="T19"/>
              <a:gd fmla="*/ 2147483647 w 229" name="T20"/>
              <a:gd fmla="*/ 2147483647 h 231" name="T21"/>
              <a:gd fmla="*/ 2147483647 w 229" name="T22"/>
              <a:gd fmla="*/ 2147483647 h 231" name="T23"/>
              <a:gd fmla="*/ 2147483647 w 229" name="T24"/>
              <a:gd fmla="*/ 2147483647 h 231" name="T25"/>
              <a:gd fmla="*/ 2147483647 w 229" name="T26"/>
              <a:gd fmla="*/ 2147483647 h 231" name="T27"/>
              <a:gd fmla="*/ 2147483647 w 229" name="T28"/>
              <a:gd fmla="*/ 2147483647 h 231" name="T29"/>
              <a:gd fmla="*/ 2147483647 w 229" name="T30"/>
              <a:gd fmla="*/ 2147483647 h 231" name="T31"/>
              <a:gd fmla="*/ 2147483647 w 229" name="T32"/>
              <a:gd fmla="*/ 2147483647 h 231" name="T33"/>
              <a:gd fmla="*/ 2147483647 w 229" name="T34"/>
              <a:gd fmla="*/ 2147483647 h 231" name="T35"/>
              <a:gd fmla="*/ 2147483647 w 229" name="T36"/>
              <a:gd fmla="*/ 2147483647 h 231" name="T37"/>
              <a:gd fmla="*/ 2147483647 w 229" name="T38"/>
              <a:gd fmla="*/ 2147483647 h 231" name="T39"/>
              <a:gd fmla="*/ 2147483647 w 229" name="T40"/>
              <a:gd fmla="*/ 2147483647 h 231" name="T41"/>
              <a:gd fmla="*/ 2147483647 w 229" name="T42"/>
              <a:gd fmla="*/ 2147483647 h 231" name="T43"/>
              <a:gd fmla="*/ 2147483647 w 229" name="T44"/>
              <a:gd fmla="*/ 2147483647 h 231" name="T45"/>
              <a:gd fmla="*/ 2147483647 w 229" name="T46"/>
              <a:gd fmla="*/ 2147483647 h 231" name="T47"/>
              <a:gd fmla="*/ 2147483647 w 229" name="T48"/>
              <a:gd fmla="*/ 2147483647 h 231" name="T49"/>
              <a:gd fmla="*/ 2147483647 w 229" name="T50"/>
              <a:gd fmla="*/ 2147483647 h 231" name="T51"/>
              <a:gd fmla="*/ 0 60000 65536" name="T52"/>
              <a:gd fmla="*/ 0 60000 65536" name="T53"/>
              <a:gd fmla="*/ 0 60000 65536" name="T54"/>
              <a:gd fmla="*/ 0 60000 65536" name="T55"/>
              <a:gd fmla="*/ 0 60000 65536" name="T56"/>
              <a:gd fmla="*/ 0 60000 65536" name="T57"/>
              <a:gd fmla="*/ 0 60000 65536" name="T58"/>
              <a:gd fmla="*/ 0 60000 65536" name="T59"/>
              <a:gd fmla="*/ 0 60000 65536" name="T60"/>
              <a:gd fmla="*/ 0 60000 65536" name="T61"/>
              <a:gd fmla="*/ 0 60000 65536" name="T62"/>
              <a:gd fmla="*/ 0 60000 65536" name="T63"/>
              <a:gd fmla="*/ 0 60000 65536" name="T64"/>
              <a:gd fmla="*/ 0 60000 65536" name="T65"/>
              <a:gd fmla="*/ 0 60000 65536" name="T66"/>
              <a:gd fmla="*/ 0 60000 65536" name="T67"/>
              <a:gd fmla="*/ 0 60000 65536" name="T68"/>
              <a:gd fmla="*/ 0 60000 65536" name="T69"/>
              <a:gd fmla="*/ 0 60000 65536" name="T70"/>
              <a:gd fmla="*/ 0 60000 65536" name="T71"/>
              <a:gd fmla="*/ 0 60000 65536" name="T72"/>
              <a:gd fmla="*/ 0 60000 65536" name="T73"/>
              <a:gd fmla="*/ 0 60000 65536" name="T74"/>
              <a:gd fmla="*/ 0 60000 65536" name="T75"/>
              <a:gd fmla="*/ 0 60000 65536" name="T76"/>
              <a:gd fmla="*/ 0 60000 65536" name="T77"/>
            </a:gd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b="b" l="0" r="r" t="0"/>
            <a:pathLst>
              <a:path h="231" w="229">
                <a:moveTo>
                  <a:pt x="147" y="112"/>
                </a:moveTo>
                <a:cubicBezTo>
                  <a:pt x="147" y="112"/>
                  <a:pt x="141" y="109"/>
                  <a:pt x="141" y="98"/>
                </a:cubicBezTo>
                <a:cubicBezTo>
                  <a:pt x="141" y="89"/>
                  <a:pt x="141" y="55"/>
                  <a:pt x="141" y="44"/>
                </a:cubicBezTo>
                <a:cubicBezTo>
                  <a:pt x="145" y="42"/>
                  <a:pt x="147" y="40"/>
                  <a:pt x="147" y="37"/>
                </a:cubicBezTo>
                <a:cubicBezTo>
                  <a:pt x="148" y="37"/>
                  <a:pt x="148" y="37"/>
                  <a:pt x="148" y="37"/>
                </a:cubicBezTo>
                <a:cubicBezTo>
                  <a:pt x="148" y="13"/>
                  <a:pt x="148" y="13"/>
                  <a:pt x="148" y="13"/>
                </a:cubicBezTo>
                <a:cubicBezTo>
                  <a:pt x="147" y="13"/>
                  <a:pt x="147" y="13"/>
                  <a:pt x="147" y="13"/>
                </a:cubicBezTo>
                <a:cubicBezTo>
                  <a:pt x="147" y="12"/>
                  <a:pt x="147" y="12"/>
                  <a:pt x="147" y="12"/>
                </a:cubicBezTo>
                <a:cubicBezTo>
                  <a:pt x="147" y="5"/>
                  <a:pt x="132" y="0"/>
                  <a:pt x="114" y="0"/>
                </a:cubicBezTo>
                <a:cubicBezTo>
                  <a:pt x="96" y="0"/>
                  <a:pt x="81" y="5"/>
                  <a:pt x="81" y="12"/>
                </a:cubicBezTo>
                <a:cubicBezTo>
                  <a:pt x="81" y="13"/>
                  <a:pt x="81" y="13"/>
                  <a:pt x="81" y="13"/>
                </a:cubicBezTo>
                <a:cubicBezTo>
                  <a:pt x="80" y="13"/>
                  <a:pt x="80" y="13"/>
                  <a:pt x="80" y="13"/>
                </a:cubicBezTo>
                <a:cubicBezTo>
                  <a:pt x="80" y="37"/>
                  <a:pt x="80" y="37"/>
                  <a:pt x="80" y="37"/>
                </a:cubicBezTo>
                <a:cubicBezTo>
                  <a:pt x="81" y="37"/>
                  <a:pt x="81" y="37"/>
                  <a:pt x="81" y="37"/>
                </a:cubicBezTo>
                <a:cubicBezTo>
                  <a:pt x="82" y="40"/>
                  <a:pt x="84" y="42"/>
                  <a:pt x="91" y="44"/>
                </a:cubicBezTo>
                <a:cubicBezTo>
                  <a:pt x="91" y="56"/>
                  <a:pt x="91" y="89"/>
                  <a:pt x="91" y="98"/>
                </a:cubicBezTo>
                <a:cubicBezTo>
                  <a:pt x="91" y="109"/>
                  <a:pt x="83" y="112"/>
                  <a:pt x="83" y="112"/>
                </a:cubicBezTo>
                <a:cubicBezTo>
                  <a:pt x="71" y="119"/>
                  <a:pt x="0" y="190"/>
                  <a:pt x="31" y="212"/>
                </a:cubicBezTo>
                <a:cubicBezTo>
                  <a:pt x="59" y="231"/>
                  <a:pt x="105" y="231"/>
                  <a:pt x="115" y="230"/>
                </a:cubicBezTo>
                <a:cubicBezTo>
                  <a:pt x="124" y="231"/>
                  <a:pt x="170" y="231"/>
                  <a:pt x="198" y="212"/>
                </a:cubicBezTo>
                <a:cubicBezTo>
                  <a:pt x="229" y="190"/>
                  <a:pt x="159" y="119"/>
                  <a:pt x="147" y="112"/>
                </a:cubicBezTo>
                <a:close/>
                <a:moveTo>
                  <a:pt x="145" y="213"/>
                </a:moveTo>
                <a:cubicBezTo>
                  <a:pt x="145" y="213"/>
                  <a:pt x="180" y="206"/>
                  <a:pt x="182" y="187"/>
                </a:cubicBezTo>
                <a:cubicBezTo>
                  <a:pt x="183" y="169"/>
                  <a:pt x="150" y="134"/>
                  <a:pt x="150" y="134"/>
                </a:cubicBezTo>
                <a:cubicBezTo>
                  <a:pt x="150" y="134"/>
                  <a:pt x="194" y="167"/>
                  <a:pt x="193" y="190"/>
                </a:cubicBezTo>
                <a:cubicBezTo>
                  <a:pt x="193" y="213"/>
                  <a:pt x="145" y="213"/>
                  <a:pt x="145" y="213"/>
                </a:cubicBezTo>
                <a:close/>
              </a:path>
            </a:pathLst>
          </a:custGeom>
          <a:solidFill>
            <a:srgbClr val="F2F2F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39" name="Freeform 60">
            <a:extLst>
              <a:ext uri="{FF2B5EF4-FFF2-40B4-BE49-F238E27FC236}">
                <a16:creationId xmlns:a16="http://schemas.microsoft.com/office/drawing/2014/main" id="{396C66AF-9B8A-42D2-BA45-A07EC5758C64}"/>
              </a:ext>
            </a:extLst>
          </p:cNvPr>
          <p:cNvSpPr>
            <a:spLocks noEditPoints="1"/>
          </p:cNvSpPr>
          <p:nvPr/>
        </p:nvSpPr>
        <p:spPr bwMode="auto">
          <a:xfrm>
            <a:off x="4151313" y="3203575"/>
            <a:ext cx="401637" cy="265113"/>
          </a:xfrm>
          <a:custGeom>
            <a:gdLst>
              <a:gd fmla="*/ 2147483647 w 349" name="T0"/>
              <a:gd fmla="*/ 2147483647 h 230" name="T1"/>
              <a:gd fmla="*/ 2147483647 w 349" name="T2"/>
              <a:gd fmla="*/ 0 h 230" name="T3"/>
              <a:gd fmla="*/ 2147483647 w 349" name="T4"/>
              <a:gd fmla="*/ 2147483647 h 230" name="T5"/>
              <a:gd fmla="*/ 2147483647 w 349" name="T6"/>
              <a:gd fmla="*/ 2147483647 h 230" name="T7"/>
              <a:gd fmla="*/ 2147483647 w 349" name="T8"/>
              <a:gd fmla="*/ 2147483647 h 230" name="T9"/>
              <a:gd fmla="*/ 2147483647 w 349" name="T10"/>
              <a:gd fmla="*/ 2147483647 h 230" name="T11"/>
              <a:gd fmla="*/ 2147483647 w 349" name="T12"/>
              <a:gd fmla="*/ 2147483647 h 230" name="T13"/>
              <a:gd fmla="*/ 2147483647 w 349" name="T14"/>
              <a:gd fmla="*/ 2147483647 h 230" name="T15"/>
              <a:gd fmla="*/ 2147483647 w 349" name="T16"/>
              <a:gd fmla="*/ 2147483647 h 230" name="T17"/>
              <a:gd fmla="*/ 2147483647 w 349" name="T18"/>
              <a:gd fmla="*/ 2147483647 h 230" name="T19"/>
              <a:gd fmla="*/ 2147483647 w 349" name="T20"/>
              <a:gd fmla="*/ 2147483647 h 230" name="T21"/>
              <a:gd fmla="*/ 2147483647 w 349" name="T22"/>
              <a:gd fmla="*/ 2147483647 h 230" name="T23"/>
              <a:gd fmla="*/ 2147483647 w 349" name="T24"/>
              <a:gd fmla="*/ 2147483647 h 230" name="T25"/>
              <a:gd fmla="*/ 2147483647 w 349" name="T26"/>
              <a:gd fmla="*/ 2147483647 h 230" name="T27"/>
              <a:gd fmla="*/ 2147483647 w 349" name="T28"/>
              <a:gd fmla="*/ 2147483647 h 230" name="T29"/>
              <a:gd fmla="*/ 2147483647 w 349" name="T30"/>
              <a:gd fmla="*/ 2147483647 h 230" name="T31"/>
              <a:gd fmla="*/ 2147483647 w 349" name="T32"/>
              <a:gd fmla="*/ 2147483647 h 230" name="T33"/>
              <a:gd fmla="*/ 2147483647 w 349" name="T34"/>
              <a:gd fmla="*/ 2147483647 h 230" name="T35"/>
              <a:gd fmla="*/ 2147483647 w 349" name="T36"/>
              <a:gd fmla="*/ 2147483647 h 230" name="T37"/>
              <a:gd fmla="*/ 2147483647 w 349" name="T38"/>
              <a:gd fmla="*/ 2147483647 h 230" name="T39"/>
              <a:gd fmla="*/ 2147483647 w 349" name="T40"/>
              <a:gd fmla="*/ 2147483647 h 230" name="T41"/>
              <a:gd fmla="*/ 2147483647 w 349" name="T42"/>
              <a:gd fmla="*/ 2147483647 h 230" name="T43"/>
              <a:gd fmla="*/ 2147483647 w 349" name="T44"/>
              <a:gd fmla="*/ 2147483647 h 230" name="T45"/>
              <a:gd fmla="*/ 2147483647 w 349" name="T46"/>
              <a:gd fmla="*/ 2147483647 h 230" name="T47"/>
              <a:gd fmla="*/ 2147483647 w 349" name="T48"/>
              <a:gd fmla="*/ 2147483647 h 230" name="T49"/>
              <a:gd fmla="*/ 2147483647 w 349" name="T50"/>
              <a:gd fmla="*/ 2147483647 h 230" name="T51"/>
              <a:gd fmla="*/ 2147483647 w 349" name="T52"/>
              <a:gd fmla="*/ 2147483647 h 230" name="T53"/>
              <a:gd fmla="*/ 2147483647 w 349" name="T54"/>
              <a:gd fmla="*/ 2147483647 h 230" name="T55"/>
              <a:gd fmla="*/ 2147483647 w 349" name="T56"/>
              <a:gd fmla="*/ 2147483647 h 230" name="T57"/>
              <a:gd fmla="*/ 2147483647 w 349" name="T58"/>
              <a:gd fmla="*/ 2147483647 h 230" name="T59"/>
              <a:gd fmla="*/ 0 60000 65536" name="T60"/>
              <a:gd fmla="*/ 0 60000 65536" name="T61"/>
              <a:gd fmla="*/ 0 60000 65536" name="T62"/>
              <a:gd fmla="*/ 0 60000 65536" name="T63"/>
              <a:gd fmla="*/ 0 60000 65536" name="T64"/>
              <a:gd fmla="*/ 0 60000 65536" name="T65"/>
              <a:gd fmla="*/ 0 60000 65536" name="T66"/>
              <a:gd fmla="*/ 0 60000 65536" name="T67"/>
              <a:gd fmla="*/ 0 60000 65536" name="T68"/>
              <a:gd fmla="*/ 0 60000 65536" name="T69"/>
              <a:gd fmla="*/ 0 60000 65536" name="T70"/>
              <a:gd fmla="*/ 0 60000 65536" name="T71"/>
              <a:gd fmla="*/ 0 60000 65536" name="T72"/>
              <a:gd fmla="*/ 0 60000 65536" name="T73"/>
              <a:gd fmla="*/ 0 60000 65536" name="T74"/>
              <a:gd fmla="*/ 0 60000 65536" name="T75"/>
              <a:gd fmla="*/ 0 60000 65536" name="T76"/>
              <a:gd fmla="*/ 0 60000 65536" name="T77"/>
              <a:gd fmla="*/ 0 60000 65536" name="T78"/>
              <a:gd fmla="*/ 0 60000 65536" name="T79"/>
              <a:gd fmla="*/ 0 60000 65536" name="T80"/>
              <a:gd fmla="*/ 0 60000 65536" name="T81"/>
              <a:gd fmla="*/ 0 60000 65536" name="T82"/>
              <a:gd fmla="*/ 0 60000 65536" name="T83"/>
              <a:gd fmla="*/ 0 60000 65536" name="T84"/>
              <a:gd fmla="*/ 0 60000 65536" name="T85"/>
              <a:gd fmla="*/ 0 60000 65536" name="T86"/>
              <a:gd fmla="*/ 0 60000 65536" name="T87"/>
              <a:gd fmla="*/ 0 60000 65536" name="T88"/>
              <a:gd fmla="*/ 0 60000 65536" name="T89"/>
            </a:gd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b="b" l="0" r="r" t="0"/>
            <a:pathLst>
              <a:path h="230" w="349">
                <a:moveTo>
                  <a:pt x="333" y="51"/>
                </a:moveTo>
                <a:cubicBezTo>
                  <a:pt x="317" y="6"/>
                  <a:pt x="259" y="0"/>
                  <a:pt x="259" y="0"/>
                </a:cubicBezTo>
                <a:cubicBezTo>
                  <a:pt x="0" y="4"/>
                  <a:pt x="103" y="220"/>
                  <a:pt x="170" y="225"/>
                </a:cubicBezTo>
                <a:cubicBezTo>
                  <a:pt x="237" y="230"/>
                  <a:pt x="227" y="150"/>
                  <a:pt x="269" y="133"/>
                </a:cubicBezTo>
                <a:cubicBezTo>
                  <a:pt x="312" y="116"/>
                  <a:pt x="349" y="96"/>
                  <a:pt x="333" y="51"/>
                </a:cubicBezTo>
                <a:close/>
                <a:moveTo>
                  <a:pt x="140" y="41"/>
                </a:moveTo>
                <a:cubicBezTo>
                  <a:pt x="148" y="41"/>
                  <a:pt x="155" y="48"/>
                  <a:pt x="155" y="56"/>
                </a:cubicBezTo>
                <a:cubicBezTo>
                  <a:pt x="155" y="65"/>
                  <a:pt x="148" y="71"/>
                  <a:pt x="140" y="71"/>
                </a:cubicBezTo>
                <a:cubicBezTo>
                  <a:pt x="131" y="71"/>
                  <a:pt x="125" y="65"/>
                  <a:pt x="125" y="56"/>
                </a:cubicBezTo>
                <a:cubicBezTo>
                  <a:pt x="125" y="48"/>
                  <a:pt x="131" y="41"/>
                  <a:pt x="140" y="41"/>
                </a:cubicBezTo>
                <a:close/>
                <a:moveTo>
                  <a:pt x="105" y="101"/>
                </a:moveTo>
                <a:cubicBezTo>
                  <a:pt x="105" y="90"/>
                  <a:pt x="114" y="81"/>
                  <a:pt x="125" y="81"/>
                </a:cubicBezTo>
                <a:cubicBezTo>
                  <a:pt x="136" y="81"/>
                  <a:pt x="145" y="90"/>
                  <a:pt x="145" y="101"/>
                </a:cubicBezTo>
                <a:cubicBezTo>
                  <a:pt x="145" y="112"/>
                  <a:pt x="136" y="121"/>
                  <a:pt x="125" y="121"/>
                </a:cubicBezTo>
                <a:cubicBezTo>
                  <a:pt x="114" y="121"/>
                  <a:pt x="105" y="112"/>
                  <a:pt x="105" y="101"/>
                </a:cubicBezTo>
                <a:close/>
                <a:moveTo>
                  <a:pt x="139" y="174"/>
                </a:moveTo>
                <a:cubicBezTo>
                  <a:pt x="126" y="174"/>
                  <a:pt x="116" y="164"/>
                  <a:pt x="116" y="151"/>
                </a:cubicBezTo>
                <a:cubicBezTo>
                  <a:pt x="116" y="138"/>
                  <a:pt x="126" y="128"/>
                  <a:pt x="139" y="128"/>
                </a:cubicBezTo>
                <a:cubicBezTo>
                  <a:pt x="151" y="128"/>
                  <a:pt x="162" y="138"/>
                  <a:pt x="162" y="151"/>
                </a:cubicBezTo>
                <a:cubicBezTo>
                  <a:pt x="162" y="164"/>
                  <a:pt x="151" y="174"/>
                  <a:pt x="139" y="174"/>
                </a:cubicBezTo>
                <a:close/>
                <a:moveTo>
                  <a:pt x="180" y="213"/>
                </a:moveTo>
                <a:cubicBezTo>
                  <a:pt x="166" y="213"/>
                  <a:pt x="155" y="202"/>
                  <a:pt x="155" y="188"/>
                </a:cubicBezTo>
                <a:cubicBezTo>
                  <a:pt x="155" y="175"/>
                  <a:pt x="166" y="163"/>
                  <a:pt x="180" y="163"/>
                </a:cubicBezTo>
                <a:cubicBezTo>
                  <a:pt x="194" y="163"/>
                  <a:pt x="205" y="175"/>
                  <a:pt x="205" y="188"/>
                </a:cubicBezTo>
                <a:cubicBezTo>
                  <a:pt x="205" y="202"/>
                  <a:pt x="194" y="213"/>
                  <a:pt x="180" y="213"/>
                </a:cubicBezTo>
                <a:close/>
                <a:moveTo>
                  <a:pt x="282" y="98"/>
                </a:moveTo>
                <a:cubicBezTo>
                  <a:pt x="265" y="98"/>
                  <a:pt x="252" y="84"/>
                  <a:pt x="252" y="68"/>
                </a:cubicBezTo>
                <a:cubicBezTo>
                  <a:pt x="252" y="51"/>
                  <a:pt x="265" y="38"/>
                  <a:pt x="282" y="38"/>
                </a:cubicBezTo>
                <a:cubicBezTo>
                  <a:pt x="298" y="38"/>
                  <a:pt x="312" y="51"/>
                  <a:pt x="312" y="68"/>
                </a:cubicBezTo>
                <a:cubicBezTo>
                  <a:pt x="312" y="84"/>
                  <a:pt x="298" y="98"/>
                  <a:pt x="282" y="98"/>
                </a:cubicBezTo>
                <a:close/>
              </a:path>
            </a:pathLst>
          </a:custGeom>
          <a:solidFill>
            <a:srgbClr val="F2F2F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40" name="Oval 61">
            <a:extLst>
              <a:ext uri="{FF2B5EF4-FFF2-40B4-BE49-F238E27FC236}">
                <a16:creationId xmlns:a16="http://schemas.microsoft.com/office/drawing/2014/main" id="{69C6D228-81AF-43C0-8A93-E7DB2233B137}"/>
              </a:ext>
            </a:extLst>
          </p:cNvPr>
          <p:cNvSpPr>
            <a:spLocks noChangeArrowheads="1"/>
          </p:cNvSpPr>
          <p:nvPr/>
        </p:nvSpPr>
        <p:spPr bwMode="auto">
          <a:xfrm>
            <a:off x="4003675" y="2565400"/>
            <a:ext cx="79375" cy="80963"/>
          </a:xfrm>
          <a:prstGeom prst="ellipse">
            <a:avLst/>
          </a:prstGeom>
          <a:solidFill>
            <a:srgbClr val="F2F2F2"/>
          </a:solidFill>
          <a:ln>
            <a:noFill/>
          </a:ln>
          <a:extLst>
            <a:ext uri="{91240B29-F687-4F45-9708-019B960494DF}">
              <a14:hiddenLine w="9525">
                <a:solidFill>
                  <a:srgbClr val="000000"/>
                </a:solidFill>
                <a:round/>
                <a:headEnd/>
                <a:tailEnd/>
              </a14:hiddenLine>
            </a:ext>
          </a:extLst>
        </p:spPr>
        <p:txBody>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41" name="Freeform 62">
            <a:extLst>
              <a:ext uri="{FF2B5EF4-FFF2-40B4-BE49-F238E27FC236}">
                <a16:creationId xmlns:a16="http://schemas.microsoft.com/office/drawing/2014/main" id="{4524B13F-0EC8-4F2A-A92B-34FCA186BEDB}"/>
              </a:ext>
            </a:extLst>
          </p:cNvPr>
          <p:cNvSpPr/>
          <p:nvPr/>
        </p:nvSpPr>
        <p:spPr bwMode="auto">
          <a:xfrm>
            <a:off x="4032250" y="2625725"/>
            <a:ext cx="125413" cy="263525"/>
          </a:xfrm>
          <a:custGeom>
            <a:gdLst>
              <a:gd fmla="*/ 0 w 110" name="T0"/>
              <a:gd fmla="*/ 2147483647 h 229" name="T1"/>
              <a:gd fmla="*/ 2147483647 w 110" name="T2"/>
              <a:gd fmla="*/ 2147483647 h 229" name="T3"/>
              <a:gd fmla="*/ 2147483647 w 110" name="T4"/>
              <a:gd fmla="*/ 2147483647 h 229" name="T5"/>
              <a:gd fmla="*/ 2147483647 w 110" name="T6"/>
              <a:gd fmla="*/ 0 h 229" name="T7"/>
              <a:gd fmla="*/ 0 w 110" name="T8"/>
              <a:gd fmla="*/ 2147483647 h 229" name="T9"/>
              <a:gd fmla="*/ 0 60000 65536" name="T10"/>
              <a:gd fmla="*/ 0 60000 65536" name="T11"/>
              <a:gd fmla="*/ 0 60000 65536" name="T12"/>
              <a:gd fmla="*/ 0 60000 65536" name="T13"/>
              <a:gd fmla="*/ 0 60000 65536" name="T14"/>
            </a:gdLst>
            <a:cxnLst>
              <a:cxn ang="T10">
                <a:pos x="T0" y="T1"/>
              </a:cxn>
              <a:cxn ang="T11">
                <a:pos x="T2" y="T3"/>
              </a:cxn>
              <a:cxn ang="T12">
                <a:pos x="T4" y="T5"/>
              </a:cxn>
              <a:cxn ang="T13">
                <a:pos x="T6" y="T7"/>
              </a:cxn>
              <a:cxn ang="T14">
                <a:pos x="T8" y="T9"/>
              </a:cxn>
            </a:cxnLst>
            <a:rect b="b" l="0" r="r" t="0"/>
            <a:pathLst>
              <a:path h="229" w="110">
                <a:moveTo>
                  <a:pt x="0" y="6"/>
                </a:moveTo>
                <a:cubicBezTo>
                  <a:pt x="0" y="8"/>
                  <a:pt x="73" y="198"/>
                  <a:pt x="73" y="198"/>
                </a:cubicBezTo>
                <a:cubicBezTo>
                  <a:pt x="73" y="198"/>
                  <a:pt x="103" y="229"/>
                  <a:pt x="107" y="229"/>
                </a:cubicBezTo>
                <a:cubicBezTo>
                  <a:pt x="110" y="229"/>
                  <a:pt x="24" y="0"/>
                  <a:pt x="24" y="0"/>
                </a:cubicBezTo>
                <a:lnTo>
                  <a:pt x="0" y="6"/>
                </a:lnTo>
                <a:close/>
              </a:path>
            </a:pathLst>
          </a:custGeom>
          <a:solidFill>
            <a:srgbClr val="F2F2F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42" name="Freeform 63">
            <a:extLst>
              <a:ext uri="{FF2B5EF4-FFF2-40B4-BE49-F238E27FC236}">
                <a16:creationId xmlns:a16="http://schemas.microsoft.com/office/drawing/2014/main" id="{34566CB9-33AD-4712-B43F-82A767C7B679}"/>
              </a:ext>
            </a:extLst>
          </p:cNvPr>
          <p:cNvSpPr/>
          <p:nvPr/>
        </p:nvSpPr>
        <p:spPr bwMode="auto">
          <a:xfrm>
            <a:off x="3919538" y="2625725"/>
            <a:ext cx="136525" cy="260350"/>
          </a:xfrm>
          <a:custGeom>
            <a:gdLst>
              <a:gd fmla="*/ 2147483647 w 86" name="T0"/>
              <a:gd fmla="*/ 2147483647 h 164" name="T1"/>
              <a:gd fmla="*/ 2147483647 w 86" name="T2"/>
              <a:gd fmla="*/ 2147483647 h 164" name="T3"/>
              <a:gd fmla="*/ 0 w 86" name="T4"/>
              <a:gd fmla="*/ 2147483647 h 164" name="T5"/>
              <a:gd fmla="*/ 2147483647 w 86" name="T6"/>
              <a:gd fmla="*/ 2147483647 h 164" name="T7"/>
              <a:gd fmla="*/ 2147483647 w 86" name="T8"/>
              <a:gd fmla="*/ 0 h 164" name="T9"/>
              <a:gd fmla="*/ 2147483647 w 86" name="T10"/>
              <a:gd fmla="*/ 2147483647 h 164" name="T11"/>
              <a:gd fmla="*/ 2147483647 w 86" name="T12"/>
              <a:gd fmla="*/ 2147483647 h 164" name="T13"/>
              <a:gd fmla="*/ 0 60000 65536" name="T14"/>
              <a:gd fmla="*/ 0 60000 65536" name="T15"/>
              <a:gd fmla="*/ 0 60000 65536" name="T16"/>
              <a:gd fmla="*/ 0 60000 65536" name="T17"/>
              <a:gd fmla="*/ 0 60000 65536" name="T18"/>
              <a:gd fmla="*/ 0 60000 65536" name="T19"/>
              <a:gd fmla="*/ 0 60000 65536" name="T20"/>
            </a:gdLst>
            <a:cxnLst>
              <a:cxn ang="T14">
                <a:pos x="T0" y="T1"/>
              </a:cxn>
              <a:cxn ang="T15">
                <a:pos x="T2" y="T3"/>
              </a:cxn>
              <a:cxn ang="T16">
                <a:pos x="T4" y="T5"/>
              </a:cxn>
              <a:cxn ang="T17">
                <a:pos x="T6" y="T7"/>
              </a:cxn>
              <a:cxn ang="T18">
                <a:pos x="T8" y="T9"/>
              </a:cxn>
              <a:cxn ang="T19">
                <a:pos x="T10" y="T11"/>
              </a:cxn>
              <a:cxn ang="T20">
                <a:pos x="T12" y="T13"/>
              </a:cxn>
            </a:cxnLst>
            <a:rect b="b" l="0" r="r" t="0"/>
            <a:pathLst>
              <a:path h="164" w="86">
                <a:moveTo>
                  <a:pt x="85" y="7"/>
                </a:moveTo>
                <a:lnTo>
                  <a:pt x="24" y="140"/>
                </a:lnTo>
                <a:lnTo>
                  <a:pt x="0" y="164"/>
                </a:lnTo>
                <a:lnTo>
                  <a:pt x="8" y="132"/>
                </a:lnTo>
                <a:lnTo>
                  <a:pt x="67" y="0"/>
                </a:lnTo>
                <a:lnTo>
                  <a:pt x="86" y="5"/>
                </a:lnTo>
                <a:lnTo>
                  <a:pt x="85" y="7"/>
                </a:lnTo>
                <a:close/>
              </a:path>
            </a:pathLst>
          </a:custGeom>
          <a:solidFill>
            <a:srgbClr val="F2F2F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43" name="Freeform 64">
            <a:extLst>
              <a:ext uri="{FF2B5EF4-FFF2-40B4-BE49-F238E27FC236}">
                <a16:creationId xmlns:a16="http://schemas.microsoft.com/office/drawing/2014/main" id="{8C755D95-7709-4312-A817-AD5E1D855C70}"/>
              </a:ext>
            </a:extLst>
          </p:cNvPr>
          <p:cNvSpPr/>
          <p:nvPr/>
        </p:nvSpPr>
        <p:spPr bwMode="auto">
          <a:xfrm>
            <a:off x="3919538" y="2625725"/>
            <a:ext cx="136525" cy="260350"/>
          </a:xfrm>
          <a:custGeom>
            <a:gdLst>
              <a:gd fmla="*/ 2147483647 w 86" name="T0"/>
              <a:gd fmla="*/ 2147483647 h 164" name="T1"/>
              <a:gd fmla="*/ 2147483647 w 86" name="T2"/>
              <a:gd fmla="*/ 2147483647 h 164" name="T3"/>
              <a:gd fmla="*/ 0 w 86" name="T4"/>
              <a:gd fmla="*/ 2147483647 h 164" name="T5"/>
              <a:gd fmla="*/ 2147483647 w 86" name="T6"/>
              <a:gd fmla="*/ 2147483647 h 164" name="T7"/>
              <a:gd fmla="*/ 2147483647 w 86" name="T8"/>
              <a:gd fmla="*/ 0 h 164" name="T9"/>
              <a:gd fmla="*/ 2147483647 w 86" name="T10"/>
              <a:gd fmla="*/ 2147483647 h 164" name="T11"/>
              <a:gd fmla="*/ 0 60000 65536" name="T12"/>
              <a:gd fmla="*/ 0 60000 65536" name="T13"/>
              <a:gd fmla="*/ 0 60000 65536" name="T14"/>
              <a:gd fmla="*/ 0 60000 65536" name="T15"/>
              <a:gd fmla="*/ 0 60000 65536" name="T16"/>
              <a:gd fmla="*/ 0 60000 65536" name="T17"/>
            </a:gdLst>
            <a:cxnLst>
              <a:cxn ang="T12">
                <a:pos x="T0" y="T1"/>
              </a:cxn>
              <a:cxn ang="T13">
                <a:pos x="T2" y="T3"/>
              </a:cxn>
              <a:cxn ang="T14">
                <a:pos x="T4" y="T5"/>
              </a:cxn>
              <a:cxn ang="T15">
                <a:pos x="T6" y="T7"/>
              </a:cxn>
              <a:cxn ang="T16">
                <a:pos x="T8" y="T9"/>
              </a:cxn>
              <a:cxn ang="T17">
                <a:pos x="T10" y="T11"/>
              </a:cxn>
            </a:cxnLst>
            <a:rect b="b" l="0" r="r" t="0"/>
            <a:pathLst>
              <a:path h="164" w="86">
                <a:moveTo>
                  <a:pt x="85" y="7"/>
                </a:moveTo>
                <a:lnTo>
                  <a:pt x="24" y="140"/>
                </a:lnTo>
                <a:lnTo>
                  <a:pt x="0" y="164"/>
                </a:lnTo>
                <a:lnTo>
                  <a:pt x="8" y="132"/>
                </a:lnTo>
                <a:lnTo>
                  <a:pt x="67" y="0"/>
                </a:lnTo>
                <a:lnTo>
                  <a:pt x="86" y="5"/>
                </a:lnTo>
              </a:path>
            </a:pathLst>
          </a:custGeom>
          <a:noFill/>
          <a:ln>
            <a:noFill/>
          </a:ln>
          <a:extLst>
            <a:ext uri="{909E8E84-426E-40DD-AFC4-6F175D3DCCD1}">
              <a14:hiddenFill>
                <a:solidFill>
                  <a:srgbClr val="FFFFFF"/>
                </a:solidFill>
              </a14:hiddenFill>
            </a:ex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44" name="Freeform 65">
            <a:extLst>
              <a:ext uri="{FF2B5EF4-FFF2-40B4-BE49-F238E27FC236}">
                <a16:creationId xmlns:a16="http://schemas.microsoft.com/office/drawing/2014/main" id="{ABD51117-64A6-4D81-A394-4F16B62AFDA6}"/>
              </a:ext>
            </a:extLst>
          </p:cNvPr>
          <p:cNvSpPr/>
          <p:nvPr/>
        </p:nvSpPr>
        <p:spPr bwMode="auto">
          <a:xfrm>
            <a:off x="4038600" y="2538413"/>
            <a:ext cx="15875" cy="42862"/>
          </a:xfrm>
          <a:custGeom>
            <a:gdLst>
              <a:gd fmla="*/ 2147483647 w 13" name="T0"/>
              <a:gd fmla="*/ 2147483647 h 38" name="T1"/>
              <a:gd fmla="*/ 2147483647 w 13" name="T2"/>
              <a:gd fmla="*/ 2147483647 h 38" name="T3"/>
              <a:gd fmla="*/ 2147483647 w 13" name="T4"/>
              <a:gd fmla="*/ 2147483647 h 38" name="T5"/>
              <a:gd fmla="*/ 0 w 13" name="T6"/>
              <a:gd fmla="*/ 2147483647 h 38" name="T7"/>
              <a:gd fmla="*/ 0 w 13" name="T8"/>
              <a:gd fmla="*/ 2147483647 h 38" name="T9"/>
              <a:gd fmla="*/ 2147483647 w 13" name="T10"/>
              <a:gd fmla="*/ 0 h 38" name="T11"/>
              <a:gd fmla="*/ 2147483647 w 13" name="T12"/>
              <a:gd fmla="*/ 0 h 38" name="T13"/>
              <a:gd fmla="*/ 2147483647 w 13" name="T14"/>
              <a:gd fmla="*/ 2147483647 h 38" name="T15"/>
              <a:gd fmla="*/ 2147483647 w 13" name="T16"/>
              <a:gd fmla="*/ 2147483647 h 38" name="T17"/>
              <a:gd fmla="*/ 0 60000 65536" name="T18"/>
              <a:gd fmla="*/ 0 60000 65536" name="T19"/>
              <a:gd fmla="*/ 0 60000 65536" name="T20"/>
              <a:gd fmla="*/ 0 60000 65536" name="T21"/>
              <a:gd fmla="*/ 0 60000 65536" name="T22"/>
              <a:gd fmla="*/ 0 60000 65536" name="T23"/>
              <a:gd fmla="*/ 0 60000 65536" name="T24"/>
              <a:gd fmla="*/ 0 60000 65536" name="T25"/>
              <a:gd fmla="*/ 0 60000 65536" name="T26"/>
            </a:gd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b="b" l="0" r="r" t="0"/>
            <a:pathLst>
              <a:path h="38" w="13">
                <a:moveTo>
                  <a:pt x="13" y="32"/>
                </a:moveTo>
                <a:cubicBezTo>
                  <a:pt x="13" y="35"/>
                  <a:pt x="10" y="38"/>
                  <a:pt x="7" y="38"/>
                </a:cubicBezTo>
                <a:cubicBezTo>
                  <a:pt x="7" y="38"/>
                  <a:pt x="7" y="38"/>
                  <a:pt x="7" y="38"/>
                </a:cubicBezTo>
                <a:cubicBezTo>
                  <a:pt x="3" y="38"/>
                  <a:pt x="0" y="35"/>
                  <a:pt x="0" y="32"/>
                </a:cubicBezTo>
                <a:cubicBezTo>
                  <a:pt x="0" y="6"/>
                  <a:pt x="0" y="6"/>
                  <a:pt x="0" y="6"/>
                </a:cubicBezTo>
                <a:cubicBezTo>
                  <a:pt x="0" y="2"/>
                  <a:pt x="3" y="0"/>
                  <a:pt x="7" y="0"/>
                </a:cubicBezTo>
                <a:cubicBezTo>
                  <a:pt x="7" y="0"/>
                  <a:pt x="7" y="0"/>
                  <a:pt x="7" y="0"/>
                </a:cubicBezTo>
                <a:cubicBezTo>
                  <a:pt x="10" y="0"/>
                  <a:pt x="13" y="2"/>
                  <a:pt x="13" y="6"/>
                </a:cubicBezTo>
                <a:lnTo>
                  <a:pt x="13" y="32"/>
                </a:lnTo>
                <a:close/>
              </a:path>
            </a:pathLst>
          </a:custGeom>
          <a:solidFill>
            <a:srgbClr val="F2F2F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45" name="Freeform 71">
            <a:extLst>
              <a:ext uri="{FF2B5EF4-FFF2-40B4-BE49-F238E27FC236}">
                <a16:creationId xmlns:a16="http://schemas.microsoft.com/office/drawing/2014/main" id="{F8AE9813-2109-44F0-B208-7CE400895768}"/>
              </a:ext>
            </a:extLst>
          </p:cNvPr>
          <p:cNvSpPr>
            <a:spLocks noEditPoints="1"/>
          </p:cNvSpPr>
          <p:nvPr/>
        </p:nvSpPr>
        <p:spPr bwMode="auto">
          <a:xfrm>
            <a:off x="2678113" y="2179638"/>
            <a:ext cx="146050" cy="144462"/>
          </a:xfrm>
          <a:custGeom>
            <a:gdLst>
              <a:gd fmla="*/ 2147483647 w 126" name="T0"/>
              <a:gd fmla="*/ 0 h 126" name="T1"/>
              <a:gd fmla="*/ 0 w 126" name="T2"/>
              <a:gd fmla="*/ 2147483647 h 126" name="T3"/>
              <a:gd fmla="*/ 2147483647 w 126" name="T4"/>
              <a:gd fmla="*/ 2147483647 h 126" name="T5"/>
              <a:gd fmla="*/ 2147483647 w 126" name="T6"/>
              <a:gd fmla="*/ 2147483647 h 126" name="T7"/>
              <a:gd fmla="*/ 2147483647 w 126" name="T8"/>
              <a:gd fmla="*/ 0 h 126" name="T9"/>
              <a:gd fmla="*/ 2147483647 w 126" name="T10"/>
              <a:gd fmla="*/ 2147483647 h 126" name="T11"/>
              <a:gd fmla="*/ 2147483647 w 126" name="T12"/>
              <a:gd fmla="*/ 2147483647 h 126" name="T13"/>
              <a:gd fmla="*/ 2147483647 w 126" name="T14"/>
              <a:gd fmla="*/ 2147483647 h 126" name="T15"/>
              <a:gd fmla="*/ 2147483647 w 126" name="T16"/>
              <a:gd fmla="*/ 2147483647 h 126" name="T17"/>
              <a:gd fmla="*/ 2147483647 w 126" name="T18"/>
              <a:gd fmla="*/ 2147483647 h 126" name="T19"/>
              <a:gd fmla="*/ 0 60000 65536" name="T20"/>
              <a:gd fmla="*/ 0 60000 65536" name="T21"/>
              <a:gd fmla="*/ 0 60000 65536" name="T22"/>
              <a:gd fmla="*/ 0 60000 65536" name="T23"/>
              <a:gd fmla="*/ 0 60000 65536" name="T24"/>
              <a:gd fmla="*/ 0 60000 65536" name="T25"/>
              <a:gd fmla="*/ 0 60000 65536" name="T26"/>
              <a:gd fmla="*/ 0 60000 65536" name="T27"/>
              <a:gd fmla="*/ 0 60000 65536" name="T28"/>
              <a:gd fmla="*/ 0 60000 65536" name="T29"/>
            </a:gd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b="b" l="0" r="r" t="0"/>
            <a:pathLst>
              <a:path h="125" w="125">
                <a:moveTo>
                  <a:pt x="63" y="0"/>
                </a:moveTo>
                <a:cubicBezTo>
                  <a:pt x="29" y="0"/>
                  <a:pt x="0" y="28"/>
                  <a:pt x="0" y="63"/>
                </a:cubicBezTo>
                <a:cubicBezTo>
                  <a:pt x="0" y="98"/>
                  <a:pt x="29" y="126"/>
                  <a:pt x="63" y="126"/>
                </a:cubicBezTo>
                <a:cubicBezTo>
                  <a:pt x="98" y="126"/>
                  <a:pt x="126" y="98"/>
                  <a:pt x="126" y="63"/>
                </a:cubicBezTo>
                <a:cubicBezTo>
                  <a:pt x="126" y="28"/>
                  <a:pt x="98" y="0"/>
                  <a:pt x="63" y="0"/>
                </a:cubicBezTo>
                <a:close/>
                <a:moveTo>
                  <a:pt x="63" y="114"/>
                </a:moveTo>
                <a:cubicBezTo>
                  <a:pt x="35" y="114"/>
                  <a:pt x="12" y="91"/>
                  <a:pt x="12" y="63"/>
                </a:cubicBezTo>
                <a:cubicBezTo>
                  <a:pt x="12" y="35"/>
                  <a:pt x="35" y="12"/>
                  <a:pt x="63" y="12"/>
                </a:cubicBezTo>
                <a:cubicBezTo>
                  <a:pt x="92" y="12"/>
                  <a:pt x="115" y="35"/>
                  <a:pt x="115" y="63"/>
                </a:cubicBezTo>
                <a:cubicBezTo>
                  <a:pt x="115" y="91"/>
                  <a:pt x="92" y="114"/>
                  <a:pt x="63" y="114"/>
                </a:cubicBezTo>
                <a:close/>
              </a:path>
            </a:pathLst>
          </a:custGeom>
          <a:solidFill>
            <a:srgbClr val="F2F2F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46" name="Rectangle 72">
            <a:extLst>
              <a:ext uri="{FF2B5EF4-FFF2-40B4-BE49-F238E27FC236}">
                <a16:creationId xmlns:a16="http://schemas.microsoft.com/office/drawing/2014/main" id="{60BD68EF-3878-49B8-802F-4D17EB8D7817}"/>
              </a:ext>
            </a:extLst>
          </p:cNvPr>
          <p:cNvSpPr>
            <a:spLocks noChangeArrowheads="1"/>
          </p:cNvSpPr>
          <p:nvPr/>
        </p:nvSpPr>
        <p:spPr bwMode="auto">
          <a:xfrm>
            <a:off x="2741613" y="2316163"/>
            <a:ext cx="20637" cy="71437"/>
          </a:xfrm>
          <a:prstGeom prst="rect">
            <a:avLst/>
          </a:prstGeom>
          <a:solidFill>
            <a:srgbClr val="F2F2F2"/>
          </a:solidFill>
          <a:ln>
            <a:noFill/>
          </a:ln>
          <a:extLst>
            <a:ext uri="{91240B29-F687-4F45-9708-019B960494DF}">
              <a14:hiddenLine w="9525">
                <a:solidFill>
                  <a:srgbClr val="000000"/>
                </a:solidFill>
                <a:miter lim="800000"/>
                <a:headEnd/>
                <a:tailEnd/>
              </a14:hiddenLine>
            </a:ext>
          </a:extLst>
        </p:spPr>
        <p:txBody>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47" name="Freeform 73">
            <a:extLst>
              <a:ext uri="{FF2B5EF4-FFF2-40B4-BE49-F238E27FC236}">
                <a16:creationId xmlns:a16="http://schemas.microsoft.com/office/drawing/2014/main" id="{92BAFA79-3C3F-47AE-B3A7-2E1F5FC92859}"/>
              </a:ext>
            </a:extLst>
          </p:cNvPr>
          <p:cNvSpPr/>
          <p:nvPr/>
        </p:nvSpPr>
        <p:spPr bwMode="auto">
          <a:xfrm>
            <a:off x="2736850" y="2339975"/>
            <a:ext cx="30163" cy="98425"/>
          </a:xfrm>
          <a:custGeom>
            <a:gdLst>
              <a:gd fmla="*/ 2147483647 w 27" name="T0"/>
              <a:gd fmla="*/ 2147483647 h 85" name="T1"/>
              <a:gd fmla="*/ 2147483647 w 27" name="T2"/>
              <a:gd fmla="*/ 2147483647 h 85" name="T3"/>
              <a:gd fmla="*/ 0 w 27" name="T4"/>
              <a:gd fmla="*/ 2147483647 h 85" name="T5"/>
              <a:gd fmla="*/ 0 w 27" name="T6"/>
              <a:gd fmla="*/ 2147483647 h 85" name="T7"/>
              <a:gd fmla="*/ 2147483647 w 27" name="T8"/>
              <a:gd fmla="*/ 0 h 85" name="T9"/>
              <a:gd fmla="*/ 2147483647 w 27" name="T10"/>
              <a:gd fmla="*/ 2147483647 h 85" name="T11"/>
              <a:gd fmla="*/ 2147483647 w 27" name="T12"/>
              <a:gd fmla="*/ 2147483647 h 85" name="T13"/>
              <a:gd fmla="*/ 0 60000 65536" name="T14"/>
              <a:gd fmla="*/ 0 60000 65536" name="T15"/>
              <a:gd fmla="*/ 0 60000 65536" name="T16"/>
              <a:gd fmla="*/ 0 60000 65536" name="T17"/>
              <a:gd fmla="*/ 0 60000 65536" name="T18"/>
              <a:gd fmla="*/ 0 60000 65536" name="T19"/>
              <a:gd fmla="*/ 0 60000 65536" name="T20"/>
            </a:gdLst>
            <a:cxnLst>
              <a:cxn ang="T14">
                <a:pos x="T0" y="T1"/>
              </a:cxn>
              <a:cxn ang="T15">
                <a:pos x="T2" y="T3"/>
              </a:cxn>
              <a:cxn ang="T16">
                <a:pos x="T4" y="T5"/>
              </a:cxn>
              <a:cxn ang="T17">
                <a:pos x="T6" y="T7"/>
              </a:cxn>
              <a:cxn ang="T18">
                <a:pos x="T8" y="T9"/>
              </a:cxn>
              <a:cxn ang="T19">
                <a:pos x="T10" y="T11"/>
              </a:cxn>
              <a:cxn ang="T20">
                <a:pos x="T12" y="T13"/>
              </a:cxn>
            </a:cxnLst>
            <a:rect b="b" l="0" r="r" t="0"/>
            <a:pathLst>
              <a:path h="85" w="27">
                <a:moveTo>
                  <a:pt x="27" y="71"/>
                </a:moveTo>
                <a:cubicBezTo>
                  <a:pt x="27" y="79"/>
                  <a:pt x="21" y="85"/>
                  <a:pt x="13" y="85"/>
                </a:cubicBezTo>
                <a:cubicBezTo>
                  <a:pt x="6" y="85"/>
                  <a:pt x="0" y="79"/>
                  <a:pt x="0" y="71"/>
                </a:cubicBezTo>
                <a:cubicBezTo>
                  <a:pt x="0" y="13"/>
                  <a:pt x="0" y="13"/>
                  <a:pt x="0" y="13"/>
                </a:cubicBezTo>
                <a:cubicBezTo>
                  <a:pt x="0" y="6"/>
                  <a:pt x="6" y="0"/>
                  <a:pt x="13" y="0"/>
                </a:cubicBezTo>
                <a:cubicBezTo>
                  <a:pt x="21" y="0"/>
                  <a:pt x="27" y="6"/>
                  <a:pt x="27" y="13"/>
                </a:cubicBezTo>
                <a:lnTo>
                  <a:pt x="27" y="71"/>
                </a:lnTo>
                <a:close/>
              </a:path>
            </a:pathLst>
          </a:custGeom>
          <a:solidFill>
            <a:srgbClr val="F2F2F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48" name="Freeform 74">
            <a:extLst>
              <a:ext uri="{FF2B5EF4-FFF2-40B4-BE49-F238E27FC236}">
                <a16:creationId xmlns:a16="http://schemas.microsoft.com/office/drawing/2014/main" id="{1AC9E445-2EDB-4B72-8A35-985E6BACDC86}"/>
              </a:ext>
            </a:extLst>
          </p:cNvPr>
          <p:cNvSpPr>
            <a:spLocks noEditPoints="1"/>
          </p:cNvSpPr>
          <p:nvPr/>
        </p:nvSpPr>
        <p:spPr bwMode="auto">
          <a:xfrm>
            <a:off x="2581275" y="2855913"/>
            <a:ext cx="146050" cy="277812"/>
          </a:xfrm>
          <a:custGeom>
            <a:gdLst>
              <a:gd fmla="*/ 0 w 92" name="T0"/>
              <a:gd fmla="*/ 0 h 175" name="T1"/>
              <a:gd fmla="*/ 0 w 92" name="T2"/>
              <a:gd fmla="*/ 2147483647 h 175" name="T3"/>
              <a:gd fmla="*/ 2147483647 w 92" name="T4"/>
              <a:gd fmla="*/ 2147483647 h 175" name="T5"/>
              <a:gd fmla="*/ 0 w 92" name="T6"/>
              <a:gd fmla="*/ 0 h 175" name="T7"/>
              <a:gd fmla="*/ 2147483647 w 92" name="T8"/>
              <a:gd fmla="*/ 2147483647 h 175" name="T9"/>
              <a:gd fmla="*/ 2147483647 w 92" name="T10"/>
              <a:gd fmla="*/ 2147483647 h 175" name="T11"/>
              <a:gd fmla="*/ 2147483647 w 92" name="T12"/>
              <a:gd fmla="*/ 2147483647 h 175" name="T13"/>
              <a:gd fmla="*/ 2147483647 w 92" name="T14"/>
              <a:gd fmla="*/ 2147483647 h 175" name="T15"/>
              <a:gd fmla="*/ 0 60000 65536" name="T16"/>
              <a:gd fmla="*/ 0 60000 65536" name="T17"/>
              <a:gd fmla="*/ 0 60000 65536" name="T18"/>
              <a:gd fmla="*/ 0 60000 65536" name="T19"/>
              <a:gd fmla="*/ 0 60000 65536" name="T20"/>
              <a:gd fmla="*/ 0 60000 65536" name="T21"/>
              <a:gd fmla="*/ 0 60000 65536" name="T22"/>
              <a:gd fmla="*/ 0 60000 65536" name="T23"/>
            </a:gdLst>
            <a:cxnLst>
              <a:cxn ang="T16">
                <a:pos x="T0" y="T1"/>
              </a:cxn>
              <a:cxn ang="T17">
                <a:pos x="T2" y="T3"/>
              </a:cxn>
              <a:cxn ang="T18">
                <a:pos x="T4" y="T5"/>
              </a:cxn>
              <a:cxn ang="T19">
                <a:pos x="T6" y="T7"/>
              </a:cxn>
              <a:cxn ang="T20">
                <a:pos x="T8" y="T9"/>
              </a:cxn>
              <a:cxn ang="T21">
                <a:pos x="T10" y="T11"/>
              </a:cxn>
              <a:cxn ang="T22">
                <a:pos x="T12" y="T13"/>
              </a:cxn>
              <a:cxn ang="T23">
                <a:pos x="T14" y="T15"/>
              </a:cxn>
            </a:cxnLst>
            <a:rect b="b" l="0" r="r" t="0"/>
            <a:pathLst>
              <a:path h="175" w="92">
                <a:moveTo>
                  <a:pt x="0" y="0"/>
                </a:moveTo>
                <a:lnTo>
                  <a:pt x="0" y="175"/>
                </a:lnTo>
                <a:lnTo>
                  <a:pt x="92" y="175"/>
                </a:lnTo>
                <a:lnTo>
                  <a:pt x="0" y="0"/>
                </a:lnTo>
                <a:close/>
                <a:moveTo>
                  <a:pt x="13" y="68"/>
                </a:moveTo>
                <a:lnTo>
                  <a:pt x="62" y="152"/>
                </a:lnTo>
                <a:lnTo>
                  <a:pt x="13" y="152"/>
                </a:lnTo>
                <a:lnTo>
                  <a:pt x="13" y="68"/>
                </a:lnTo>
                <a:close/>
              </a:path>
            </a:pathLst>
          </a:custGeom>
          <a:solidFill>
            <a:srgbClr val="F2F2F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49" name="Rectangle 75">
            <a:extLst>
              <a:ext uri="{FF2B5EF4-FFF2-40B4-BE49-F238E27FC236}">
                <a16:creationId xmlns:a16="http://schemas.microsoft.com/office/drawing/2014/main" id="{8434291B-589C-4451-B14D-7DC58E9CCDEC}"/>
              </a:ext>
            </a:extLst>
          </p:cNvPr>
          <p:cNvSpPr>
            <a:spLocks noChangeArrowheads="1"/>
          </p:cNvSpPr>
          <p:nvPr/>
        </p:nvSpPr>
        <p:spPr bwMode="auto">
          <a:xfrm>
            <a:off x="2506663" y="2854325"/>
            <a:ext cx="38100" cy="273050"/>
          </a:xfrm>
          <a:prstGeom prst="rect">
            <a:avLst/>
          </a:prstGeom>
          <a:solidFill>
            <a:srgbClr val="F2F2F2"/>
          </a:solidFill>
          <a:ln>
            <a:noFill/>
          </a:ln>
          <a:extLst>
            <a:ext uri="{91240B29-F687-4F45-9708-019B960494DF}">
              <a14:hiddenLine w="9525">
                <a:solidFill>
                  <a:srgbClr val="000000"/>
                </a:solidFill>
                <a:miter lim="800000"/>
                <a:headEnd/>
                <a:tailEnd/>
              </a14:hiddenLine>
            </a:ext>
          </a:extLst>
        </p:spPr>
        <p:txBody>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50" name="Freeform 76">
            <a:extLst>
              <a:ext uri="{FF2B5EF4-FFF2-40B4-BE49-F238E27FC236}">
                <a16:creationId xmlns:a16="http://schemas.microsoft.com/office/drawing/2014/main" id="{29C21106-3A50-4771-9F0C-9A2C8534B324}"/>
              </a:ext>
            </a:extLst>
          </p:cNvPr>
          <p:cNvSpPr>
            <a:spLocks noEditPoints="1"/>
          </p:cNvSpPr>
          <p:nvPr/>
        </p:nvSpPr>
        <p:spPr bwMode="auto">
          <a:xfrm>
            <a:off x="2028825" y="2373313"/>
            <a:ext cx="250825" cy="252412"/>
          </a:xfrm>
          <a:custGeom>
            <a:gdLst>
              <a:gd fmla="*/ 2147483647 w 217" name="T0"/>
              <a:gd fmla="*/ 2147483647 h 219" name="T1"/>
              <a:gd fmla="*/ 2147483647 w 217" name="T2"/>
              <a:gd fmla="*/ 2147483647 h 219" name="T3"/>
              <a:gd fmla="*/ 2147483647 w 217" name="T4"/>
              <a:gd fmla="*/ 2147483647 h 219" name="T5"/>
              <a:gd fmla="*/ 2147483647 w 217" name="T6"/>
              <a:gd fmla="*/ 2147483647 h 219" name="T7"/>
              <a:gd fmla="*/ 2147483647 w 217" name="T8"/>
              <a:gd fmla="*/ 2147483647 h 219" name="T9"/>
              <a:gd fmla="*/ 2147483647 w 217" name="T10"/>
              <a:gd fmla="*/ 2147483647 h 219" name="T11"/>
              <a:gd fmla="*/ 2147483647 w 217" name="T12"/>
              <a:gd fmla="*/ 2147483647 h 219" name="T13"/>
              <a:gd fmla="*/ 2147483647 w 217" name="T14"/>
              <a:gd fmla="*/ 2147483647 h 219" name="T15"/>
              <a:gd fmla="*/ 2147483647 w 217" name="T16"/>
              <a:gd fmla="*/ 0 h 219" name="T17"/>
              <a:gd fmla="*/ 2147483647 w 217" name="T18"/>
              <a:gd fmla="*/ 2147483647 h 219" name="T19"/>
              <a:gd fmla="*/ 2147483647 w 217" name="T20"/>
              <a:gd fmla="*/ 2147483647 h 219" name="T21"/>
              <a:gd fmla="*/ 2147483647 w 217" name="T22"/>
              <a:gd fmla="*/ 2147483647 h 219" name="T23"/>
              <a:gd fmla="*/ 2147483647 w 217" name="T24"/>
              <a:gd fmla="*/ 2147483647 h 219" name="T25"/>
              <a:gd fmla="*/ 2147483647 w 217" name="T26"/>
              <a:gd fmla="*/ 2147483647 h 219" name="T27"/>
              <a:gd fmla="*/ 2147483647 w 217" name="T28"/>
              <a:gd fmla="*/ 2147483647 h 219" name="T29"/>
              <a:gd fmla="*/ 2147483647 w 217" name="T30"/>
              <a:gd fmla="*/ 2147483647 h 219" name="T31"/>
              <a:gd fmla="*/ 2147483647 w 217" name="T32"/>
              <a:gd fmla="*/ 2147483647 h 219" name="T33"/>
              <a:gd fmla="*/ 2147483647 w 217" name="T34"/>
              <a:gd fmla="*/ 2147483647 h 219" name="T35"/>
              <a:gd fmla="*/ 2147483647 w 217" name="T36"/>
              <a:gd fmla="*/ 2147483647 h 219" name="T37"/>
              <a:gd fmla="*/ 2147483647 w 217" name="T38"/>
              <a:gd fmla="*/ 2147483647 h 219" name="T39"/>
              <a:gd fmla="*/ 2147483647 w 217" name="T40"/>
              <a:gd fmla="*/ 2147483647 h 219" name="T41"/>
              <a:gd fmla="*/ 2147483647 w 217" name="T42"/>
              <a:gd fmla="*/ 2147483647 h 219" name="T43"/>
              <a:gd fmla="*/ 2147483647 w 217" name="T44"/>
              <a:gd fmla="*/ 2147483647 h 219" name="T45"/>
              <a:gd fmla="*/ 2147483647 w 217" name="T46"/>
              <a:gd fmla="*/ 2147483647 h 219" name="T47"/>
              <a:gd fmla="*/ 2147483647 w 217" name="T48"/>
              <a:gd fmla="*/ 2147483647 h 219" name="T49"/>
              <a:gd fmla="*/ 2147483647 w 217" name="T50"/>
              <a:gd fmla="*/ 2147483647 h 219" name="T51"/>
              <a:gd fmla="*/ 0 60000 65536" name="T52"/>
              <a:gd fmla="*/ 0 60000 65536" name="T53"/>
              <a:gd fmla="*/ 0 60000 65536" name="T54"/>
              <a:gd fmla="*/ 0 60000 65536" name="T55"/>
              <a:gd fmla="*/ 0 60000 65536" name="T56"/>
              <a:gd fmla="*/ 0 60000 65536" name="T57"/>
              <a:gd fmla="*/ 0 60000 65536" name="T58"/>
              <a:gd fmla="*/ 0 60000 65536" name="T59"/>
              <a:gd fmla="*/ 0 60000 65536" name="T60"/>
              <a:gd fmla="*/ 0 60000 65536" name="T61"/>
              <a:gd fmla="*/ 0 60000 65536" name="T62"/>
              <a:gd fmla="*/ 0 60000 65536" name="T63"/>
              <a:gd fmla="*/ 0 60000 65536" name="T64"/>
              <a:gd fmla="*/ 0 60000 65536" name="T65"/>
              <a:gd fmla="*/ 0 60000 65536" name="T66"/>
              <a:gd fmla="*/ 0 60000 65536" name="T67"/>
              <a:gd fmla="*/ 0 60000 65536" name="T68"/>
              <a:gd fmla="*/ 0 60000 65536" name="T69"/>
              <a:gd fmla="*/ 0 60000 65536" name="T70"/>
              <a:gd fmla="*/ 0 60000 65536" name="T71"/>
              <a:gd fmla="*/ 0 60000 65536" name="T72"/>
              <a:gd fmla="*/ 0 60000 65536" name="T73"/>
              <a:gd fmla="*/ 0 60000 65536" name="T74"/>
              <a:gd fmla="*/ 0 60000 65536" name="T75"/>
              <a:gd fmla="*/ 0 60000 65536" name="T76"/>
              <a:gd fmla="*/ 0 60000 65536" name="T77"/>
            </a:gd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b="b" l="0" r="r" t="0"/>
            <a:pathLst>
              <a:path h="219" w="216">
                <a:moveTo>
                  <a:pt x="139" y="105"/>
                </a:moveTo>
                <a:cubicBezTo>
                  <a:pt x="139" y="105"/>
                  <a:pt x="134" y="103"/>
                  <a:pt x="134" y="93"/>
                </a:cubicBezTo>
                <a:cubicBezTo>
                  <a:pt x="134" y="84"/>
                  <a:pt x="134" y="52"/>
                  <a:pt x="134" y="42"/>
                </a:cubicBezTo>
                <a:cubicBezTo>
                  <a:pt x="137" y="40"/>
                  <a:pt x="139" y="37"/>
                  <a:pt x="139" y="35"/>
                </a:cubicBezTo>
                <a:cubicBezTo>
                  <a:pt x="140" y="35"/>
                  <a:pt x="140" y="35"/>
                  <a:pt x="140" y="35"/>
                </a:cubicBezTo>
                <a:cubicBezTo>
                  <a:pt x="140" y="12"/>
                  <a:pt x="140" y="12"/>
                  <a:pt x="140" y="12"/>
                </a:cubicBezTo>
                <a:cubicBezTo>
                  <a:pt x="139" y="12"/>
                  <a:pt x="139" y="12"/>
                  <a:pt x="139" y="12"/>
                </a:cubicBezTo>
                <a:cubicBezTo>
                  <a:pt x="139" y="12"/>
                  <a:pt x="139" y="12"/>
                  <a:pt x="139" y="12"/>
                </a:cubicBezTo>
                <a:cubicBezTo>
                  <a:pt x="139" y="5"/>
                  <a:pt x="125" y="0"/>
                  <a:pt x="108" y="0"/>
                </a:cubicBezTo>
                <a:cubicBezTo>
                  <a:pt x="91" y="0"/>
                  <a:pt x="77" y="5"/>
                  <a:pt x="77" y="12"/>
                </a:cubicBezTo>
                <a:cubicBezTo>
                  <a:pt x="77" y="12"/>
                  <a:pt x="77" y="12"/>
                  <a:pt x="77" y="12"/>
                </a:cubicBezTo>
                <a:cubicBezTo>
                  <a:pt x="76" y="12"/>
                  <a:pt x="76" y="12"/>
                  <a:pt x="76" y="12"/>
                </a:cubicBezTo>
                <a:cubicBezTo>
                  <a:pt x="76" y="35"/>
                  <a:pt x="76" y="35"/>
                  <a:pt x="76" y="35"/>
                </a:cubicBezTo>
                <a:cubicBezTo>
                  <a:pt x="77" y="35"/>
                  <a:pt x="77" y="35"/>
                  <a:pt x="77" y="35"/>
                </a:cubicBezTo>
                <a:cubicBezTo>
                  <a:pt x="77" y="38"/>
                  <a:pt x="79" y="40"/>
                  <a:pt x="86" y="42"/>
                </a:cubicBezTo>
                <a:cubicBezTo>
                  <a:pt x="86" y="53"/>
                  <a:pt x="86" y="85"/>
                  <a:pt x="86" y="93"/>
                </a:cubicBezTo>
                <a:cubicBezTo>
                  <a:pt x="86" y="103"/>
                  <a:pt x="79" y="105"/>
                  <a:pt x="79" y="105"/>
                </a:cubicBezTo>
                <a:cubicBezTo>
                  <a:pt x="67" y="112"/>
                  <a:pt x="0" y="180"/>
                  <a:pt x="29" y="200"/>
                </a:cubicBezTo>
                <a:cubicBezTo>
                  <a:pt x="56" y="219"/>
                  <a:pt x="100" y="218"/>
                  <a:pt x="108" y="218"/>
                </a:cubicBezTo>
                <a:cubicBezTo>
                  <a:pt x="117" y="218"/>
                  <a:pt x="161" y="219"/>
                  <a:pt x="187" y="200"/>
                </a:cubicBezTo>
                <a:cubicBezTo>
                  <a:pt x="217" y="180"/>
                  <a:pt x="150" y="112"/>
                  <a:pt x="139" y="105"/>
                </a:cubicBezTo>
                <a:close/>
                <a:moveTo>
                  <a:pt x="137" y="201"/>
                </a:moveTo>
                <a:cubicBezTo>
                  <a:pt x="137" y="201"/>
                  <a:pt x="170" y="195"/>
                  <a:pt x="172" y="177"/>
                </a:cubicBezTo>
                <a:cubicBezTo>
                  <a:pt x="173" y="159"/>
                  <a:pt x="142" y="126"/>
                  <a:pt x="142" y="126"/>
                </a:cubicBezTo>
                <a:cubicBezTo>
                  <a:pt x="142" y="126"/>
                  <a:pt x="183" y="158"/>
                  <a:pt x="183" y="179"/>
                </a:cubicBezTo>
                <a:cubicBezTo>
                  <a:pt x="182" y="201"/>
                  <a:pt x="137" y="201"/>
                  <a:pt x="137" y="201"/>
                </a:cubicBezTo>
                <a:close/>
              </a:path>
            </a:pathLst>
          </a:custGeom>
          <a:solidFill>
            <a:srgbClr val="F2F2F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51" name="Freeform 77">
            <a:extLst>
              <a:ext uri="{FF2B5EF4-FFF2-40B4-BE49-F238E27FC236}">
                <a16:creationId xmlns:a16="http://schemas.microsoft.com/office/drawing/2014/main" id="{47CD2877-4F61-42E0-B9CA-E145F9E7EA60}"/>
              </a:ext>
            </a:extLst>
          </p:cNvPr>
          <p:cNvSpPr>
            <a:spLocks noEditPoints="1"/>
          </p:cNvSpPr>
          <p:nvPr/>
        </p:nvSpPr>
        <p:spPr bwMode="auto">
          <a:xfrm>
            <a:off x="1627188" y="2940050"/>
            <a:ext cx="401637" cy="263525"/>
          </a:xfrm>
          <a:custGeom>
            <a:gdLst>
              <a:gd fmla="*/ 2147483647 w 349" name="T0"/>
              <a:gd fmla="*/ 2147483647 h 229" name="T1"/>
              <a:gd fmla="*/ 2147483647 w 349" name="T2"/>
              <a:gd fmla="*/ 0 h 229" name="T3"/>
              <a:gd fmla="*/ 2147483647 w 349" name="T4"/>
              <a:gd fmla="*/ 2147483647 h 229" name="T5"/>
              <a:gd fmla="*/ 2147483647 w 349" name="T6"/>
              <a:gd fmla="*/ 2147483647 h 229" name="T7"/>
              <a:gd fmla="*/ 2147483647 w 349" name="T8"/>
              <a:gd fmla="*/ 2147483647 h 229" name="T9"/>
              <a:gd fmla="*/ 2147483647 w 349" name="T10"/>
              <a:gd fmla="*/ 2147483647 h 229" name="T11"/>
              <a:gd fmla="*/ 2147483647 w 349" name="T12"/>
              <a:gd fmla="*/ 2147483647 h 229" name="T13"/>
              <a:gd fmla="*/ 2147483647 w 349" name="T14"/>
              <a:gd fmla="*/ 2147483647 h 229" name="T15"/>
              <a:gd fmla="*/ 2147483647 w 349" name="T16"/>
              <a:gd fmla="*/ 2147483647 h 229" name="T17"/>
              <a:gd fmla="*/ 2147483647 w 349" name="T18"/>
              <a:gd fmla="*/ 2147483647 h 229" name="T19"/>
              <a:gd fmla="*/ 2147483647 w 349" name="T20"/>
              <a:gd fmla="*/ 2147483647 h 229" name="T21"/>
              <a:gd fmla="*/ 2147483647 w 349" name="T22"/>
              <a:gd fmla="*/ 2147483647 h 229" name="T23"/>
              <a:gd fmla="*/ 2147483647 w 349" name="T24"/>
              <a:gd fmla="*/ 2147483647 h 229" name="T25"/>
              <a:gd fmla="*/ 2147483647 w 349" name="T26"/>
              <a:gd fmla="*/ 2147483647 h 229" name="T27"/>
              <a:gd fmla="*/ 2147483647 w 349" name="T28"/>
              <a:gd fmla="*/ 2147483647 h 229" name="T29"/>
              <a:gd fmla="*/ 2147483647 w 349" name="T30"/>
              <a:gd fmla="*/ 2147483647 h 229" name="T31"/>
              <a:gd fmla="*/ 2147483647 w 349" name="T32"/>
              <a:gd fmla="*/ 2147483647 h 229" name="T33"/>
              <a:gd fmla="*/ 2147483647 w 349" name="T34"/>
              <a:gd fmla="*/ 2147483647 h 229" name="T35"/>
              <a:gd fmla="*/ 2147483647 w 349" name="T36"/>
              <a:gd fmla="*/ 2147483647 h 229" name="T37"/>
              <a:gd fmla="*/ 2147483647 w 349" name="T38"/>
              <a:gd fmla="*/ 2147483647 h 229" name="T39"/>
              <a:gd fmla="*/ 2147483647 w 349" name="T40"/>
              <a:gd fmla="*/ 2147483647 h 229" name="T41"/>
              <a:gd fmla="*/ 2147483647 w 349" name="T42"/>
              <a:gd fmla="*/ 2147483647 h 229" name="T43"/>
              <a:gd fmla="*/ 2147483647 w 349" name="T44"/>
              <a:gd fmla="*/ 2147483647 h 229" name="T45"/>
              <a:gd fmla="*/ 2147483647 w 349" name="T46"/>
              <a:gd fmla="*/ 2147483647 h 229" name="T47"/>
              <a:gd fmla="*/ 2147483647 w 349" name="T48"/>
              <a:gd fmla="*/ 2147483647 h 229" name="T49"/>
              <a:gd fmla="*/ 2147483647 w 349" name="T50"/>
              <a:gd fmla="*/ 2147483647 h 229" name="T51"/>
              <a:gd fmla="*/ 2147483647 w 349" name="T52"/>
              <a:gd fmla="*/ 2147483647 h 229" name="T53"/>
              <a:gd fmla="*/ 2147483647 w 349" name="T54"/>
              <a:gd fmla="*/ 2147483647 h 229" name="T55"/>
              <a:gd fmla="*/ 2147483647 w 349" name="T56"/>
              <a:gd fmla="*/ 2147483647 h 229" name="T57"/>
              <a:gd fmla="*/ 2147483647 w 349" name="T58"/>
              <a:gd fmla="*/ 2147483647 h 229" name="T59"/>
              <a:gd fmla="*/ 0 60000 65536" name="T60"/>
              <a:gd fmla="*/ 0 60000 65536" name="T61"/>
              <a:gd fmla="*/ 0 60000 65536" name="T62"/>
              <a:gd fmla="*/ 0 60000 65536" name="T63"/>
              <a:gd fmla="*/ 0 60000 65536" name="T64"/>
              <a:gd fmla="*/ 0 60000 65536" name="T65"/>
              <a:gd fmla="*/ 0 60000 65536" name="T66"/>
              <a:gd fmla="*/ 0 60000 65536" name="T67"/>
              <a:gd fmla="*/ 0 60000 65536" name="T68"/>
              <a:gd fmla="*/ 0 60000 65536" name="T69"/>
              <a:gd fmla="*/ 0 60000 65536" name="T70"/>
              <a:gd fmla="*/ 0 60000 65536" name="T71"/>
              <a:gd fmla="*/ 0 60000 65536" name="T72"/>
              <a:gd fmla="*/ 0 60000 65536" name="T73"/>
              <a:gd fmla="*/ 0 60000 65536" name="T74"/>
              <a:gd fmla="*/ 0 60000 65536" name="T75"/>
              <a:gd fmla="*/ 0 60000 65536" name="T76"/>
              <a:gd fmla="*/ 0 60000 65536" name="T77"/>
              <a:gd fmla="*/ 0 60000 65536" name="T78"/>
              <a:gd fmla="*/ 0 60000 65536" name="T79"/>
              <a:gd fmla="*/ 0 60000 65536" name="T80"/>
              <a:gd fmla="*/ 0 60000 65536" name="T81"/>
              <a:gd fmla="*/ 0 60000 65536" name="T82"/>
              <a:gd fmla="*/ 0 60000 65536" name="T83"/>
              <a:gd fmla="*/ 0 60000 65536" name="T84"/>
              <a:gd fmla="*/ 0 60000 65536" name="T85"/>
              <a:gd fmla="*/ 0 60000 65536" name="T86"/>
              <a:gd fmla="*/ 0 60000 65536" name="T87"/>
              <a:gd fmla="*/ 0 60000 65536" name="T88"/>
              <a:gd fmla="*/ 0 60000 65536" name="T89"/>
            </a:gd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b="b" l="0" r="r" t="0"/>
            <a:pathLst>
              <a:path h="229" w="349">
                <a:moveTo>
                  <a:pt x="333" y="51"/>
                </a:moveTo>
                <a:cubicBezTo>
                  <a:pt x="316" y="6"/>
                  <a:pt x="259" y="0"/>
                  <a:pt x="259" y="0"/>
                </a:cubicBezTo>
                <a:cubicBezTo>
                  <a:pt x="0" y="4"/>
                  <a:pt x="103" y="219"/>
                  <a:pt x="170" y="224"/>
                </a:cubicBezTo>
                <a:cubicBezTo>
                  <a:pt x="236" y="229"/>
                  <a:pt x="226" y="149"/>
                  <a:pt x="269" y="132"/>
                </a:cubicBezTo>
                <a:cubicBezTo>
                  <a:pt x="311" y="116"/>
                  <a:pt x="349" y="96"/>
                  <a:pt x="333" y="51"/>
                </a:cubicBezTo>
                <a:close/>
                <a:moveTo>
                  <a:pt x="140" y="41"/>
                </a:moveTo>
                <a:cubicBezTo>
                  <a:pt x="148" y="41"/>
                  <a:pt x="155" y="47"/>
                  <a:pt x="155" y="56"/>
                </a:cubicBezTo>
                <a:cubicBezTo>
                  <a:pt x="155" y="64"/>
                  <a:pt x="148" y="71"/>
                  <a:pt x="140" y="71"/>
                </a:cubicBezTo>
                <a:cubicBezTo>
                  <a:pt x="131" y="71"/>
                  <a:pt x="125" y="64"/>
                  <a:pt x="125" y="56"/>
                </a:cubicBezTo>
                <a:cubicBezTo>
                  <a:pt x="125" y="47"/>
                  <a:pt x="131" y="41"/>
                  <a:pt x="140" y="41"/>
                </a:cubicBezTo>
                <a:close/>
                <a:moveTo>
                  <a:pt x="105" y="101"/>
                </a:moveTo>
                <a:cubicBezTo>
                  <a:pt x="105" y="90"/>
                  <a:pt x="114" y="81"/>
                  <a:pt x="125" y="81"/>
                </a:cubicBezTo>
                <a:cubicBezTo>
                  <a:pt x="136" y="81"/>
                  <a:pt x="145" y="90"/>
                  <a:pt x="145" y="101"/>
                </a:cubicBezTo>
                <a:cubicBezTo>
                  <a:pt x="145" y="112"/>
                  <a:pt x="136" y="121"/>
                  <a:pt x="125" y="121"/>
                </a:cubicBezTo>
                <a:cubicBezTo>
                  <a:pt x="114" y="121"/>
                  <a:pt x="105" y="112"/>
                  <a:pt x="105" y="101"/>
                </a:cubicBezTo>
                <a:close/>
                <a:moveTo>
                  <a:pt x="139" y="174"/>
                </a:moveTo>
                <a:cubicBezTo>
                  <a:pt x="126" y="174"/>
                  <a:pt x="116" y="163"/>
                  <a:pt x="116" y="151"/>
                </a:cubicBezTo>
                <a:cubicBezTo>
                  <a:pt x="116" y="138"/>
                  <a:pt x="126" y="127"/>
                  <a:pt x="139" y="127"/>
                </a:cubicBezTo>
                <a:cubicBezTo>
                  <a:pt x="151" y="127"/>
                  <a:pt x="161" y="138"/>
                  <a:pt x="161" y="151"/>
                </a:cubicBezTo>
                <a:cubicBezTo>
                  <a:pt x="161" y="163"/>
                  <a:pt x="151" y="174"/>
                  <a:pt x="139" y="174"/>
                </a:cubicBezTo>
                <a:close/>
                <a:moveTo>
                  <a:pt x="180" y="213"/>
                </a:moveTo>
                <a:cubicBezTo>
                  <a:pt x="166" y="213"/>
                  <a:pt x="155" y="202"/>
                  <a:pt x="155" y="188"/>
                </a:cubicBezTo>
                <a:cubicBezTo>
                  <a:pt x="155" y="174"/>
                  <a:pt x="166" y="163"/>
                  <a:pt x="180" y="163"/>
                </a:cubicBezTo>
                <a:cubicBezTo>
                  <a:pt x="193" y="163"/>
                  <a:pt x="205" y="174"/>
                  <a:pt x="205" y="188"/>
                </a:cubicBezTo>
                <a:cubicBezTo>
                  <a:pt x="205" y="202"/>
                  <a:pt x="193" y="213"/>
                  <a:pt x="180" y="213"/>
                </a:cubicBezTo>
                <a:close/>
                <a:moveTo>
                  <a:pt x="281" y="97"/>
                </a:moveTo>
                <a:cubicBezTo>
                  <a:pt x="265" y="97"/>
                  <a:pt x="251" y="84"/>
                  <a:pt x="251" y="67"/>
                </a:cubicBezTo>
                <a:cubicBezTo>
                  <a:pt x="251" y="51"/>
                  <a:pt x="265" y="37"/>
                  <a:pt x="281" y="37"/>
                </a:cubicBezTo>
                <a:cubicBezTo>
                  <a:pt x="298" y="37"/>
                  <a:pt x="311" y="51"/>
                  <a:pt x="311" y="67"/>
                </a:cubicBezTo>
                <a:cubicBezTo>
                  <a:pt x="311" y="84"/>
                  <a:pt x="298" y="97"/>
                  <a:pt x="281" y="97"/>
                </a:cubicBezTo>
                <a:close/>
              </a:path>
            </a:pathLst>
          </a:custGeom>
          <a:solidFill>
            <a:srgbClr val="F2F2F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52" name="Freeform 78">
            <a:extLst>
              <a:ext uri="{FF2B5EF4-FFF2-40B4-BE49-F238E27FC236}">
                <a16:creationId xmlns:a16="http://schemas.microsoft.com/office/drawing/2014/main" id="{2BE4D25A-7E73-4CF4-917B-E2E4A10165AA}"/>
              </a:ext>
            </a:extLst>
          </p:cNvPr>
          <p:cNvSpPr/>
          <p:nvPr/>
        </p:nvSpPr>
        <p:spPr bwMode="auto">
          <a:xfrm>
            <a:off x="1766888" y="3508375"/>
            <a:ext cx="225425" cy="209550"/>
          </a:xfrm>
          <a:custGeom>
            <a:gdLst>
              <a:gd fmla="*/ 2147483647 w 196" name="T0"/>
              <a:gd fmla="*/ 2147483647 h 181" name="T1"/>
              <a:gd fmla="*/ 0 w 196" name="T2"/>
              <a:gd fmla="*/ 2147483647 h 181" name="T3"/>
              <a:gd fmla="*/ 0 w 196" name="T4"/>
              <a:gd fmla="*/ 2147483647 h 181" name="T5"/>
              <a:gd fmla="*/ 2147483647 w 196" name="T6"/>
              <a:gd fmla="*/ 2147483647 h 181" name="T7"/>
              <a:gd fmla="*/ 2147483647 w 196" name="T8"/>
              <a:gd fmla="*/ 2147483647 h 181" name="T9"/>
              <a:gd fmla="*/ 2147483647 w 196" name="T10"/>
              <a:gd fmla="*/ 2147483647 h 181" name="T11"/>
              <a:gd fmla="*/ 2147483647 w 196" name="T12"/>
              <a:gd fmla="*/ 2147483647 h 181" name="T13"/>
              <a:gd fmla="*/ 0 60000 65536" name="T14"/>
              <a:gd fmla="*/ 0 60000 65536" name="T15"/>
              <a:gd fmla="*/ 0 60000 65536" name="T16"/>
              <a:gd fmla="*/ 0 60000 65536" name="T17"/>
              <a:gd fmla="*/ 0 60000 65536" name="T18"/>
              <a:gd fmla="*/ 0 60000 65536" name="T19"/>
              <a:gd fmla="*/ 0 60000 65536" name="T20"/>
            </a:gdLst>
            <a:cxnLst>
              <a:cxn ang="T14">
                <a:pos x="T0" y="T1"/>
              </a:cxn>
              <a:cxn ang="T15">
                <a:pos x="T2" y="T3"/>
              </a:cxn>
              <a:cxn ang="T16">
                <a:pos x="T4" y="T5"/>
              </a:cxn>
              <a:cxn ang="T17">
                <a:pos x="T6" y="T7"/>
              </a:cxn>
              <a:cxn ang="T18">
                <a:pos x="T8" y="T9"/>
              </a:cxn>
              <a:cxn ang="T19">
                <a:pos x="T10" y="T11"/>
              </a:cxn>
              <a:cxn ang="T20">
                <a:pos x="T12" y="T13"/>
              </a:cxn>
            </a:cxnLst>
            <a:rect b="b" l="0" r="r" t="0"/>
            <a:pathLst>
              <a:path h="181" w="196">
                <a:moveTo>
                  <a:pt x="96" y="181"/>
                </a:moveTo>
                <a:cubicBezTo>
                  <a:pt x="96" y="181"/>
                  <a:pt x="62" y="147"/>
                  <a:pt x="0" y="180"/>
                </a:cubicBezTo>
                <a:cubicBezTo>
                  <a:pt x="0" y="36"/>
                  <a:pt x="0" y="36"/>
                  <a:pt x="0" y="36"/>
                </a:cubicBezTo>
                <a:cubicBezTo>
                  <a:pt x="0" y="36"/>
                  <a:pt x="63" y="0"/>
                  <a:pt x="98" y="36"/>
                </a:cubicBezTo>
                <a:cubicBezTo>
                  <a:pt x="196" y="36"/>
                  <a:pt x="196" y="36"/>
                  <a:pt x="196" y="36"/>
                </a:cubicBezTo>
                <a:cubicBezTo>
                  <a:pt x="196" y="180"/>
                  <a:pt x="196" y="180"/>
                  <a:pt x="196" y="180"/>
                </a:cubicBezTo>
                <a:lnTo>
                  <a:pt x="96" y="181"/>
                </a:lnTo>
                <a:close/>
              </a:path>
            </a:pathLst>
          </a:custGeom>
          <a:solidFill>
            <a:srgbClr val="F2F2F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53" name="Freeform 83">
            <a:extLst>
              <a:ext uri="{FF2B5EF4-FFF2-40B4-BE49-F238E27FC236}">
                <a16:creationId xmlns:a16="http://schemas.microsoft.com/office/drawing/2014/main" id="{DC0FE7F9-AA0B-4E0C-946D-D7947B138FE6}"/>
              </a:ext>
            </a:extLst>
          </p:cNvPr>
          <p:cNvSpPr/>
          <p:nvPr/>
        </p:nvSpPr>
        <p:spPr bwMode="auto">
          <a:xfrm>
            <a:off x="3021013" y="3336925"/>
            <a:ext cx="250825" cy="250825"/>
          </a:xfrm>
          <a:custGeom>
            <a:gdLst>
              <a:gd fmla="*/ 2147483647 w 218" name="T0"/>
              <a:gd fmla="*/ 2147483647 h 219" name="T1"/>
              <a:gd fmla="*/ 2147483647 w 218" name="T2"/>
              <a:gd fmla="*/ 2147483647 h 219" name="T3"/>
              <a:gd fmla="*/ 2147483647 w 218" name="T4"/>
              <a:gd fmla="*/ 2147483647 h 219" name="T5"/>
              <a:gd fmla="*/ 2147483647 w 218" name="T6"/>
              <a:gd fmla="*/ 2147483647 h 219" name="T7"/>
              <a:gd fmla="*/ 0 w 218" name="T8"/>
              <a:gd fmla="*/ 2147483647 h 219" name="T9"/>
              <a:gd fmla="*/ 2147483647 w 218" name="T10"/>
              <a:gd fmla="*/ 2147483647 h 219" name="T11"/>
              <a:gd fmla="*/ 2147483647 w 218" name="T12"/>
              <a:gd fmla="*/ 2147483647 h 219" name="T13"/>
              <a:gd fmla="*/ 2147483647 w 218" name="T14"/>
              <a:gd fmla="*/ 0 h 219" name="T15"/>
              <a:gd fmla="*/ 2147483647 w 218" name="T16"/>
              <a:gd fmla="*/ 2147483647 h 219" name="T17"/>
              <a:gd fmla="*/ 0 60000 65536" name="T18"/>
              <a:gd fmla="*/ 0 60000 65536" name="T19"/>
              <a:gd fmla="*/ 0 60000 65536" name="T20"/>
              <a:gd fmla="*/ 0 60000 65536" name="T21"/>
              <a:gd fmla="*/ 0 60000 65536" name="T22"/>
              <a:gd fmla="*/ 0 60000 65536" name="T23"/>
              <a:gd fmla="*/ 0 60000 65536" name="T24"/>
              <a:gd fmla="*/ 0 60000 65536" name="T25"/>
              <a:gd fmla="*/ 0 60000 65536" name="T26"/>
            </a:gd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b="b" l="0" r="r" t="0"/>
            <a:pathLst>
              <a:path h="219" w="218">
                <a:moveTo>
                  <a:pt x="160" y="11"/>
                </a:moveTo>
                <a:cubicBezTo>
                  <a:pt x="187" y="30"/>
                  <a:pt x="204" y="62"/>
                  <a:pt x="204" y="97"/>
                </a:cubicBezTo>
                <a:cubicBezTo>
                  <a:pt x="204" y="157"/>
                  <a:pt x="156" y="205"/>
                  <a:pt x="97" y="205"/>
                </a:cubicBezTo>
                <a:cubicBezTo>
                  <a:pt x="62" y="205"/>
                  <a:pt x="31" y="188"/>
                  <a:pt x="11" y="162"/>
                </a:cubicBezTo>
                <a:cubicBezTo>
                  <a:pt x="0" y="171"/>
                  <a:pt x="0" y="171"/>
                  <a:pt x="0" y="171"/>
                </a:cubicBezTo>
                <a:cubicBezTo>
                  <a:pt x="22" y="200"/>
                  <a:pt x="57" y="219"/>
                  <a:pt x="97" y="219"/>
                </a:cubicBezTo>
                <a:cubicBezTo>
                  <a:pt x="164" y="219"/>
                  <a:pt x="218" y="165"/>
                  <a:pt x="218" y="97"/>
                </a:cubicBezTo>
                <a:cubicBezTo>
                  <a:pt x="218" y="57"/>
                  <a:pt x="199" y="22"/>
                  <a:pt x="169" y="0"/>
                </a:cubicBezTo>
                <a:lnTo>
                  <a:pt x="160" y="11"/>
                </a:lnTo>
                <a:close/>
              </a:path>
            </a:pathLst>
          </a:custGeom>
          <a:solidFill>
            <a:srgbClr val="F2F2F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54" name="Freeform 84">
            <a:extLst>
              <a:ext uri="{FF2B5EF4-FFF2-40B4-BE49-F238E27FC236}">
                <a16:creationId xmlns:a16="http://schemas.microsoft.com/office/drawing/2014/main" id="{DC380747-A3B3-4B28-9D4B-0A98A498392B}"/>
              </a:ext>
            </a:extLst>
          </p:cNvPr>
          <p:cNvSpPr>
            <a:spLocks noEditPoints="1"/>
          </p:cNvSpPr>
          <p:nvPr/>
        </p:nvSpPr>
        <p:spPr bwMode="auto">
          <a:xfrm>
            <a:off x="3024188" y="3340100"/>
            <a:ext cx="222250" cy="222250"/>
          </a:xfrm>
          <a:custGeom>
            <a:gdLst>
              <a:gd fmla="*/ 2147483647 w 193" name="T0"/>
              <a:gd fmla="*/ 0 h 193" name="T1"/>
              <a:gd fmla="*/ 0 w 193" name="T2"/>
              <a:gd fmla="*/ 2147483647 h 193" name="T3"/>
              <a:gd fmla="*/ 2147483647 w 193" name="T4"/>
              <a:gd fmla="*/ 2147483647 h 193" name="T5"/>
              <a:gd fmla="*/ 2147483647 w 193" name="T6"/>
              <a:gd fmla="*/ 2147483647 h 193" name="T7"/>
              <a:gd fmla="*/ 2147483647 w 193" name="T8"/>
              <a:gd fmla="*/ 0 h 193" name="T9"/>
              <a:gd fmla="*/ 2147483647 w 193" name="T10"/>
              <a:gd fmla="*/ 2147483647 h 193" name="T11"/>
              <a:gd fmla="*/ 2147483647 w 193" name="T12"/>
              <a:gd fmla="*/ 2147483647 h 193" name="T13"/>
              <a:gd fmla="*/ 2147483647 w 193" name="T14"/>
              <a:gd fmla="*/ 2147483647 h 193" name="T15"/>
              <a:gd fmla="*/ 2147483647 w 193" name="T16"/>
              <a:gd fmla="*/ 2147483647 h 193" name="T17"/>
              <a:gd fmla="*/ 2147483647 w 193" name="T18"/>
              <a:gd fmla="*/ 2147483647 h 193" name="T19"/>
              <a:gd fmla="*/ 0 60000 65536" name="T20"/>
              <a:gd fmla="*/ 0 60000 65536" name="T21"/>
              <a:gd fmla="*/ 0 60000 65536" name="T22"/>
              <a:gd fmla="*/ 0 60000 65536" name="T23"/>
              <a:gd fmla="*/ 0 60000 65536" name="T24"/>
              <a:gd fmla="*/ 0 60000 65536" name="T25"/>
              <a:gd fmla="*/ 0 60000 65536" name="T26"/>
              <a:gd fmla="*/ 0 60000 65536" name="T27"/>
              <a:gd fmla="*/ 0 60000 65536" name="T28"/>
              <a:gd fmla="*/ 0 60000 65536" name="T29"/>
            </a:gd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b="b" l="0" r="r" t="0"/>
            <a:pathLst>
              <a:path h="193" w="193">
                <a:moveTo>
                  <a:pt x="96" y="0"/>
                </a:moveTo>
                <a:cubicBezTo>
                  <a:pt x="43" y="0"/>
                  <a:pt x="0" y="43"/>
                  <a:pt x="0" y="97"/>
                </a:cubicBezTo>
                <a:cubicBezTo>
                  <a:pt x="0" y="150"/>
                  <a:pt x="43" y="193"/>
                  <a:pt x="96" y="193"/>
                </a:cubicBezTo>
                <a:cubicBezTo>
                  <a:pt x="149" y="193"/>
                  <a:pt x="193" y="150"/>
                  <a:pt x="193" y="97"/>
                </a:cubicBezTo>
                <a:cubicBezTo>
                  <a:pt x="193" y="43"/>
                  <a:pt x="149" y="0"/>
                  <a:pt x="96" y="0"/>
                </a:cubicBezTo>
                <a:close/>
                <a:moveTo>
                  <a:pt x="96" y="189"/>
                </a:moveTo>
                <a:cubicBezTo>
                  <a:pt x="46" y="189"/>
                  <a:pt x="4" y="147"/>
                  <a:pt x="4" y="97"/>
                </a:cubicBezTo>
                <a:cubicBezTo>
                  <a:pt x="4" y="46"/>
                  <a:pt x="46" y="5"/>
                  <a:pt x="96" y="5"/>
                </a:cubicBezTo>
                <a:cubicBezTo>
                  <a:pt x="147" y="5"/>
                  <a:pt x="188" y="46"/>
                  <a:pt x="188" y="97"/>
                </a:cubicBezTo>
                <a:cubicBezTo>
                  <a:pt x="188" y="147"/>
                  <a:pt x="147" y="189"/>
                  <a:pt x="96" y="189"/>
                </a:cubicBezTo>
                <a:close/>
              </a:path>
            </a:pathLst>
          </a:custGeom>
          <a:solidFill>
            <a:srgbClr val="F2F2F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55" name="Freeform 85">
            <a:extLst>
              <a:ext uri="{FF2B5EF4-FFF2-40B4-BE49-F238E27FC236}">
                <a16:creationId xmlns:a16="http://schemas.microsoft.com/office/drawing/2014/main" id="{3FDA6892-6D61-4940-8422-D5AC9AE3627C}"/>
              </a:ext>
            </a:extLst>
          </p:cNvPr>
          <p:cNvSpPr/>
          <p:nvPr/>
        </p:nvSpPr>
        <p:spPr bwMode="auto">
          <a:xfrm>
            <a:off x="3017838" y="3344863"/>
            <a:ext cx="249237" cy="217487"/>
          </a:xfrm>
          <a:custGeom>
            <a:gdLst>
              <a:gd fmla="*/ 2147483647 w 216" name="T0"/>
              <a:gd fmla="*/ 2147483647 h 189" name="T1"/>
              <a:gd fmla="*/ 2147483647 w 216" name="T2"/>
              <a:gd fmla="*/ 2147483647 h 189" name="T3"/>
              <a:gd fmla="*/ 2147483647 w 216" name="T4"/>
              <a:gd fmla="*/ 2147483647 h 189" name="T5"/>
              <a:gd fmla="*/ 2147483647 w 216" name="T6"/>
              <a:gd fmla="*/ 2147483647 h 189" name="T7"/>
              <a:gd fmla="*/ 2147483647 w 216" name="T8"/>
              <a:gd fmla="*/ 2147483647 h 189" name="T9"/>
              <a:gd fmla="*/ 2147483647 w 216" name="T10"/>
              <a:gd fmla="*/ 2147483647 h 189" name="T11"/>
              <a:gd fmla="*/ 2147483647 w 216" name="T12"/>
              <a:gd fmla="*/ 2147483647 h 189" name="T13"/>
              <a:gd fmla="*/ 2147483647 w 216" name="T14"/>
              <a:gd fmla="*/ 2147483647 h 189" name="T15"/>
              <a:gd fmla="*/ 2147483647 w 216" name="T16"/>
              <a:gd fmla="*/ 2147483647 h 189" name="T17"/>
              <a:gd fmla="*/ 2147483647 w 216" name="T18"/>
              <a:gd fmla="*/ 2147483647 h 189" name="T19"/>
              <a:gd fmla="*/ 2147483647 w 216" name="T20"/>
              <a:gd fmla="*/ 2147483647 h 189" name="T21"/>
              <a:gd fmla="*/ 2147483647 w 216" name="T22"/>
              <a:gd fmla="*/ 2147483647 h 189" name="T23"/>
              <a:gd fmla="*/ 2147483647 w 216" name="T24"/>
              <a:gd fmla="*/ 2147483647 h 189" name="T25"/>
              <a:gd fmla="*/ 2147483647 w 216" name="T26"/>
              <a:gd fmla="*/ 2147483647 h 189" name="T27"/>
              <a:gd fmla="*/ 2147483647 w 216" name="T28"/>
              <a:gd fmla="*/ 2147483647 h 189" name="T29"/>
              <a:gd fmla="*/ 2147483647 w 216" name="T30"/>
              <a:gd fmla="*/ 2147483647 h 189" name="T31"/>
              <a:gd fmla="*/ 2147483647 w 216" name="T32"/>
              <a:gd fmla="*/ 2147483647 h 189" name="T33"/>
              <a:gd fmla="*/ 2147483647 w 216" name="T34"/>
              <a:gd fmla="*/ 2147483647 h 189" name="T35"/>
              <a:gd fmla="*/ 2147483647 w 216" name="T36"/>
              <a:gd fmla="*/ 2147483647 h 189" name="T37"/>
              <a:gd fmla="*/ 2147483647 w 216" name="T38"/>
              <a:gd fmla="*/ 2147483647 h 189" name="T39"/>
              <a:gd fmla="*/ 2147483647 w 216" name="T40"/>
              <a:gd fmla="*/ 2147483647 h 189" name="T41"/>
              <a:gd fmla="*/ 2147483647 w 216" name="T42"/>
              <a:gd fmla="*/ 2147483647 h 189" name="T43"/>
              <a:gd fmla="*/ 2147483647 w 216" name="T44"/>
              <a:gd fmla="*/ 2147483647 h 189" name="T45"/>
              <a:gd fmla="*/ 2147483647 w 216" name="T46"/>
              <a:gd fmla="*/ 2147483647 h 189" name="T47"/>
              <a:gd fmla="*/ 2147483647 w 216" name="T48"/>
              <a:gd fmla="*/ 2147483647 h 189" name="T49"/>
              <a:gd fmla="*/ 2147483647 w 216" name="T50"/>
              <a:gd fmla="*/ 2147483647 h 189" name="T51"/>
              <a:gd fmla="*/ 2147483647 w 216" name="T52"/>
              <a:gd fmla="*/ 2147483647 h 189" name="T53"/>
              <a:gd fmla="*/ 2147483647 w 216" name="T54"/>
              <a:gd fmla="*/ 2147483647 h 189" name="T55"/>
              <a:gd fmla="*/ 2147483647 w 216" name="T56"/>
              <a:gd fmla="*/ 2147483647 h 189" name="T57"/>
              <a:gd fmla="*/ 2147483647 w 216" name="T58"/>
              <a:gd fmla="*/ 2147483647 h 189" name="T59"/>
              <a:gd fmla="*/ 2147483647 w 216" name="T60"/>
              <a:gd fmla="*/ 2147483647 h 189" name="T61"/>
              <a:gd fmla="*/ 2147483647 w 216" name="T62"/>
              <a:gd fmla="*/ 2147483647 h 189" name="T63"/>
              <a:gd fmla="*/ 2147483647 w 216" name="T64"/>
              <a:gd fmla="*/ 2147483647 h 189" name="T65"/>
              <a:gd fmla="*/ 2147483647 w 216" name="T66"/>
              <a:gd fmla="*/ 2147483647 h 189" name="T67"/>
              <a:gd fmla="*/ 2147483647 w 216" name="T68"/>
              <a:gd fmla="*/ 2147483647 h 189" name="T69"/>
              <a:gd fmla="*/ 2147483647 w 216" name="T70"/>
              <a:gd fmla="*/ 2147483647 h 189" name="T71"/>
              <a:gd fmla="*/ 2147483647 w 216" name="T72"/>
              <a:gd fmla="*/ 2147483647 h 189" name="T73"/>
              <a:gd fmla="*/ 2147483647 w 216" name="T74"/>
              <a:gd fmla="*/ 2147483647 h 189" name="T75"/>
              <a:gd fmla="*/ 2147483647 w 216" name="T76"/>
              <a:gd fmla="*/ 2147483647 h 189" name="T77"/>
              <a:gd fmla="*/ 2147483647 w 216" name="T78"/>
              <a:gd fmla="*/ 2147483647 h 189" name="T79"/>
              <a:gd fmla="*/ 2147483647 w 216" name="T80"/>
              <a:gd fmla="*/ 2147483647 h 189" name="T81"/>
              <a:gd fmla="*/ 2147483647 w 216" name="T82"/>
              <a:gd fmla="*/ 2147483647 h 189" name="T83"/>
              <a:gd fmla="*/ 2147483647 w 216" name="T84"/>
              <a:gd fmla="*/ 2147483647 h 189" name="T85"/>
              <a:gd fmla="*/ 2147483647 w 216" name="T86"/>
              <a:gd fmla="*/ 2147483647 h 189" name="T87"/>
              <a:gd fmla="*/ 2147483647 w 216" name="T88"/>
              <a:gd fmla="*/ 2147483647 h 189" name="T89"/>
              <a:gd fmla="*/ 2147483647 w 216" name="T90"/>
              <a:gd fmla="*/ 2147483647 h 189" name="T91"/>
              <a:gd fmla="*/ 2147483647 w 216" name="T92"/>
              <a:gd fmla="*/ 2147483647 h 189" name="T93"/>
              <a:gd fmla="*/ 2147483647 w 216" name="T94"/>
              <a:gd fmla="*/ 2147483647 h 189" name="T95"/>
              <a:gd fmla="*/ 2147483647 w 216" name="T96"/>
              <a:gd fmla="*/ 2147483647 h 189" name="T97"/>
              <a:gd fmla="*/ 2147483647 w 216" name="T98"/>
              <a:gd fmla="*/ 2147483647 h 189" name="T99"/>
              <a:gd fmla="*/ 2147483647 w 216" name="T100"/>
              <a:gd fmla="*/ 2147483647 h 189" name="T101"/>
              <a:gd fmla="*/ 2147483647 w 216" name="T102"/>
              <a:gd fmla="*/ 2147483647 h 189" name="T103"/>
              <a:gd fmla="*/ 2147483647 w 216" name="T104"/>
              <a:gd fmla="*/ 2147483647 h 189" name="T105"/>
              <a:gd fmla="*/ 2147483647 w 216" name="T106"/>
              <a:gd fmla="*/ 2147483647 h 189" name="T107"/>
              <a:gd fmla="*/ 2147483647 w 216" name="T108"/>
              <a:gd fmla="*/ 2147483647 h 189" name="T109"/>
              <a:gd fmla="*/ 2147483647 w 216" name="T110"/>
              <a:gd fmla="*/ 2147483647 h 189" name="T111"/>
              <a:gd fmla="*/ 2147483647 w 216" name="T112"/>
              <a:gd fmla="*/ 2147483647 h 189" name="T113"/>
              <a:gd fmla="*/ 2147483647 w 216" name="T114"/>
              <a:gd fmla="*/ 2147483647 h 189" name="T115"/>
              <a:gd fmla="*/ 2147483647 w 216" name="T116"/>
              <a:gd fmla="*/ 2147483647 h 189" name="T117"/>
              <a:gd fmla="*/ 2147483647 w 216" name="T118"/>
              <a:gd fmla="*/ 2147483647 h 189" name="T119"/>
              <a:gd fmla="*/ 2147483647 w 216" name="T120"/>
              <a:gd fmla="*/ 2147483647 h 189" name="T121"/>
              <a:gd fmla="*/ 2147483647 w 216" name="T122"/>
              <a:gd fmla="*/ 2147483647 h 189"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 fmla="*/ 0 60000 65536" name="T168"/>
              <a:gd fmla="*/ 0 60000 65536" name="T169"/>
              <a:gd fmla="*/ 0 60000 65536" name="T170"/>
              <a:gd fmla="*/ 0 60000 65536" name="T171"/>
              <a:gd fmla="*/ 0 60000 65536" name="T172"/>
              <a:gd fmla="*/ 0 60000 65536" name="T173"/>
              <a:gd fmla="*/ 0 60000 65536" name="T174"/>
              <a:gd fmla="*/ 0 60000 65536" name="T175"/>
              <a:gd fmla="*/ 0 60000 65536" name="T176"/>
              <a:gd fmla="*/ 0 60000 65536" name="T177"/>
              <a:gd fmla="*/ 0 60000 65536" name="T178"/>
              <a:gd fmla="*/ 0 60000 65536" name="T179"/>
              <a:gd fmla="*/ 0 60000 65536" name="T180"/>
              <a:gd fmla="*/ 0 60000 65536" name="T181"/>
              <a:gd fmla="*/ 0 60000 65536" name="T182"/>
              <a:gd fmla="*/ 0 60000 65536" name="T183"/>
              <a:gd fmla="*/ 0 60000 65536" name="T184"/>
              <a:gd fmla="*/ 0 60000 65536" name="T185"/>
            </a:gd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b="b" l="0" r="r" t="0"/>
            <a:pathLst>
              <a:path h="189" w="216">
                <a:moveTo>
                  <a:pt x="88" y="1"/>
                </a:moveTo>
                <a:cubicBezTo>
                  <a:pt x="88" y="1"/>
                  <a:pt x="55" y="5"/>
                  <a:pt x="33" y="30"/>
                </a:cubicBezTo>
                <a:cubicBezTo>
                  <a:pt x="33" y="30"/>
                  <a:pt x="50" y="13"/>
                  <a:pt x="60" y="13"/>
                </a:cubicBezTo>
                <a:cubicBezTo>
                  <a:pt x="63" y="14"/>
                  <a:pt x="63" y="14"/>
                  <a:pt x="63" y="14"/>
                </a:cubicBezTo>
                <a:cubicBezTo>
                  <a:pt x="62" y="15"/>
                  <a:pt x="62" y="15"/>
                  <a:pt x="62" y="15"/>
                </a:cubicBezTo>
                <a:cubicBezTo>
                  <a:pt x="62" y="15"/>
                  <a:pt x="60" y="17"/>
                  <a:pt x="60" y="17"/>
                </a:cubicBezTo>
                <a:cubicBezTo>
                  <a:pt x="60" y="18"/>
                  <a:pt x="61" y="19"/>
                  <a:pt x="61" y="19"/>
                </a:cubicBezTo>
                <a:cubicBezTo>
                  <a:pt x="60" y="20"/>
                  <a:pt x="60" y="20"/>
                  <a:pt x="60" y="20"/>
                </a:cubicBezTo>
                <a:cubicBezTo>
                  <a:pt x="59" y="21"/>
                  <a:pt x="59" y="21"/>
                  <a:pt x="59" y="21"/>
                </a:cubicBezTo>
                <a:cubicBezTo>
                  <a:pt x="59" y="21"/>
                  <a:pt x="58" y="21"/>
                  <a:pt x="58" y="22"/>
                </a:cubicBezTo>
                <a:cubicBezTo>
                  <a:pt x="58" y="23"/>
                  <a:pt x="58" y="24"/>
                  <a:pt x="58" y="24"/>
                </a:cubicBezTo>
                <a:cubicBezTo>
                  <a:pt x="58" y="26"/>
                  <a:pt x="58" y="26"/>
                  <a:pt x="58" y="26"/>
                </a:cubicBezTo>
                <a:cubicBezTo>
                  <a:pt x="58" y="27"/>
                  <a:pt x="58" y="27"/>
                  <a:pt x="58" y="27"/>
                </a:cubicBezTo>
                <a:cubicBezTo>
                  <a:pt x="56" y="28"/>
                  <a:pt x="56" y="28"/>
                  <a:pt x="56" y="28"/>
                </a:cubicBezTo>
                <a:cubicBezTo>
                  <a:pt x="56" y="28"/>
                  <a:pt x="55" y="28"/>
                  <a:pt x="54" y="28"/>
                </a:cubicBezTo>
                <a:cubicBezTo>
                  <a:pt x="53" y="27"/>
                  <a:pt x="53" y="26"/>
                  <a:pt x="53" y="26"/>
                </a:cubicBezTo>
                <a:cubicBezTo>
                  <a:pt x="55" y="25"/>
                  <a:pt x="55" y="25"/>
                  <a:pt x="55" y="25"/>
                </a:cubicBezTo>
                <a:cubicBezTo>
                  <a:pt x="55" y="25"/>
                  <a:pt x="55" y="25"/>
                  <a:pt x="55" y="24"/>
                </a:cubicBezTo>
                <a:cubicBezTo>
                  <a:pt x="54" y="24"/>
                  <a:pt x="54" y="23"/>
                  <a:pt x="53" y="23"/>
                </a:cubicBezTo>
                <a:cubicBezTo>
                  <a:pt x="52" y="23"/>
                  <a:pt x="51" y="25"/>
                  <a:pt x="51" y="25"/>
                </a:cubicBezTo>
                <a:cubicBezTo>
                  <a:pt x="49" y="26"/>
                  <a:pt x="49" y="26"/>
                  <a:pt x="49" y="26"/>
                </a:cubicBezTo>
                <a:cubicBezTo>
                  <a:pt x="49" y="28"/>
                  <a:pt x="49" y="28"/>
                  <a:pt x="49" y="28"/>
                </a:cubicBezTo>
                <a:cubicBezTo>
                  <a:pt x="50" y="28"/>
                  <a:pt x="50" y="28"/>
                  <a:pt x="50" y="28"/>
                </a:cubicBezTo>
                <a:cubicBezTo>
                  <a:pt x="50" y="28"/>
                  <a:pt x="50" y="29"/>
                  <a:pt x="50" y="29"/>
                </a:cubicBezTo>
                <a:cubicBezTo>
                  <a:pt x="50" y="30"/>
                  <a:pt x="50" y="31"/>
                  <a:pt x="50" y="31"/>
                </a:cubicBezTo>
                <a:cubicBezTo>
                  <a:pt x="50" y="31"/>
                  <a:pt x="49" y="32"/>
                  <a:pt x="48" y="31"/>
                </a:cubicBezTo>
                <a:cubicBezTo>
                  <a:pt x="47" y="31"/>
                  <a:pt x="46" y="31"/>
                  <a:pt x="45" y="31"/>
                </a:cubicBezTo>
                <a:cubicBezTo>
                  <a:pt x="45" y="30"/>
                  <a:pt x="44" y="30"/>
                  <a:pt x="43" y="30"/>
                </a:cubicBezTo>
                <a:cubicBezTo>
                  <a:pt x="43" y="31"/>
                  <a:pt x="43" y="31"/>
                  <a:pt x="42" y="31"/>
                </a:cubicBezTo>
                <a:cubicBezTo>
                  <a:pt x="40" y="33"/>
                  <a:pt x="40" y="33"/>
                  <a:pt x="40" y="33"/>
                </a:cubicBezTo>
                <a:cubicBezTo>
                  <a:pt x="40" y="33"/>
                  <a:pt x="39" y="33"/>
                  <a:pt x="39" y="34"/>
                </a:cubicBezTo>
                <a:cubicBezTo>
                  <a:pt x="39" y="34"/>
                  <a:pt x="39" y="36"/>
                  <a:pt x="39" y="36"/>
                </a:cubicBezTo>
                <a:cubicBezTo>
                  <a:pt x="39" y="36"/>
                  <a:pt x="38" y="36"/>
                  <a:pt x="36" y="37"/>
                </a:cubicBezTo>
                <a:cubicBezTo>
                  <a:pt x="35" y="37"/>
                  <a:pt x="35" y="38"/>
                  <a:pt x="35" y="38"/>
                </a:cubicBezTo>
                <a:cubicBezTo>
                  <a:pt x="34" y="39"/>
                  <a:pt x="34" y="39"/>
                  <a:pt x="34" y="39"/>
                </a:cubicBezTo>
                <a:cubicBezTo>
                  <a:pt x="34" y="39"/>
                  <a:pt x="33" y="40"/>
                  <a:pt x="32" y="41"/>
                </a:cubicBezTo>
                <a:cubicBezTo>
                  <a:pt x="31" y="42"/>
                  <a:pt x="29" y="44"/>
                  <a:pt x="29" y="44"/>
                </a:cubicBezTo>
                <a:cubicBezTo>
                  <a:pt x="28" y="44"/>
                  <a:pt x="27" y="45"/>
                  <a:pt x="27" y="46"/>
                </a:cubicBezTo>
                <a:cubicBezTo>
                  <a:pt x="27" y="47"/>
                  <a:pt x="27" y="48"/>
                  <a:pt x="26" y="48"/>
                </a:cubicBezTo>
                <a:cubicBezTo>
                  <a:pt x="26" y="49"/>
                  <a:pt x="26" y="50"/>
                  <a:pt x="26" y="51"/>
                </a:cubicBezTo>
                <a:cubicBezTo>
                  <a:pt x="25" y="52"/>
                  <a:pt x="25" y="53"/>
                  <a:pt x="24" y="53"/>
                </a:cubicBezTo>
                <a:cubicBezTo>
                  <a:pt x="24" y="54"/>
                  <a:pt x="23" y="54"/>
                  <a:pt x="23" y="54"/>
                </a:cubicBezTo>
                <a:cubicBezTo>
                  <a:pt x="23" y="54"/>
                  <a:pt x="21" y="55"/>
                  <a:pt x="20" y="55"/>
                </a:cubicBezTo>
                <a:cubicBezTo>
                  <a:pt x="19" y="56"/>
                  <a:pt x="19" y="57"/>
                  <a:pt x="19" y="57"/>
                </a:cubicBezTo>
                <a:cubicBezTo>
                  <a:pt x="20" y="58"/>
                  <a:pt x="20" y="58"/>
                  <a:pt x="20" y="58"/>
                </a:cubicBezTo>
                <a:cubicBezTo>
                  <a:pt x="22" y="59"/>
                  <a:pt x="22" y="59"/>
                  <a:pt x="22" y="59"/>
                </a:cubicBezTo>
                <a:cubicBezTo>
                  <a:pt x="22" y="61"/>
                  <a:pt x="22" y="61"/>
                  <a:pt x="22" y="61"/>
                </a:cubicBezTo>
                <a:cubicBezTo>
                  <a:pt x="22" y="61"/>
                  <a:pt x="21" y="63"/>
                  <a:pt x="22" y="63"/>
                </a:cubicBezTo>
                <a:cubicBezTo>
                  <a:pt x="22" y="63"/>
                  <a:pt x="23" y="63"/>
                  <a:pt x="23" y="63"/>
                </a:cubicBezTo>
                <a:cubicBezTo>
                  <a:pt x="25" y="64"/>
                  <a:pt x="25" y="64"/>
                  <a:pt x="25" y="64"/>
                </a:cubicBezTo>
                <a:cubicBezTo>
                  <a:pt x="27" y="65"/>
                  <a:pt x="27" y="65"/>
                  <a:pt x="27" y="65"/>
                </a:cubicBezTo>
                <a:cubicBezTo>
                  <a:pt x="28" y="65"/>
                  <a:pt x="28" y="65"/>
                  <a:pt x="28" y="65"/>
                </a:cubicBezTo>
                <a:cubicBezTo>
                  <a:pt x="27" y="67"/>
                  <a:pt x="27" y="67"/>
                  <a:pt x="27" y="67"/>
                </a:cubicBezTo>
                <a:cubicBezTo>
                  <a:pt x="26" y="68"/>
                  <a:pt x="26" y="68"/>
                  <a:pt x="26" y="68"/>
                </a:cubicBezTo>
                <a:cubicBezTo>
                  <a:pt x="26" y="67"/>
                  <a:pt x="26" y="67"/>
                  <a:pt x="26" y="67"/>
                </a:cubicBezTo>
                <a:cubicBezTo>
                  <a:pt x="25" y="66"/>
                  <a:pt x="25" y="66"/>
                  <a:pt x="25" y="65"/>
                </a:cubicBezTo>
                <a:cubicBezTo>
                  <a:pt x="24" y="65"/>
                  <a:pt x="23" y="66"/>
                  <a:pt x="23" y="66"/>
                </a:cubicBezTo>
                <a:cubicBezTo>
                  <a:pt x="22" y="65"/>
                  <a:pt x="22" y="65"/>
                  <a:pt x="21" y="65"/>
                </a:cubicBezTo>
                <a:cubicBezTo>
                  <a:pt x="21" y="64"/>
                  <a:pt x="21" y="65"/>
                  <a:pt x="21" y="64"/>
                </a:cubicBezTo>
                <a:cubicBezTo>
                  <a:pt x="21" y="63"/>
                  <a:pt x="21" y="63"/>
                  <a:pt x="21" y="62"/>
                </a:cubicBezTo>
                <a:cubicBezTo>
                  <a:pt x="21" y="62"/>
                  <a:pt x="20" y="61"/>
                  <a:pt x="20" y="61"/>
                </a:cubicBezTo>
                <a:cubicBezTo>
                  <a:pt x="19" y="61"/>
                  <a:pt x="20" y="62"/>
                  <a:pt x="19" y="61"/>
                </a:cubicBezTo>
                <a:cubicBezTo>
                  <a:pt x="19" y="60"/>
                  <a:pt x="18" y="60"/>
                  <a:pt x="18" y="60"/>
                </a:cubicBezTo>
                <a:cubicBezTo>
                  <a:pt x="18" y="60"/>
                  <a:pt x="17" y="60"/>
                  <a:pt x="17" y="60"/>
                </a:cubicBezTo>
                <a:cubicBezTo>
                  <a:pt x="17" y="59"/>
                  <a:pt x="17" y="58"/>
                  <a:pt x="17" y="57"/>
                </a:cubicBezTo>
                <a:cubicBezTo>
                  <a:pt x="17" y="57"/>
                  <a:pt x="18" y="56"/>
                  <a:pt x="18" y="55"/>
                </a:cubicBezTo>
                <a:cubicBezTo>
                  <a:pt x="18" y="55"/>
                  <a:pt x="18" y="52"/>
                  <a:pt x="18" y="52"/>
                </a:cubicBezTo>
                <a:cubicBezTo>
                  <a:pt x="18" y="52"/>
                  <a:pt x="15" y="58"/>
                  <a:pt x="14" y="63"/>
                </a:cubicBezTo>
                <a:cubicBezTo>
                  <a:pt x="14" y="63"/>
                  <a:pt x="15" y="62"/>
                  <a:pt x="15" y="63"/>
                </a:cubicBezTo>
                <a:cubicBezTo>
                  <a:pt x="15" y="64"/>
                  <a:pt x="16" y="65"/>
                  <a:pt x="16" y="65"/>
                </a:cubicBezTo>
                <a:cubicBezTo>
                  <a:pt x="15" y="66"/>
                  <a:pt x="15" y="66"/>
                  <a:pt x="15" y="68"/>
                </a:cubicBezTo>
                <a:cubicBezTo>
                  <a:pt x="15" y="71"/>
                  <a:pt x="16" y="71"/>
                  <a:pt x="16" y="72"/>
                </a:cubicBezTo>
                <a:cubicBezTo>
                  <a:pt x="15" y="73"/>
                  <a:pt x="15" y="74"/>
                  <a:pt x="15" y="75"/>
                </a:cubicBezTo>
                <a:cubicBezTo>
                  <a:pt x="15" y="76"/>
                  <a:pt x="15" y="78"/>
                  <a:pt x="16" y="78"/>
                </a:cubicBezTo>
                <a:cubicBezTo>
                  <a:pt x="16" y="79"/>
                  <a:pt x="16" y="79"/>
                  <a:pt x="16" y="79"/>
                </a:cubicBezTo>
                <a:cubicBezTo>
                  <a:pt x="17" y="80"/>
                  <a:pt x="16" y="81"/>
                  <a:pt x="17" y="80"/>
                </a:cubicBezTo>
                <a:cubicBezTo>
                  <a:pt x="18" y="78"/>
                  <a:pt x="19" y="77"/>
                  <a:pt x="19" y="77"/>
                </a:cubicBezTo>
                <a:cubicBezTo>
                  <a:pt x="19" y="76"/>
                  <a:pt x="19" y="76"/>
                  <a:pt x="19" y="76"/>
                </a:cubicBezTo>
                <a:cubicBezTo>
                  <a:pt x="19" y="76"/>
                  <a:pt x="19" y="75"/>
                  <a:pt x="21" y="75"/>
                </a:cubicBezTo>
                <a:cubicBezTo>
                  <a:pt x="22" y="76"/>
                  <a:pt x="22" y="75"/>
                  <a:pt x="23" y="76"/>
                </a:cubicBezTo>
                <a:cubicBezTo>
                  <a:pt x="23" y="77"/>
                  <a:pt x="22" y="78"/>
                  <a:pt x="23" y="78"/>
                </a:cubicBezTo>
                <a:cubicBezTo>
                  <a:pt x="24" y="78"/>
                  <a:pt x="26" y="77"/>
                  <a:pt x="26" y="77"/>
                </a:cubicBezTo>
                <a:cubicBezTo>
                  <a:pt x="27" y="78"/>
                  <a:pt x="28" y="78"/>
                  <a:pt x="28" y="79"/>
                </a:cubicBezTo>
                <a:cubicBezTo>
                  <a:pt x="28" y="80"/>
                  <a:pt x="29" y="81"/>
                  <a:pt x="29" y="82"/>
                </a:cubicBezTo>
                <a:cubicBezTo>
                  <a:pt x="30" y="82"/>
                  <a:pt x="30" y="83"/>
                  <a:pt x="30" y="84"/>
                </a:cubicBezTo>
                <a:cubicBezTo>
                  <a:pt x="30" y="85"/>
                  <a:pt x="33" y="86"/>
                  <a:pt x="33" y="86"/>
                </a:cubicBezTo>
                <a:cubicBezTo>
                  <a:pt x="33" y="86"/>
                  <a:pt x="35" y="86"/>
                  <a:pt x="36" y="86"/>
                </a:cubicBezTo>
                <a:cubicBezTo>
                  <a:pt x="37" y="86"/>
                  <a:pt x="36" y="87"/>
                  <a:pt x="37" y="88"/>
                </a:cubicBezTo>
                <a:cubicBezTo>
                  <a:pt x="38" y="88"/>
                  <a:pt x="39" y="90"/>
                  <a:pt x="39" y="90"/>
                </a:cubicBezTo>
                <a:cubicBezTo>
                  <a:pt x="39" y="90"/>
                  <a:pt x="39" y="92"/>
                  <a:pt x="39" y="93"/>
                </a:cubicBezTo>
                <a:cubicBezTo>
                  <a:pt x="39" y="94"/>
                  <a:pt x="39" y="95"/>
                  <a:pt x="39" y="95"/>
                </a:cubicBezTo>
                <a:cubicBezTo>
                  <a:pt x="40" y="95"/>
                  <a:pt x="42" y="95"/>
                  <a:pt x="42" y="95"/>
                </a:cubicBezTo>
                <a:cubicBezTo>
                  <a:pt x="42" y="95"/>
                  <a:pt x="41" y="97"/>
                  <a:pt x="43" y="97"/>
                </a:cubicBezTo>
                <a:cubicBezTo>
                  <a:pt x="44" y="98"/>
                  <a:pt x="46" y="98"/>
                  <a:pt x="46" y="99"/>
                </a:cubicBezTo>
                <a:cubicBezTo>
                  <a:pt x="47" y="99"/>
                  <a:pt x="45" y="100"/>
                  <a:pt x="47" y="100"/>
                </a:cubicBezTo>
                <a:cubicBezTo>
                  <a:pt x="49" y="100"/>
                  <a:pt x="51" y="100"/>
                  <a:pt x="52" y="101"/>
                </a:cubicBezTo>
                <a:cubicBezTo>
                  <a:pt x="53" y="101"/>
                  <a:pt x="52" y="102"/>
                  <a:pt x="54" y="104"/>
                </a:cubicBezTo>
                <a:cubicBezTo>
                  <a:pt x="57" y="105"/>
                  <a:pt x="57" y="105"/>
                  <a:pt x="58" y="106"/>
                </a:cubicBezTo>
                <a:cubicBezTo>
                  <a:pt x="59" y="106"/>
                  <a:pt x="60" y="106"/>
                  <a:pt x="59" y="108"/>
                </a:cubicBezTo>
                <a:cubicBezTo>
                  <a:pt x="59" y="109"/>
                  <a:pt x="59" y="111"/>
                  <a:pt x="58" y="111"/>
                </a:cubicBezTo>
                <a:cubicBezTo>
                  <a:pt x="57" y="112"/>
                  <a:pt x="56" y="114"/>
                  <a:pt x="55" y="115"/>
                </a:cubicBezTo>
                <a:cubicBezTo>
                  <a:pt x="55" y="116"/>
                  <a:pt x="54" y="117"/>
                  <a:pt x="55" y="118"/>
                </a:cubicBezTo>
                <a:cubicBezTo>
                  <a:pt x="55" y="120"/>
                  <a:pt x="56" y="121"/>
                  <a:pt x="56" y="122"/>
                </a:cubicBezTo>
                <a:cubicBezTo>
                  <a:pt x="56" y="122"/>
                  <a:pt x="56" y="125"/>
                  <a:pt x="56" y="125"/>
                </a:cubicBezTo>
                <a:cubicBezTo>
                  <a:pt x="55" y="126"/>
                  <a:pt x="55" y="128"/>
                  <a:pt x="55" y="128"/>
                </a:cubicBezTo>
                <a:cubicBezTo>
                  <a:pt x="55" y="128"/>
                  <a:pt x="56" y="129"/>
                  <a:pt x="55" y="130"/>
                </a:cubicBezTo>
                <a:cubicBezTo>
                  <a:pt x="54" y="132"/>
                  <a:pt x="52" y="133"/>
                  <a:pt x="51" y="133"/>
                </a:cubicBezTo>
                <a:cubicBezTo>
                  <a:pt x="50" y="134"/>
                  <a:pt x="49" y="135"/>
                  <a:pt x="49" y="135"/>
                </a:cubicBezTo>
                <a:cubicBezTo>
                  <a:pt x="49" y="135"/>
                  <a:pt x="49" y="139"/>
                  <a:pt x="49" y="140"/>
                </a:cubicBezTo>
                <a:cubicBezTo>
                  <a:pt x="48" y="140"/>
                  <a:pt x="45" y="146"/>
                  <a:pt x="46" y="147"/>
                </a:cubicBezTo>
                <a:cubicBezTo>
                  <a:pt x="47" y="149"/>
                  <a:pt x="48" y="150"/>
                  <a:pt x="47" y="151"/>
                </a:cubicBezTo>
                <a:cubicBezTo>
                  <a:pt x="47" y="152"/>
                  <a:pt x="47" y="152"/>
                  <a:pt x="46" y="153"/>
                </a:cubicBezTo>
                <a:cubicBezTo>
                  <a:pt x="46" y="153"/>
                  <a:pt x="44" y="153"/>
                  <a:pt x="45" y="155"/>
                </a:cubicBezTo>
                <a:cubicBezTo>
                  <a:pt x="46" y="157"/>
                  <a:pt x="47" y="157"/>
                  <a:pt x="48" y="159"/>
                </a:cubicBezTo>
                <a:cubicBezTo>
                  <a:pt x="48" y="160"/>
                  <a:pt x="48" y="160"/>
                  <a:pt x="49" y="161"/>
                </a:cubicBezTo>
                <a:cubicBezTo>
                  <a:pt x="50" y="162"/>
                  <a:pt x="50" y="164"/>
                  <a:pt x="51" y="165"/>
                </a:cubicBezTo>
                <a:cubicBezTo>
                  <a:pt x="52" y="165"/>
                  <a:pt x="54" y="166"/>
                  <a:pt x="54" y="167"/>
                </a:cubicBezTo>
                <a:cubicBezTo>
                  <a:pt x="54" y="168"/>
                  <a:pt x="56" y="170"/>
                  <a:pt x="53" y="169"/>
                </a:cubicBezTo>
                <a:cubicBezTo>
                  <a:pt x="50" y="167"/>
                  <a:pt x="53" y="169"/>
                  <a:pt x="49" y="166"/>
                </a:cubicBezTo>
                <a:cubicBezTo>
                  <a:pt x="46" y="163"/>
                  <a:pt x="45" y="164"/>
                  <a:pt x="44" y="162"/>
                </a:cubicBezTo>
                <a:cubicBezTo>
                  <a:pt x="42" y="161"/>
                  <a:pt x="44" y="167"/>
                  <a:pt x="42" y="159"/>
                </a:cubicBezTo>
                <a:cubicBezTo>
                  <a:pt x="39" y="152"/>
                  <a:pt x="38" y="153"/>
                  <a:pt x="37" y="151"/>
                </a:cubicBezTo>
                <a:cubicBezTo>
                  <a:pt x="37" y="150"/>
                  <a:pt x="37" y="151"/>
                  <a:pt x="35" y="148"/>
                </a:cubicBezTo>
                <a:cubicBezTo>
                  <a:pt x="33" y="144"/>
                  <a:pt x="35" y="146"/>
                  <a:pt x="33" y="144"/>
                </a:cubicBezTo>
                <a:cubicBezTo>
                  <a:pt x="31" y="142"/>
                  <a:pt x="31" y="145"/>
                  <a:pt x="30" y="141"/>
                </a:cubicBezTo>
                <a:cubicBezTo>
                  <a:pt x="29" y="136"/>
                  <a:pt x="29" y="139"/>
                  <a:pt x="28" y="134"/>
                </a:cubicBezTo>
                <a:cubicBezTo>
                  <a:pt x="27" y="130"/>
                  <a:pt x="29" y="129"/>
                  <a:pt x="26" y="127"/>
                </a:cubicBezTo>
                <a:cubicBezTo>
                  <a:pt x="24" y="125"/>
                  <a:pt x="24" y="126"/>
                  <a:pt x="23" y="124"/>
                </a:cubicBezTo>
                <a:cubicBezTo>
                  <a:pt x="22" y="123"/>
                  <a:pt x="23" y="124"/>
                  <a:pt x="21" y="120"/>
                </a:cubicBezTo>
                <a:cubicBezTo>
                  <a:pt x="19" y="116"/>
                  <a:pt x="15" y="114"/>
                  <a:pt x="15" y="107"/>
                </a:cubicBezTo>
                <a:cubicBezTo>
                  <a:pt x="16" y="100"/>
                  <a:pt x="16" y="99"/>
                  <a:pt x="16" y="99"/>
                </a:cubicBezTo>
                <a:cubicBezTo>
                  <a:pt x="16" y="99"/>
                  <a:pt x="12" y="96"/>
                  <a:pt x="13" y="92"/>
                </a:cubicBezTo>
                <a:cubicBezTo>
                  <a:pt x="14" y="88"/>
                  <a:pt x="15" y="89"/>
                  <a:pt x="14" y="88"/>
                </a:cubicBezTo>
                <a:cubicBezTo>
                  <a:pt x="14" y="87"/>
                  <a:pt x="14" y="87"/>
                  <a:pt x="12" y="85"/>
                </a:cubicBezTo>
                <a:cubicBezTo>
                  <a:pt x="11" y="84"/>
                  <a:pt x="11" y="84"/>
                  <a:pt x="11" y="83"/>
                </a:cubicBezTo>
                <a:cubicBezTo>
                  <a:pt x="10" y="82"/>
                  <a:pt x="10" y="80"/>
                  <a:pt x="10" y="80"/>
                </a:cubicBezTo>
                <a:cubicBezTo>
                  <a:pt x="9" y="80"/>
                  <a:pt x="9" y="80"/>
                  <a:pt x="9" y="80"/>
                </a:cubicBezTo>
                <a:cubicBezTo>
                  <a:pt x="9" y="80"/>
                  <a:pt x="0" y="173"/>
                  <a:pt x="92" y="187"/>
                </a:cubicBezTo>
                <a:cubicBezTo>
                  <a:pt x="92" y="187"/>
                  <a:pt x="71" y="182"/>
                  <a:pt x="69" y="178"/>
                </a:cubicBezTo>
                <a:cubicBezTo>
                  <a:pt x="69" y="178"/>
                  <a:pt x="69" y="174"/>
                  <a:pt x="70" y="174"/>
                </a:cubicBezTo>
                <a:cubicBezTo>
                  <a:pt x="71" y="174"/>
                  <a:pt x="72" y="175"/>
                  <a:pt x="73" y="174"/>
                </a:cubicBezTo>
                <a:cubicBezTo>
                  <a:pt x="75" y="173"/>
                  <a:pt x="76" y="171"/>
                  <a:pt x="76" y="171"/>
                </a:cubicBezTo>
                <a:cubicBezTo>
                  <a:pt x="76" y="173"/>
                  <a:pt x="76" y="173"/>
                  <a:pt x="76" y="173"/>
                </a:cubicBezTo>
                <a:cubicBezTo>
                  <a:pt x="76" y="173"/>
                  <a:pt x="75" y="173"/>
                  <a:pt x="79" y="173"/>
                </a:cubicBezTo>
                <a:cubicBezTo>
                  <a:pt x="83" y="172"/>
                  <a:pt x="83" y="172"/>
                  <a:pt x="85" y="172"/>
                </a:cubicBezTo>
                <a:cubicBezTo>
                  <a:pt x="86" y="171"/>
                  <a:pt x="88" y="168"/>
                  <a:pt x="89" y="170"/>
                </a:cubicBezTo>
                <a:cubicBezTo>
                  <a:pt x="90" y="172"/>
                  <a:pt x="88" y="171"/>
                  <a:pt x="90" y="172"/>
                </a:cubicBezTo>
                <a:cubicBezTo>
                  <a:pt x="92" y="173"/>
                  <a:pt x="96" y="171"/>
                  <a:pt x="96" y="171"/>
                </a:cubicBezTo>
                <a:cubicBezTo>
                  <a:pt x="96" y="171"/>
                  <a:pt x="102" y="172"/>
                  <a:pt x="103" y="171"/>
                </a:cubicBezTo>
                <a:cubicBezTo>
                  <a:pt x="103" y="170"/>
                  <a:pt x="103" y="169"/>
                  <a:pt x="105" y="169"/>
                </a:cubicBezTo>
                <a:cubicBezTo>
                  <a:pt x="106" y="170"/>
                  <a:pt x="106" y="171"/>
                  <a:pt x="106" y="171"/>
                </a:cubicBezTo>
                <a:cubicBezTo>
                  <a:pt x="103" y="173"/>
                  <a:pt x="103" y="173"/>
                  <a:pt x="103" y="173"/>
                </a:cubicBezTo>
                <a:cubicBezTo>
                  <a:pt x="99" y="176"/>
                  <a:pt x="99" y="176"/>
                  <a:pt x="99" y="176"/>
                </a:cubicBezTo>
                <a:cubicBezTo>
                  <a:pt x="99" y="176"/>
                  <a:pt x="98" y="176"/>
                  <a:pt x="99" y="177"/>
                </a:cubicBezTo>
                <a:cubicBezTo>
                  <a:pt x="101" y="178"/>
                  <a:pt x="101" y="177"/>
                  <a:pt x="103" y="178"/>
                </a:cubicBezTo>
                <a:cubicBezTo>
                  <a:pt x="104" y="178"/>
                  <a:pt x="108" y="181"/>
                  <a:pt x="109" y="179"/>
                </a:cubicBezTo>
                <a:cubicBezTo>
                  <a:pt x="110" y="177"/>
                  <a:pt x="110" y="177"/>
                  <a:pt x="111" y="176"/>
                </a:cubicBezTo>
                <a:cubicBezTo>
                  <a:pt x="111" y="175"/>
                  <a:pt x="111" y="173"/>
                  <a:pt x="113" y="173"/>
                </a:cubicBezTo>
                <a:cubicBezTo>
                  <a:pt x="114" y="173"/>
                  <a:pt x="116" y="174"/>
                  <a:pt x="116" y="174"/>
                </a:cubicBezTo>
                <a:cubicBezTo>
                  <a:pt x="114" y="177"/>
                  <a:pt x="114" y="177"/>
                  <a:pt x="114" y="177"/>
                </a:cubicBezTo>
                <a:cubicBezTo>
                  <a:pt x="114" y="177"/>
                  <a:pt x="117" y="177"/>
                  <a:pt x="118" y="177"/>
                </a:cubicBezTo>
                <a:cubicBezTo>
                  <a:pt x="119" y="177"/>
                  <a:pt x="120" y="178"/>
                  <a:pt x="121" y="177"/>
                </a:cubicBezTo>
                <a:cubicBezTo>
                  <a:pt x="123" y="175"/>
                  <a:pt x="123" y="175"/>
                  <a:pt x="124" y="175"/>
                </a:cubicBezTo>
                <a:cubicBezTo>
                  <a:pt x="126" y="175"/>
                  <a:pt x="128" y="174"/>
                  <a:pt x="129" y="174"/>
                </a:cubicBezTo>
                <a:cubicBezTo>
                  <a:pt x="129" y="175"/>
                  <a:pt x="131" y="175"/>
                  <a:pt x="131" y="175"/>
                </a:cubicBezTo>
                <a:cubicBezTo>
                  <a:pt x="132" y="175"/>
                  <a:pt x="135" y="177"/>
                  <a:pt x="136" y="177"/>
                </a:cubicBezTo>
                <a:cubicBezTo>
                  <a:pt x="137" y="176"/>
                  <a:pt x="141" y="177"/>
                  <a:pt x="141" y="177"/>
                </a:cubicBezTo>
                <a:cubicBezTo>
                  <a:pt x="141" y="177"/>
                  <a:pt x="130" y="186"/>
                  <a:pt x="107" y="187"/>
                </a:cubicBezTo>
                <a:cubicBezTo>
                  <a:pt x="107" y="187"/>
                  <a:pt x="158" y="189"/>
                  <a:pt x="187" y="139"/>
                </a:cubicBezTo>
                <a:cubicBezTo>
                  <a:pt x="216" y="89"/>
                  <a:pt x="196" y="25"/>
                  <a:pt x="130" y="3"/>
                </a:cubicBezTo>
                <a:cubicBezTo>
                  <a:pt x="130" y="3"/>
                  <a:pt x="179" y="21"/>
                  <a:pt x="192" y="68"/>
                </a:cubicBezTo>
                <a:cubicBezTo>
                  <a:pt x="192" y="69"/>
                  <a:pt x="192" y="69"/>
                  <a:pt x="192" y="69"/>
                </a:cubicBezTo>
                <a:cubicBezTo>
                  <a:pt x="191" y="68"/>
                  <a:pt x="191" y="68"/>
                  <a:pt x="190" y="66"/>
                </a:cubicBezTo>
                <a:cubicBezTo>
                  <a:pt x="188" y="64"/>
                  <a:pt x="189" y="64"/>
                  <a:pt x="188" y="63"/>
                </a:cubicBezTo>
                <a:cubicBezTo>
                  <a:pt x="188" y="61"/>
                  <a:pt x="188" y="62"/>
                  <a:pt x="187" y="61"/>
                </a:cubicBezTo>
                <a:cubicBezTo>
                  <a:pt x="186" y="59"/>
                  <a:pt x="185" y="60"/>
                  <a:pt x="184" y="59"/>
                </a:cubicBezTo>
                <a:cubicBezTo>
                  <a:pt x="184" y="58"/>
                  <a:pt x="183" y="55"/>
                  <a:pt x="182" y="54"/>
                </a:cubicBezTo>
                <a:cubicBezTo>
                  <a:pt x="181" y="53"/>
                  <a:pt x="179" y="53"/>
                  <a:pt x="178" y="53"/>
                </a:cubicBezTo>
                <a:cubicBezTo>
                  <a:pt x="178" y="53"/>
                  <a:pt x="178" y="51"/>
                  <a:pt x="178" y="53"/>
                </a:cubicBezTo>
                <a:cubicBezTo>
                  <a:pt x="177" y="54"/>
                  <a:pt x="179" y="55"/>
                  <a:pt x="179" y="55"/>
                </a:cubicBezTo>
                <a:cubicBezTo>
                  <a:pt x="179" y="59"/>
                  <a:pt x="179" y="59"/>
                  <a:pt x="179" y="59"/>
                </a:cubicBezTo>
                <a:cubicBezTo>
                  <a:pt x="179" y="59"/>
                  <a:pt x="180" y="62"/>
                  <a:pt x="180" y="63"/>
                </a:cubicBezTo>
                <a:cubicBezTo>
                  <a:pt x="180" y="64"/>
                  <a:pt x="179" y="66"/>
                  <a:pt x="179" y="66"/>
                </a:cubicBezTo>
                <a:cubicBezTo>
                  <a:pt x="179" y="66"/>
                  <a:pt x="179" y="69"/>
                  <a:pt x="178" y="70"/>
                </a:cubicBezTo>
                <a:cubicBezTo>
                  <a:pt x="177" y="70"/>
                  <a:pt x="172" y="71"/>
                  <a:pt x="172" y="71"/>
                </a:cubicBezTo>
                <a:cubicBezTo>
                  <a:pt x="172" y="71"/>
                  <a:pt x="170" y="69"/>
                  <a:pt x="169" y="68"/>
                </a:cubicBezTo>
                <a:cubicBezTo>
                  <a:pt x="169" y="66"/>
                  <a:pt x="166" y="66"/>
                  <a:pt x="165" y="65"/>
                </a:cubicBezTo>
                <a:cubicBezTo>
                  <a:pt x="165" y="64"/>
                  <a:pt x="166" y="63"/>
                  <a:pt x="165" y="61"/>
                </a:cubicBezTo>
                <a:cubicBezTo>
                  <a:pt x="163" y="59"/>
                  <a:pt x="165" y="60"/>
                  <a:pt x="163" y="58"/>
                </a:cubicBezTo>
                <a:cubicBezTo>
                  <a:pt x="161" y="57"/>
                  <a:pt x="161" y="57"/>
                  <a:pt x="161" y="57"/>
                </a:cubicBezTo>
                <a:cubicBezTo>
                  <a:pt x="161" y="57"/>
                  <a:pt x="157" y="55"/>
                  <a:pt x="158" y="58"/>
                </a:cubicBezTo>
                <a:cubicBezTo>
                  <a:pt x="160" y="60"/>
                  <a:pt x="158" y="62"/>
                  <a:pt x="159" y="62"/>
                </a:cubicBezTo>
                <a:cubicBezTo>
                  <a:pt x="160" y="63"/>
                  <a:pt x="161" y="62"/>
                  <a:pt x="162" y="64"/>
                </a:cubicBezTo>
                <a:cubicBezTo>
                  <a:pt x="163" y="66"/>
                  <a:pt x="163" y="67"/>
                  <a:pt x="164" y="67"/>
                </a:cubicBezTo>
                <a:cubicBezTo>
                  <a:pt x="164" y="68"/>
                  <a:pt x="165" y="71"/>
                  <a:pt x="165" y="71"/>
                </a:cubicBezTo>
                <a:cubicBezTo>
                  <a:pt x="166" y="71"/>
                  <a:pt x="169" y="71"/>
                  <a:pt x="169" y="72"/>
                </a:cubicBezTo>
                <a:cubicBezTo>
                  <a:pt x="168" y="73"/>
                  <a:pt x="167" y="75"/>
                  <a:pt x="169" y="75"/>
                </a:cubicBezTo>
                <a:cubicBezTo>
                  <a:pt x="170" y="76"/>
                  <a:pt x="170" y="76"/>
                  <a:pt x="171" y="76"/>
                </a:cubicBezTo>
                <a:cubicBezTo>
                  <a:pt x="172" y="76"/>
                  <a:pt x="172" y="76"/>
                  <a:pt x="173" y="76"/>
                </a:cubicBezTo>
                <a:cubicBezTo>
                  <a:pt x="175" y="75"/>
                  <a:pt x="176" y="75"/>
                  <a:pt x="176" y="75"/>
                </a:cubicBezTo>
                <a:cubicBezTo>
                  <a:pt x="176" y="75"/>
                  <a:pt x="178" y="77"/>
                  <a:pt x="178" y="77"/>
                </a:cubicBezTo>
                <a:cubicBezTo>
                  <a:pt x="178" y="78"/>
                  <a:pt x="178" y="82"/>
                  <a:pt x="178" y="82"/>
                </a:cubicBezTo>
                <a:cubicBezTo>
                  <a:pt x="176" y="85"/>
                  <a:pt x="176" y="85"/>
                  <a:pt x="176" y="85"/>
                </a:cubicBezTo>
                <a:cubicBezTo>
                  <a:pt x="176" y="85"/>
                  <a:pt x="176" y="92"/>
                  <a:pt x="175" y="92"/>
                </a:cubicBezTo>
                <a:cubicBezTo>
                  <a:pt x="174" y="92"/>
                  <a:pt x="173" y="95"/>
                  <a:pt x="172" y="95"/>
                </a:cubicBezTo>
                <a:cubicBezTo>
                  <a:pt x="171" y="96"/>
                  <a:pt x="171" y="100"/>
                  <a:pt x="171" y="100"/>
                </a:cubicBezTo>
                <a:cubicBezTo>
                  <a:pt x="169" y="103"/>
                  <a:pt x="169" y="103"/>
                  <a:pt x="169" y="103"/>
                </a:cubicBezTo>
                <a:cubicBezTo>
                  <a:pt x="169" y="103"/>
                  <a:pt x="169" y="106"/>
                  <a:pt x="169" y="107"/>
                </a:cubicBezTo>
                <a:cubicBezTo>
                  <a:pt x="169" y="108"/>
                  <a:pt x="170" y="111"/>
                  <a:pt x="169" y="113"/>
                </a:cubicBezTo>
                <a:cubicBezTo>
                  <a:pt x="169" y="115"/>
                  <a:pt x="166" y="117"/>
                  <a:pt x="166" y="117"/>
                </a:cubicBezTo>
                <a:cubicBezTo>
                  <a:pt x="166" y="117"/>
                  <a:pt x="170" y="120"/>
                  <a:pt x="168" y="120"/>
                </a:cubicBezTo>
                <a:cubicBezTo>
                  <a:pt x="166" y="120"/>
                  <a:pt x="164" y="123"/>
                  <a:pt x="164" y="124"/>
                </a:cubicBezTo>
                <a:cubicBezTo>
                  <a:pt x="163" y="124"/>
                  <a:pt x="164" y="126"/>
                  <a:pt x="163" y="126"/>
                </a:cubicBezTo>
                <a:cubicBezTo>
                  <a:pt x="161" y="126"/>
                  <a:pt x="159" y="126"/>
                  <a:pt x="159" y="127"/>
                </a:cubicBezTo>
                <a:cubicBezTo>
                  <a:pt x="159" y="128"/>
                  <a:pt x="159" y="130"/>
                  <a:pt x="159" y="130"/>
                </a:cubicBezTo>
                <a:cubicBezTo>
                  <a:pt x="156" y="135"/>
                  <a:pt x="156" y="135"/>
                  <a:pt x="156" y="135"/>
                </a:cubicBezTo>
                <a:cubicBezTo>
                  <a:pt x="152" y="139"/>
                  <a:pt x="152" y="139"/>
                  <a:pt x="152" y="139"/>
                </a:cubicBezTo>
                <a:cubicBezTo>
                  <a:pt x="152" y="139"/>
                  <a:pt x="152" y="141"/>
                  <a:pt x="151" y="142"/>
                </a:cubicBezTo>
                <a:cubicBezTo>
                  <a:pt x="150" y="142"/>
                  <a:pt x="145" y="144"/>
                  <a:pt x="144" y="144"/>
                </a:cubicBezTo>
                <a:cubicBezTo>
                  <a:pt x="144" y="145"/>
                  <a:pt x="141" y="147"/>
                  <a:pt x="139" y="147"/>
                </a:cubicBezTo>
                <a:cubicBezTo>
                  <a:pt x="138" y="147"/>
                  <a:pt x="140" y="150"/>
                  <a:pt x="138" y="147"/>
                </a:cubicBezTo>
                <a:cubicBezTo>
                  <a:pt x="137" y="143"/>
                  <a:pt x="138" y="145"/>
                  <a:pt x="136" y="142"/>
                </a:cubicBezTo>
                <a:cubicBezTo>
                  <a:pt x="135" y="138"/>
                  <a:pt x="135" y="141"/>
                  <a:pt x="135" y="138"/>
                </a:cubicBezTo>
                <a:cubicBezTo>
                  <a:pt x="135" y="136"/>
                  <a:pt x="135" y="138"/>
                  <a:pt x="135" y="136"/>
                </a:cubicBezTo>
                <a:cubicBezTo>
                  <a:pt x="135" y="133"/>
                  <a:pt x="135" y="135"/>
                  <a:pt x="134" y="132"/>
                </a:cubicBezTo>
                <a:cubicBezTo>
                  <a:pt x="133" y="129"/>
                  <a:pt x="133" y="130"/>
                  <a:pt x="131" y="128"/>
                </a:cubicBezTo>
                <a:cubicBezTo>
                  <a:pt x="129" y="127"/>
                  <a:pt x="128" y="128"/>
                  <a:pt x="129" y="126"/>
                </a:cubicBezTo>
                <a:cubicBezTo>
                  <a:pt x="130" y="123"/>
                  <a:pt x="130" y="126"/>
                  <a:pt x="130" y="123"/>
                </a:cubicBezTo>
                <a:cubicBezTo>
                  <a:pt x="131" y="120"/>
                  <a:pt x="130" y="119"/>
                  <a:pt x="132" y="118"/>
                </a:cubicBezTo>
                <a:cubicBezTo>
                  <a:pt x="134" y="117"/>
                  <a:pt x="135" y="117"/>
                  <a:pt x="135" y="115"/>
                </a:cubicBezTo>
                <a:cubicBezTo>
                  <a:pt x="135" y="113"/>
                  <a:pt x="135" y="112"/>
                  <a:pt x="134" y="111"/>
                </a:cubicBezTo>
                <a:cubicBezTo>
                  <a:pt x="134" y="110"/>
                  <a:pt x="132" y="108"/>
                  <a:pt x="132" y="108"/>
                </a:cubicBezTo>
                <a:cubicBezTo>
                  <a:pt x="132" y="107"/>
                  <a:pt x="132" y="107"/>
                  <a:pt x="130" y="105"/>
                </a:cubicBezTo>
                <a:cubicBezTo>
                  <a:pt x="129" y="103"/>
                  <a:pt x="128" y="102"/>
                  <a:pt x="128" y="102"/>
                </a:cubicBezTo>
                <a:cubicBezTo>
                  <a:pt x="128" y="102"/>
                  <a:pt x="128" y="98"/>
                  <a:pt x="128" y="96"/>
                </a:cubicBezTo>
                <a:cubicBezTo>
                  <a:pt x="128" y="94"/>
                  <a:pt x="127" y="97"/>
                  <a:pt x="128" y="94"/>
                </a:cubicBezTo>
                <a:cubicBezTo>
                  <a:pt x="128" y="91"/>
                  <a:pt x="129" y="90"/>
                  <a:pt x="129" y="90"/>
                </a:cubicBezTo>
                <a:cubicBezTo>
                  <a:pt x="129" y="90"/>
                  <a:pt x="125" y="87"/>
                  <a:pt x="124" y="88"/>
                </a:cubicBezTo>
                <a:cubicBezTo>
                  <a:pt x="123" y="88"/>
                  <a:pt x="123" y="90"/>
                  <a:pt x="121" y="88"/>
                </a:cubicBezTo>
                <a:cubicBezTo>
                  <a:pt x="119" y="87"/>
                  <a:pt x="119" y="86"/>
                  <a:pt x="119" y="85"/>
                </a:cubicBezTo>
                <a:cubicBezTo>
                  <a:pt x="118" y="85"/>
                  <a:pt x="117" y="85"/>
                  <a:pt x="116" y="85"/>
                </a:cubicBezTo>
                <a:cubicBezTo>
                  <a:pt x="114" y="86"/>
                  <a:pt x="112" y="86"/>
                  <a:pt x="110" y="87"/>
                </a:cubicBezTo>
                <a:cubicBezTo>
                  <a:pt x="108" y="88"/>
                  <a:pt x="107" y="88"/>
                  <a:pt x="105" y="88"/>
                </a:cubicBezTo>
                <a:cubicBezTo>
                  <a:pt x="102" y="88"/>
                  <a:pt x="99" y="89"/>
                  <a:pt x="97" y="88"/>
                </a:cubicBezTo>
                <a:cubicBezTo>
                  <a:pt x="95" y="86"/>
                  <a:pt x="95" y="88"/>
                  <a:pt x="94" y="86"/>
                </a:cubicBezTo>
                <a:cubicBezTo>
                  <a:pt x="93" y="84"/>
                  <a:pt x="94" y="84"/>
                  <a:pt x="92" y="83"/>
                </a:cubicBezTo>
                <a:cubicBezTo>
                  <a:pt x="90" y="82"/>
                  <a:pt x="90" y="83"/>
                  <a:pt x="89" y="81"/>
                </a:cubicBezTo>
                <a:cubicBezTo>
                  <a:pt x="89" y="79"/>
                  <a:pt x="90" y="79"/>
                  <a:pt x="89" y="77"/>
                </a:cubicBezTo>
                <a:cubicBezTo>
                  <a:pt x="87" y="75"/>
                  <a:pt x="90" y="78"/>
                  <a:pt x="87" y="75"/>
                </a:cubicBezTo>
                <a:cubicBezTo>
                  <a:pt x="85" y="73"/>
                  <a:pt x="84" y="75"/>
                  <a:pt x="85" y="73"/>
                </a:cubicBezTo>
                <a:cubicBezTo>
                  <a:pt x="86" y="71"/>
                  <a:pt x="86" y="72"/>
                  <a:pt x="86" y="69"/>
                </a:cubicBezTo>
                <a:cubicBezTo>
                  <a:pt x="86" y="67"/>
                  <a:pt x="90" y="70"/>
                  <a:pt x="88" y="65"/>
                </a:cubicBezTo>
                <a:cubicBezTo>
                  <a:pt x="85" y="60"/>
                  <a:pt x="85" y="61"/>
                  <a:pt x="87" y="57"/>
                </a:cubicBezTo>
                <a:cubicBezTo>
                  <a:pt x="89" y="53"/>
                  <a:pt x="92" y="52"/>
                  <a:pt x="93" y="51"/>
                </a:cubicBezTo>
                <a:cubicBezTo>
                  <a:pt x="93" y="50"/>
                  <a:pt x="94" y="48"/>
                  <a:pt x="95" y="47"/>
                </a:cubicBezTo>
                <a:cubicBezTo>
                  <a:pt x="96" y="46"/>
                  <a:pt x="95" y="46"/>
                  <a:pt x="97" y="46"/>
                </a:cubicBezTo>
                <a:cubicBezTo>
                  <a:pt x="99" y="46"/>
                  <a:pt x="101" y="45"/>
                  <a:pt x="103" y="44"/>
                </a:cubicBezTo>
                <a:cubicBezTo>
                  <a:pt x="104" y="43"/>
                  <a:pt x="106" y="41"/>
                  <a:pt x="107" y="40"/>
                </a:cubicBezTo>
                <a:cubicBezTo>
                  <a:pt x="107" y="40"/>
                  <a:pt x="107" y="41"/>
                  <a:pt x="109" y="40"/>
                </a:cubicBezTo>
                <a:cubicBezTo>
                  <a:pt x="111" y="40"/>
                  <a:pt x="111" y="39"/>
                  <a:pt x="113" y="39"/>
                </a:cubicBezTo>
                <a:cubicBezTo>
                  <a:pt x="114" y="39"/>
                  <a:pt x="111" y="40"/>
                  <a:pt x="115" y="39"/>
                </a:cubicBezTo>
                <a:cubicBezTo>
                  <a:pt x="119" y="39"/>
                  <a:pt x="118" y="39"/>
                  <a:pt x="119" y="39"/>
                </a:cubicBezTo>
                <a:cubicBezTo>
                  <a:pt x="120" y="39"/>
                  <a:pt x="119" y="39"/>
                  <a:pt x="121" y="39"/>
                </a:cubicBezTo>
                <a:cubicBezTo>
                  <a:pt x="122" y="39"/>
                  <a:pt x="122" y="36"/>
                  <a:pt x="122" y="39"/>
                </a:cubicBezTo>
                <a:cubicBezTo>
                  <a:pt x="123" y="43"/>
                  <a:pt x="121" y="44"/>
                  <a:pt x="124" y="44"/>
                </a:cubicBezTo>
                <a:cubicBezTo>
                  <a:pt x="126" y="45"/>
                  <a:pt x="124" y="45"/>
                  <a:pt x="126" y="45"/>
                </a:cubicBezTo>
                <a:cubicBezTo>
                  <a:pt x="129" y="45"/>
                  <a:pt x="128" y="45"/>
                  <a:pt x="130" y="46"/>
                </a:cubicBezTo>
                <a:cubicBezTo>
                  <a:pt x="131" y="46"/>
                  <a:pt x="132" y="47"/>
                  <a:pt x="134" y="47"/>
                </a:cubicBezTo>
                <a:cubicBezTo>
                  <a:pt x="136" y="47"/>
                  <a:pt x="133" y="50"/>
                  <a:pt x="136" y="47"/>
                </a:cubicBezTo>
                <a:cubicBezTo>
                  <a:pt x="139" y="44"/>
                  <a:pt x="133" y="44"/>
                  <a:pt x="139" y="44"/>
                </a:cubicBezTo>
                <a:cubicBezTo>
                  <a:pt x="144" y="45"/>
                  <a:pt x="144" y="46"/>
                  <a:pt x="145" y="45"/>
                </a:cubicBezTo>
                <a:cubicBezTo>
                  <a:pt x="146" y="45"/>
                  <a:pt x="146" y="46"/>
                  <a:pt x="148" y="45"/>
                </a:cubicBezTo>
                <a:cubicBezTo>
                  <a:pt x="151" y="44"/>
                  <a:pt x="151" y="44"/>
                  <a:pt x="152" y="44"/>
                </a:cubicBezTo>
                <a:cubicBezTo>
                  <a:pt x="153" y="45"/>
                  <a:pt x="153" y="47"/>
                  <a:pt x="154" y="45"/>
                </a:cubicBezTo>
                <a:cubicBezTo>
                  <a:pt x="154" y="43"/>
                  <a:pt x="156" y="43"/>
                  <a:pt x="154" y="42"/>
                </a:cubicBezTo>
                <a:cubicBezTo>
                  <a:pt x="151" y="41"/>
                  <a:pt x="150" y="42"/>
                  <a:pt x="150" y="40"/>
                </a:cubicBezTo>
                <a:cubicBezTo>
                  <a:pt x="149" y="39"/>
                  <a:pt x="152" y="39"/>
                  <a:pt x="149" y="39"/>
                </a:cubicBezTo>
                <a:cubicBezTo>
                  <a:pt x="146" y="38"/>
                  <a:pt x="147" y="38"/>
                  <a:pt x="145" y="38"/>
                </a:cubicBezTo>
                <a:cubicBezTo>
                  <a:pt x="143" y="37"/>
                  <a:pt x="141" y="39"/>
                  <a:pt x="140" y="38"/>
                </a:cubicBezTo>
                <a:cubicBezTo>
                  <a:pt x="140" y="36"/>
                  <a:pt x="136" y="39"/>
                  <a:pt x="140" y="36"/>
                </a:cubicBezTo>
                <a:cubicBezTo>
                  <a:pt x="143" y="32"/>
                  <a:pt x="142" y="31"/>
                  <a:pt x="144" y="32"/>
                </a:cubicBezTo>
                <a:cubicBezTo>
                  <a:pt x="147" y="32"/>
                  <a:pt x="146" y="34"/>
                  <a:pt x="148" y="33"/>
                </a:cubicBezTo>
                <a:cubicBezTo>
                  <a:pt x="149" y="32"/>
                  <a:pt x="152" y="31"/>
                  <a:pt x="149" y="29"/>
                </a:cubicBezTo>
                <a:cubicBezTo>
                  <a:pt x="146" y="27"/>
                  <a:pt x="148" y="28"/>
                  <a:pt x="145" y="26"/>
                </a:cubicBezTo>
                <a:cubicBezTo>
                  <a:pt x="142" y="25"/>
                  <a:pt x="140" y="32"/>
                  <a:pt x="139" y="31"/>
                </a:cubicBezTo>
                <a:cubicBezTo>
                  <a:pt x="137" y="30"/>
                  <a:pt x="137" y="29"/>
                  <a:pt x="136" y="30"/>
                </a:cubicBezTo>
                <a:cubicBezTo>
                  <a:pt x="135" y="30"/>
                  <a:pt x="135" y="32"/>
                  <a:pt x="135" y="34"/>
                </a:cubicBezTo>
                <a:cubicBezTo>
                  <a:pt x="134" y="36"/>
                  <a:pt x="136" y="36"/>
                  <a:pt x="133" y="35"/>
                </a:cubicBezTo>
                <a:cubicBezTo>
                  <a:pt x="130" y="34"/>
                  <a:pt x="136" y="34"/>
                  <a:pt x="130" y="32"/>
                </a:cubicBezTo>
                <a:cubicBezTo>
                  <a:pt x="124" y="30"/>
                  <a:pt x="121" y="30"/>
                  <a:pt x="120" y="31"/>
                </a:cubicBezTo>
                <a:cubicBezTo>
                  <a:pt x="120" y="32"/>
                  <a:pt x="118" y="32"/>
                  <a:pt x="118" y="32"/>
                </a:cubicBezTo>
                <a:cubicBezTo>
                  <a:pt x="117" y="33"/>
                  <a:pt x="120" y="35"/>
                  <a:pt x="117" y="33"/>
                </a:cubicBezTo>
                <a:cubicBezTo>
                  <a:pt x="114" y="32"/>
                  <a:pt x="112" y="34"/>
                  <a:pt x="112" y="34"/>
                </a:cubicBezTo>
                <a:cubicBezTo>
                  <a:pt x="112" y="34"/>
                  <a:pt x="111" y="34"/>
                  <a:pt x="110" y="34"/>
                </a:cubicBezTo>
                <a:cubicBezTo>
                  <a:pt x="109" y="35"/>
                  <a:pt x="106" y="36"/>
                  <a:pt x="105" y="36"/>
                </a:cubicBezTo>
                <a:cubicBezTo>
                  <a:pt x="104" y="35"/>
                  <a:pt x="101" y="36"/>
                  <a:pt x="103" y="33"/>
                </a:cubicBezTo>
                <a:cubicBezTo>
                  <a:pt x="106" y="30"/>
                  <a:pt x="104" y="32"/>
                  <a:pt x="108" y="30"/>
                </a:cubicBezTo>
                <a:cubicBezTo>
                  <a:pt x="111" y="28"/>
                  <a:pt x="117" y="28"/>
                  <a:pt x="112" y="27"/>
                </a:cubicBezTo>
                <a:cubicBezTo>
                  <a:pt x="107" y="26"/>
                  <a:pt x="115" y="26"/>
                  <a:pt x="108" y="23"/>
                </a:cubicBezTo>
                <a:cubicBezTo>
                  <a:pt x="102" y="20"/>
                  <a:pt x="102" y="24"/>
                  <a:pt x="102" y="20"/>
                </a:cubicBezTo>
                <a:cubicBezTo>
                  <a:pt x="102" y="16"/>
                  <a:pt x="101" y="15"/>
                  <a:pt x="100" y="16"/>
                </a:cubicBezTo>
                <a:cubicBezTo>
                  <a:pt x="99" y="16"/>
                  <a:pt x="95" y="17"/>
                  <a:pt x="93" y="17"/>
                </a:cubicBezTo>
                <a:cubicBezTo>
                  <a:pt x="92" y="17"/>
                  <a:pt x="94" y="19"/>
                  <a:pt x="91" y="17"/>
                </a:cubicBezTo>
                <a:cubicBezTo>
                  <a:pt x="88" y="15"/>
                  <a:pt x="87" y="18"/>
                  <a:pt x="88" y="15"/>
                </a:cubicBezTo>
                <a:cubicBezTo>
                  <a:pt x="89" y="12"/>
                  <a:pt x="89" y="12"/>
                  <a:pt x="91" y="10"/>
                </a:cubicBezTo>
                <a:cubicBezTo>
                  <a:pt x="93" y="9"/>
                  <a:pt x="92" y="3"/>
                  <a:pt x="97" y="5"/>
                </a:cubicBezTo>
                <a:cubicBezTo>
                  <a:pt x="101" y="7"/>
                  <a:pt x="99" y="7"/>
                  <a:pt x="103" y="7"/>
                </a:cubicBezTo>
                <a:cubicBezTo>
                  <a:pt x="106" y="7"/>
                  <a:pt x="108" y="7"/>
                  <a:pt x="108" y="6"/>
                </a:cubicBezTo>
                <a:cubicBezTo>
                  <a:pt x="108" y="5"/>
                  <a:pt x="104" y="3"/>
                  <a:pt x="104" y="3"/>
                </a:cubicBezTo>
                <a:cubicBezTo>
                  <a:pt x="104" y="3"/>
                  <a:pt x="103" y="4"/>
                  <a:pt x="103" y="3"/>
                </a:cubicBezTo>
                <a:cubicBezTo>
                  <a:pt x="103" y="2"/>
                  <a:pt x="104" y="1"/>
                  <a:pt x="104" y="1"/>
                </a:cubicBezTo>
                <a:cubicBezTo>
                  <a:pt x="103" y="0"/>
                  <a:pt x="103" y="0"/>
                  <a:pt x="103" y="0"/>
                </a:cubicBezTo>
                <a:cubicBezTo>
                  <a:pt x="103" y="0"/>
                  <a:pt x="91" y="0"/>
                  <a:pt x="88" y="1"/>
                </a:cubicBezTo>
                <a:close/>
              </a:path>
            </a:pathLst>
          </a:custGeom>
          <a:solidFill>
            <a:srgbClr val="F2F2F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56" name="Freeform 86">
            <a:extLst>
              <a:ext uri="{FF2B5EF4-FFF2-40B4-BE49-F238E27FC236}">
                <a16:creationId xmlns:a16="http://schemas.microsoft.com/office/drawing/2014/main" id="{71333258-6865-4B9B-8875-D8EACFB4D58A}"/>
              </a:ext>
            </a:extLst>
          </p:cNvPr>
          <p:cNvSpPr/>
          <p:nvPr/>
        </p:nvSpPr>
        <p:spPr bwMode="auto">
          <a:xfrm>
            <a:off x="3076575" y="3579813"/>
            <a:ext cx="71438" cy="84137"/>
          </a:xfrm>
          <a:custGeom>
            <a:gdLst>
              <a:gd fmla="*/ 2147483647 w 62" name="T0"/>
              <a:gd fmla="*/ 2147483647 h 73" name="T1"/>
              <a:gd fmla="*/ 2147483647 w 62" name="T2"/>
              <a:gd fmla="*/ 2147483647 h 73" name="T3"/>
              <a:gd fmla="*/ 2147483647 w 62" name="T4"/>
              <a:gd fmla="*/ 2147483647 h 73" name="T5"/>
              <a:gd fmla="*/ 2147483647 w 62" name="T6"/>
              <a:gd fmla="*/ 2147483647 h 73" name="T7"/>
              <a:gd fmla="*/ 2147483647 w 62" name="T8"/>
              <a:gd fmla="*/ 2147483647 h 73" name="T9"/>
              <a:gd fmla="*/ 2147483647 w 62" name="T10"/>
              <a:gd fmla="*/ 0 h 73" name="T11"/>
              <a:gd fmla="*/ 2147483647 w 62" name="T12"/>
              <a:gd fmla="*/ 2147483647 h 73" name="T13"/>
              <a:gd fmla="*/ 0 60000 65536" name="T14"/>
              <a:gd fmla="*/ 0 60000 65536" name="T15"/>
              <a:gd fmla="*/ 0 60000 65536" name="T16"/>
              <a:gd fmla="*/ 0 60000 65536" name="T17"/>
              <a:gd fmla="*/ 0 60000 65536" name="T18"/>
              <a:gd fmla="*/ 0 60000 65536" name="T19"/>
              <a:gd fmla="*/ 0 60000 65536" name="T20"/>
            </a:gdLst>
            <a:cxnLst>
              <a:cxn ang="T14">
                <a:pos x="T0" y="T1"/>
              </a:cxn>
              <a:cxn ang="T15">
                <a:pos x="T2" y="T3"/>
              </a:cxn>
              <a:cxn ang="T16">
                <a:pos x="T4" y="T5"/>
              </a:cxn>
              <a:cxn ang="T17">
                <a:pos x="T6" y="T7"/>
              </a:cxn>
              <a:cxn ang="T18">
                <a:pos x="T8" y="T9"/>
              </a:cxn>
              <a:cxn ang="T19">
                <a:pos x="T10" y="T11"/>
              </a:cxn>
              <a:cxn ang="T20">
                <a:pos x="T12" y="T13"/>
              </a:cxn>
            </a:cxnLst>
            <a:rect b="b" l="0" r="r" t="0"/>
            <a:pathLst>
              <a:path h="73" w="62">
                <a:moveTo>
                  <a:pt x="43" y="5"/>
                </a:moveTo>
                <a:cubicBezTo>
                  <a:pt x="43" y="27"/>
                  <a:pt x="43" y="27"/>
                  <a:pt x="43" y="27"/>
                </a:cubicBezTo>
                <a:cubicBezTo>
                  <a:pt x="43" y="27"/>
                  <a:pt x="37" y="38"/>
                  <a:pt x="24" y="43"/>
                </a:cubicBezTo>
                <a:cubicBezTo>
                  <a:pt x="12" y="47"/>
                  <a:pt x="0" y="54"/>
                  <a:pt x="1" y="61"/>
                </a:cubicBezTo>
                <a:cubicBezTo>
                  <a:pt x="2" y="67"/>
                  <a:pt x="17" y="73"/>
                  <a:pt x="62" y="73"/>
                </a:cubicBezTo>
                <a:cubicBezTo>
                  <a:pt x="62" y="0"/>
                  <a:pt x="62" y="0"/>
                  <a:pt x="62" y="0"/>
                </a:cubicBezTo>
                <a:lnTo>
                  <a:pt x="43" y="5"/>
                </a:lnTo>
                <a:close/>
              </a:path>
            </a:pathLst>
          </a:custGeom>
          <a:solidFill>
            <a:srgbClr val="F2F2F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57" name="Freeform 87">
            <a:extLst>
              <a:ext uri="{FF2B5EF4-FFF2-40B4-BE49-F238E27FC236}">
                <a16:creationId xmlns:a16="http://schemas.microsoft.com/office/drawing/2014/main" id="{681D86DB-7B2E-47F8-87B7-3AE3468DB535}"/>
              </a:ext>
            </a:extLst>
          </p:cNvPr>
          <p:cNvSpPr/>
          <p:nvPr/>
        </p:nvSpPr>
        <p:spPr bwMode="auto">
          <a:xfrm>
            <a:off x="3141663" y="3579813"/>
            <a:ext cx="66675" cy="84137"/>
          </a:xfrm>
          <a:custGeom>
            <a:gdLst>
              <a:gd fmla="*/ 2147483647 w 58" name="T0"/>
              <a:gd fmla="*/ 2147483647 h 73" name="T1"/>
              <a:gd fmla="*/ 2147483647 w 58" name="T2"/>
              <a:gd fmla="*/ 2147483647 h 73" name="T3"/>
              <a:gd fmla="*/ 2147483647 w 58" name="T4"/>
              <a:gd fmla="*/ 2147483647 h 73" name="T5"/>
              <a:gd fmla="*/ 2147483647 w 58" name="T6"/>
              <a:gd fmla="*/ 2147483647 h 73" name="T7"/>
              <a:gd fmla="*/ 0 w 58" name="T8"/>
              <a:gd fmla="*/ 2147483647 h 73" name="T9"/>
              <a:gd fmla="*/ 0 w 58" name="T10"/>
              <a:gd fmla="*/ 0 h 73" name="T11"/>
              <a:gd fmla="*/ 2147483647 w 58" name="T12"/>
              <a:gd fmla="*/ 2147483647 h 73" name="T13"/>
              <a:gd fmla="*/ 0 60000 65536" name="T14"/>
              <a:gd fmla="*/ 0 60000 65536" name="T15"/>
              <a:gd fmla="*/ 0 60000 65536" name="T16"/>
              <a:gd fmla="*/ 0 60000 65536" name="T17"/>
              <a:gd fmla="*/ 0 60000 65536" name="T18"/>
              <a:gd fmla="*/ 0 60000 65536" name="T19"/>
              <a:gd fmla="*/ 0 60000 65536" name="T20"/>
            </a:gdLst>
            <a:cxnLst>
              <a:cxn ang="T14">
                <a:pos x="T0" y="T1"/>
              </a:cxn>
              <a:cxn ang="T15">
                <a:pos x="T2" y="T3"/>
              </a:cxn>
              <a:cxn ang="T16">
                <a:pos x="T4" y="T5"/>
              </a:cxn>
              <a:cxn ang="T17">
                <a:pos x="T6" y="T7"/>
              </a:cxn>
              <a:cxn ang="T18">
                <a:pos x="T8" y="T9"/>
              </a:cxn>
              <a:cxn ang="T19">
                <a:pos x="T10" y="T11"/>
              </a:cxn>
              <a:cxn ang="T20">
                <a:pos x="T12" y="T13"/>
              </a:cxn>
            </a:cxnLst>
            <a:rect b="b" l="0" r="r" t="0"/>
            <a:pathLst>
              <a:path h="73" w="57">
                <a:moveTo>
                  <a:pt x="12" y="5"/>
                </a:moveTo>
                <a:cubicBezTo>
                  <a:pt x="12" y="27"/>
                  <a:pt x="12" y="27"/>
                  <a:pt x="12" y="27"/>
                </a:cubicBezTo>
                <a:cubicBezTo>
                  <a:pt x="12" y="27"/>
                  <a:pt x="17" y="38"/>
                  <a:pt x="30" y="43"/>
                </a:cubicBezTo>
                <a:cubicBezTo>
                  <a:pt x="43" y="47"/>
                  <a:pt x="58" y="54"/>
                  <a:pt x="57" y="61"/>
                </a:cubicBezTo>
                <a:cubicBezTo>
                  <a:pt x="56" y="67"/>
                  <a:pt x="32" y="73"/>
                  <a:pt x="0" y="73"/>
                </a:cubicBezTo>
                <a:cubicBezTo>
                  <a:pt x="0" y="0"/>
                  <a:pt x="0" y="0"/>
                  <a:pt x="0" y="0"/>
                </a:cubicBezTo>
                <a:lnTo>
                  <a:pt x="12" y="5"/>
                </a:lnTo>
                <a:close/>
              </a:path>
            </a:pathLst>
          </a:custGeom>
          <a:solidFill>
            <a:srgbClr val="F2F2F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58" name="Freeform 88">
            <a:extLst>
              <a:ext uri="{FF2B5EF4-FFF2-40B4-BE49-F238E27FC236}">
                <a16:creationId xmlns:a16="http://schemas.microsoft.com/office/drawing/2014/main" id="{C763E4B5-52A9-44B5-BDCA-F11CE7C04651}"/>
              </a:ext>
            </a:extLst>
          </p:cNvPr>
          <p:cNvSpPr/>
          <p:nvPr/>
        </p:nvSpPr>
        <p:spPr bwMode="auto">
          <a:xfrm>
            <a:off x="3021013" y="3336925"/>
            <a:ext cx="250825" cy="250825"/>
          </a:xfrm>
          <a:custGeom>
            <a:gdLst>
              <a:gd fmla="*/ 2147483647 w 218" name="T0"/>
              <a:gd fmla="*/ 2147483647 h 219" name="T1"/>
              <a:gd fmla="*/ 2147483647 w 218" name="T2"/>
              <a:gd fmla="*/ 2147483647 h 219" name="T3"/>
              <a:gd fmla="*/ 2147483647 w 218" name="T4"/>
              <a:gd fmla="*/ 2147483647 h 219" name="T5"/>
              <a:gd fmla="*/ 2147483647 w 218" name="T6"/>
              <a:gd fmla="*/ 2147483647 h 219" name="T7"/>
              <a:gd fmla="*/ 0 w 218" name="T8"/>
              <a:gd fmla="*/ 2147483647 h 219" name="T9"/>
              <a:gd fmla="*/ 2147483647 w 218" name="T10"/>
              <a:gd fmla="*/ 2147483647 h 219" name="T11"/>
              <a:gd fmla="*/ 2147483647 w 218" name="T12"/>
              <a:gd fmla="*/ 2147483647 h 219" name="T13"/>
              <a:gd fmla="*/ 2147483647 w 218" name="T14"/>
              <a:gd fmla="*/ 0 h 219" name="T15"/>
              <a:gd fmla="*/ 2147483647 w 218" name="T16"/>
              <a:gd fmla="*/ 2147483647 h 219" name="T17"/>
              <a:gd fmla="*/ 0 60000 65536" name="T18"/>
              <a:gd fmla="*/ 0 60000 65536" name="T19"/>
              <a:gd fmla="*/ 0 60000 65536" name="T20"/>
              <a:gd fmla="*/ 0 60000 65536" name="T21"/>
              <a:gd fmla="*/ 0 60000 65536" name="T22"/>
              <a:gd fmla="*/ 0 60000 65536" name="T23"/>
              <a:gd fmla="*/ 0 60000 65536" name="T24"/>
              <a:gd fmla="*/ 0 60000 65536" name="T25"/>
              <a:gd fmla="*/ 0 60000 65536" name="T26"/>
            </a:gd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b="b" l="0" r="r" t="0"/>
            <a:pathLst>
              <a:path h="219" w="218">
                <a:moveTo>
                  <a:pt x="160" y="11"/>
                </a:moveTo>
                <a:cubicBezTo>
                  <a:pt x="187" y="30"/>
                  <a:pt x="204" y="62"/>
                  <a:pt x="204" y="97"/>
                </a:cubicBezTo>
                <a:cubicBezTo>
                  <a:pt x="204" y="157"/>
                  <a:pt x="156" y="205"/>
                  <a:pt x="97" y="205"/>
                </a:cubicBezTo>
                <a:cubicBezTo>
                  <a:pt x="62" y="205"/>
                  <a:pt x="31" y="188"/>
                  <a:pt x="11" y="162"/>
                </a:cubicBezTo>
                <a:cubicBezTo>
                  <a:pt x="0" y="171"/>
                  <a:pt x="0" y="171"/>
                  <a:pt x="0" y="171"/>
                </a:cubicBezTo>
                <a:cubicBezTo>
                  <a:pt x="22" y="200"/>
                  <a:pt x="57" y="219"/>
                  <a:pt x="97" y="219"/>
                </a:cubicBezTo>
                <a:cubicBezTo>
                  <a:pt x="164" y="219"/>
                  <a:pt x="218" y="165"/>
                  <a:pt x="218" y="97"/>
                </a:cubicBezTo>
                <a:cubicBezTo>
                  <a:pt x="218" y="57"/>
                  <a:pt x="199" y="22"/>
                  <a:pt x="169" y="0"/>
                </a:cubicBezTo>
                <a:lnTo>
                  <a:pt x="160" y="11"/>
                </a:lnTo>
                <a:close/>
              </a:path>
            </a:pathLst>
          </a:custGeom>
          <a:solidFill>
            <a:srgbClr val="F2F2F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59" name="Freeform 89">
            <a:extLst>
              <a:ext uri="{FF2B5EF4-FFF2-40B4-BE49-F238E27FC236}">
                <a16:creationId xmlns:a16="http://schemas.microsoft.com/office/drawing/2014/main" id="{8DE4E93B-60D1-459F-BB49-C78569C84486}"/>
              </a:ext>
            </a:extLst>
          </p:cNvPr>
          <p:cNvSpPr>
            <a:spLocks noEditPoints="1"/>
          </p:cNvSpPr>
          <p:nvPr/>
        </p:nvSpPr>
        <p:spPr bwMode="auto">
          <a:xfrm>
            <a:off x="3024188" y="3340100"/>
            <a:ext cx="222250" cy="222250"/>
          </a:xfrm>
          <a:custGeom>
            <a:gdLst>
              <a:gd fmla="*/ 2147483647 w 193" name="T0"/>
              <a:gd fmla="*/ 0 h 193" name="T1"/>
              <a:gd fmla="*/ 0 w 193" name="T2"/>
              <a:gd fmla="*/ 2147483647 h 193" name="T3"/>
              <a:gd fmla="*/ 2147483647 w 193" name="T4"/>
              <a:gd fmla="*/ 2147483647 h 193" name="T5"/>
              <a:gd fmla="*/ 2147483647 w 193" name="T6"/>
              <a:gd fmla="*/ 2147483647 h 193" name="T7"/>
              <a:gd fmla="*/ 2147483647 w 193" name="T8"/>
              <a:gd fmla="*/ 0 h 193" name="T9"/>
              <a:gd fmla="*/ 2147483647 w 193" name="T10"/>
              <a:gd fmla="*/ 2147483647 h 193" name="T11"/>
              <a:gd fmla="*/ 2147483647 w 193" name="T12"/>
              <a:gd fmla="*/ 2147483647 h 193" name="T13"/>
              <a:gd fmla="*/ 2147483647 w 193" name="T14"/>
              <a:gd fmla="*/ 2147483647 h 193" name="T15"/>
              <a:gd fmla="*/ 2147483647 w 193" name="T16"/>
              <a:gd fmla="*/ 2147483647 h 193" name="T17"/>
              <a:gd fmla="*/ 2147483647 w 193" name="T18"/>
              <a:gd fmla="*/ 2147483647 h 193" name="T19"/>
              <a:gd fmla="*/ 0 60000 65536" name="T20"/>
              <a:gd fmla="*/ 0 60000 65536" name="T21"/>
              <a:gd fmla="*/ 0 60000 65536" name="T22"/>
              <a:gd fmla="*/ 0 60000 65536" name="T23"/>
              <a:gd fmla="*/ 0 60000 65536" name="T24"/>
              <a:gd fmla="*/ 0 60000 65536" name="T25"/>
              <a:gd fmla="*/ 0 60000 65536" name="T26"/>
              <a:gd fmla="*/ 0 60000 65536" name="T27"/>
              <a:gd fmla="*/ 0 60000 65536" name="T28"/>
              <a:gd fmla="*/ 0 60000 65536" name="T29"/>
            </a:gd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b="b" l="0" r="r" t="0"/>
            <a:pathLst>
              <a:path h="193" w="193">
                <a:moveTo>
                  <a:pt x="96" y="0"/>
                </a:moveTo>
                <a:cubicBezTo>
                  <a:pt x="43" y="0"/>
                  <a:pt x="0" y="43"/>
                  <a:pt x="0" y="97"/>
                </a:cubicBezTo>
                <a:cubicBezTo>
                  <a:pt x="0" y="150"/>
                  <a:pt x="43" y="193"/>
                  <a:pt x="96" y="193"/>
                </a:cubicBezTo>
                <a:cubicBezTo>
                  <a:pt x="149" y="193"/>
                  <a:pt x="193" y="150"/>
                  <a:pt x="193" y="97"/>
                </a:cubicBezTo>
                <a:cubicBezTo>
                  <a:pt x="193" y="43"/>
                  <a:pt x="149" y="0"/>
                  <a:pt x="96" y="0"/>
                </a:cubicBezTo>
                <a:close/>
                <a:moveTo>
                  <a:pt x="96" y="189"/>
                </a:moveTo>
                <a:cubicBezTo>
                  <a:pt x="46" y="189"/>
                  <a:pt x="4" y="147"/>
                  <a:pt x="4" y="97"/>
                </a:cubicBezTo>
                <a:cubicBezTo>
                  <a:pt x="4" y="46"/>
                  <a:pt x="46" y="5"/>
                  <a:pt x="96" y="5"/>
                </a:cubicBezTo>
                <a:cubicBezTo>
                  <a:pt x="147" y="5"/>
                  <a:pt x="188" y="46"/>
                  <a:pt x="188" y="97"/>
                </a:cubicBezTo>
                <a:cubicBezTo>
                  <a:pt x="188" y="147"/>
                  <a:pt x="147" y="189"/>
                  <a:pt x="96" y="189"/>
                </a:cubicBezTo>
                <a:close/>
              </a:path>
            </a:pathLst>
          </a:custGeom>
          <a:solidFill>
            <a:srgbClr val="F2F2F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60" name="Freeform 90">
            <a:extLst>
              <a:ext uri="{FF2B5EF4-FFF2-40B4-BE49-F238E27FC236}">
                <a16:creationId xmlns:a16="http://schemas.microsoft.com/office/drawing/2014/main" id="{2F5AE1EC-E153-407E-A8AB-2387E042055B}"/>
              </a:ext>
            </a:extLst>
          </p:cNvPr>
          <p:cNvSpPr/>
          <p:nvPr/>
        </p:nvSpPr>
        <p:spPr bwMode="auto">
          <a:xfrm>
            <a:off x="3017838" y="3344863"/>
            <a:ext cx="249237" cy="217487"/>
          </a:xfrm>
          <a:custGeom>
            <a:gdLst>
              <a:gd fmla="*/ 2147483647 w 216" name="T0"/>
              <a:gd fmla="*/ 2147483647 h 189" name="T1"/>
              <a:gd fmla="*/ 2147483647 w 216" name="T2"/>
              <a:gd fmla="*/ 2147483647 h 189" name="T3"/>
              <a:gd fmla="*/ 2147483647 w 216" name="T4"/>
              <a:gd fmla="*/ 2147483647 h 189" name="T5"/>
              <a:gd fmla="*/ 2147483647 w 216" name="T6"/>
              <a:gd fmla="*/ 2147483647 h 189" name="T7"/>
              <a:gd fmla="*/ 2147483647 w 216" name="T8"/>
              <a:gd fmla="*/ 2147483647 h 189" name="T9"/>
              <a:gd fmla="*/ 2147483647 w 216" name="T10"/>
              <a:gd fmla="*/ 2147483647 h 189" name="T11"/>
              <a:gd fmla="*/ 2147483647 w 216" name="T12"/>
              <a:gd fmla="*/ 2147483647 h 189" name="T13"/>
              <a:gd fmla="*/ 2147483647 w 216" name="T14"/>
              <a:gd fmla="*/ 2147483647 h 189" name="T15"/>
              <a:gd fmla="*/ 2147483647 w 216" name="T16"/>
              <a:gd fmla="*/ 2147483647 h 189" name="T17"/>
              <a:gd fmla="*/ 2147483647 w 216" name="T18"/>
              <a:gd fmla="*/ 2147483647 h 189" name="T19"/>
              <a:gd fmla="*/ 2147483647 w 216" name="T20"/>
              <a:gd fmla="*/ 2147483647 h 189" name="T21"/>
              <a:gd fmla="*/ 2147483647 w 216" name="T22"/>
              <a:gd fmla="*/ 2147483647 h 189" name="T23"/>
              <a:gd fmla="*/ 2147483647 w 216" name="T24"/>
              <a:gd fmla="*/ 2147483647 h 189" name="T25"/>
              <a:gd fmla="*/ 2147483647 w 216" name="T26"/>
              <a:gd fmla="*/ 2147483647 h 189" name="T27"/>
              <a:gd fmla="*/ 2147483647 w 216" name="T28"/>
              <a:gd fmla="*/ 2147483647 h 189" name="T29"/>
              <a:gd fmla="*/ 2147483647 w 216" name="T30"/>
              <a:gd fmla="*/ 2147483647 h 189" name="T31"/>
              <a:gd fmla="*/ 2147483647 w 216" name="T32"/>
              <a:gd fmla="*/ 2147483647 h 189" name="T33"/>
              <a:gd fmla="*/ 2147483647 w 216" name="T34"/>
              <a:gd fmla="*/ 2147483647 h 189" name="T35"/>
              <a:gd fmla="*/ 2147483647 w 216" name="T36"/>
              <a:gd fmla="*/ 2147483647 h 189" name="T37"/>
              <a:gd fmla="*/ 2147483647 w 216" name="T38"/>
              <a:gd fmla="*/ 2147483647 h 189" name="T39"/>
              <a:gd fmla="*/ 2147483647 w 216" name="T40"/>
              <a:gd fmla="*/ 2147483647 h 189" name="T41"/>
              <a:gd fmla="*/ 2147483647 w 216" name="T42"/>
              <a:gd fmla="*/ 2147483647 h 189" name="T43"/>
              <a:gd fmla="*/ 2147483647 w 216" name="T44"/>
              <a:gd fmla="*/ 2147483647 h 189" name="T45"/>
              <a:gd fmla="*/ 2147483647 w 216" name="T46"/>
              <a:gd fmla="*/ 2147483647 h 189" name="T47"/>
              <a:gd fmla="*/ 2147483647 w 216" name="T48"/>
              <a:gd fmla="*/ 2147483647 h 189" name="T49"/>
              <a:gd fmla="*/ 2147483647 w 216" name="T50"/>
              <a:gd fmla="*/ 2147483647 h 189" name="T51"/>
              <a:gd fmla="*/ 2147483647 w 216" name="T52"/>
              <a:gd fmla="*/ 2147483647 h 189" name="T53"/>
              <a:gd fmla="*/ 2147483647 w 216" name="T54"/>
              <a:gd fmla="*/ 2147483647 h 189" name="T55"/>
              <a:gd fmla="*/ 2147483647 w 216" name="T56"/>
              <a:gd fmla="*/ 2147483647 h 189" name="T57"/>
              <a:gd fmla="*/ 2147483647 w 216" name="T58"/>
              <a:gd fmla="*/ 2147483647 h 189" name="T59"/>
              <a:gd fmla="*/ 2147483647 w 216" name="T60"/>
              <a:gd fmla="*/ 2147483647 h 189" name="T61"/>
              <a:gd fmla="*/ 2147483647 w 216" name="T62"/>
              <a:gd fmla="*/ 2147483647 h 189" name="T63"/>
              <a:gd fmla="*/ 2147483647 w 216" name="T64"/>
              <a:gd fmla="*/ 2147483647 h 189" name="T65"/>
              <a:gd fmla="*/ 2147483647 w 216" name="T66"/>
              <a:gd fmla="*/ 2147483647 h 189" name="T67"/>
              <a:gd fmla="*/ 2147483647 w 216" name="T68"/>
              <a:gd fmla="*/ 2147483647 h 189" name="T69"/>
              <a:gd fmla="*/ 2147483647 w 216" name="T70"/>
              <a:gd fmla="*/ 2147483647 h 189" name="T71"/>
              <a:gd fmla="*/ 2147483647 w 216" name="T72"/>
              <a:gd fmla="*/ 2147483647 h 189" name="T73"/>
              <a:gd fmla="*/ 2147483647 w 216" name="T74"/>
              <a:gd fmla="*/ 2147483647 h 189" name="T75"/>
              <a:gd fmla="*/ 2147483647 w 216" name="T76"/>
              <a:gd fmla="*/ 2147483647 h 189" name="T77"/>
              <a:gd fmla="*/ 2147483647 w 216" name="T78"/>
              <a:gd fmla="*/ 2147483647 h 189" name="T79"/>
              <a:gd fmla="*/ 2147483647 w 216" name="T80"/>
              <a:gd fmla="*/ 2147483647 h 189" name="T81"/>
              <a:gd fmla="*/ 2147483647 w 216" name="T82"/>
              <a:gd fmla="*/ 2147483647 h 189" name="T83"/>
              <a:gd fmla="*/ 2147483647 w 216" name="T84"/>
              <a:gd fmla="*/ 2147483647 h 189" name="T85"/>
              <a:gd fmla="*/ 2147483647 w 216" name="T86"/>
              <a:gd fmla="*/ 2147483647 h 189" name="T87"/>
              <a:gd fmla="*/ 2147483647 w 216" name="T88"/>
              <a:gd fmla="*/ 2147483647 h 189" name="T89"/>
              <a:gd fmla="*/ 2147483647 w 216" name="T90"/>
              <a:gd fmla="*/ 2147483647 h 189" name="T91"/>
              <a:gd fmla="*/ 2147483647 w 216" name="T92"/>
              <a:gd fmla="*/ 2147483647 h 189" name="T93"/>
              <a:gd fmla="*/ 2147483647 w 216" name="T94"/>
              <a:gd fmla="*/ 2147483647 h 189" name="T95"/>
              <a:gd fmla="*/ 2147483647 w 216" name="T96"/>
              <a:gd fmla="*/ 2147483647 h 189" name="T97"/>
              <a:gd fmla="*/ 2147483647 w 216" name="T98"/>
              <a:gd fmla="*/ 2147483647 h 189" name="T99"/>
              <a:gd fmla="*/ 2147483647 w 216" name="T100"/>
              <a:gd fmla="*/ 2147483647 h 189" name="T101"/>
              <a:gd fmla="*/ 2147483647 w 216" name="T102"/>
              <a:gd fmla="*/ 2147483647 h 189" name="T103"/>
              <a:gd fmla="*/ 2147483647 w 216" name="T104"/>
              <a:gd fmla="*/ 2147483647 h 189" name="T105"/>
              <a:gd fmla="*/ 2147483647 w 216" name="T106"/>
              <a:gd fmla="*/ 2147483647 h 189" name="T107"/>
              <a:gd fmla="*/ 2147483647 w 216" name="T108"/>
              <a:gd fmla="*/ 2147483647 h 189" name="T109"/>
              <a:gd fmla="*/ 2147483647 w 216" name="T110"/>
              <a:gd fmla="*/ 2147483647 h 189" name="T111"/>
              <a:gd fmla="*/ 2147483647 w 216" name="T112"/>
              <a:gd fmla="*/ 2147483647 h 189" name="T113"/>
              <a:gd fmla="*/ 2147483647 w 216" name="T114"/>
              <a:gd fmla="*/ 2147483647 h 189" name="T115"/>
              <a:gd fmla="*/ 2147483647 w 216" name="T116"/>
              <a:gd fmla="*/ 2147483647 h 189" name="T117"/>
              <a:gd fmla="*/ 2147483647 w 216" name="T118"/>
              <a:gd fmla="*/ 2147483647 h 189" name="T119"/>
              <a:gd fmla="*/ 2147483647 w 216" name="T120"/>
              <a:gd fmla="*/ 2147483647 h 189" name="T121"/>
              <a:gd fmla="*/ 2147483647 w 216" name="T122"/>
              <a:gd fmla="*/ 2147483647 h 189"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 fmla="*/ 0 60000 65536" name="T168"/>
              <a:gd fmla="*/ 0 60000 65536" name="T169"/>
              <a:gd fmla="*/ 0 60000 65536" name="T170"/>
              <a:gd fmla="*/ 0 60000 65536" name="T171"/>
              <a:gd fmla="*/ 0 60000 65536" name="T172"/>
              <a:gd fmla="*/ 0 60000 65536" name="T173"/>
              <a:gd fmla="*/ 0 60000 65536" name="T174"/>
              <a:gd fmla="*/ 0 60000 65536" name="T175"/>
              <a:gd fmla="*/ 0 60000 65536" name="T176"/>
              <a:gd fmla="*/ 0 60000 65536" name="T177"/>
              <a:gd fmla="*/ 0 60000 65536" name="T178"/>
              <a:gd fmla="*/ 0 60000 65536" name="T179"/>
              <a:gd fmla="*/ 0 60000 65536" name="T180"/>
              <a:gd fmla="*/ 0 60000 65536" name="T181"/>
              <a:gd fmla="*/ 0 60000 65536" name="T182"/>
              <a:gd fmla="*/ 0 60000 65536" name="T183"/>
              <a:gd fmla="*/ 0 60000 65536" name="T184"/>
              <a:gd fmla="*/ 0 60000 65536" name="T185"/>
            </a:gd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b="b" l="0" r="r" t="0"/>
            <a:pathLst>
              <a:path h="189" w="216">
                <a:moveTo>
                  <a:pt x="88" y="1"/>
                </a:moveTo>
                <a:cubicBezTo>
                  <a:pt x="88" y="1"/>
                  <a:pt x="55" y="5"/>
                  <a:pt x="33" y="30"/>
                </a:cubicBezTo>
                <a:cubicBezTo>
                  <a:pt x="33" y="30"/>
                  <a:pt x="50" y="13"/>
                  <a:pt x="60" y="13"/>
                </a:cubicBezTo>
                <a:cubicBezTo>
                  <a:pt x="63" y="14"/>
                  <a:pt x="63" y="14"/>
                  <a:pt x="63" y="14"/>
                </a:cubicBezTo>
                <a:cubicBezTo>
                  <a:pt x="62" y="15"/>
                  <a:pt x="62" y="15"/>
                  <a:pt x="62" y="15"/>
                </a:cubicBezTo>
                <a:cubicBezTo>
                  <a:pt x="62" y="15"/>
                  <a:pt x="60" y="17"/>
                  <a:pt x="60" y="17"/>
                </a:cubicBezTo>
                <a:cubicBezTo>
                  <a:pt x="60" y="18"/>
                  <a:pt x="61" y="19"/>
                  <a:pt x="61" y="19"/>
                </a:cubicBezTo>
                <a:cubicBezTo>
                  <a:pt x="60" y="20"/>
                  <a:pt x="60" y="20"/>
                  <a:pt x="60" y="20"/>
                </a:cubicBezTo>
                <a:cubicBezTo>
                  <a:pt x="59" y="21"/>
                  <a:pt x="59" y="21"/>
                  <a:pt x="59" y="21"/>
                </a:cubicBezTo>
                <a:cubicBezTo>
                  <a:pt x="59" y="21"/>
                  <a:pt x="58" y="21"/>
                  <a:pt x="58" y="22"/>
                </a:cubicBezTo>
                <a:cubicBezTo>
                  <a:pt x="58" y="23"/>
                  <a:pt x="58" y="24"/>
                  <a:pt x="58" y="24"/>
                </a:cubicBezTo>
                <a:cubicBezTo>
                  <a:pt x="58" y="26"/>
                  <a:pt x="58" y="26"/>
                  <a:pt x="58" y="26"/>
                </a:cubicBezTo>
                <a:cubicBezTo>
                  <a:pt x="58" y="27"/>
                  <a:pt x="58" y="27"/>
                  <a:pt x="58" y="27"/>
                </a:cubicBezTo>
                <a:cubicBezTo>
                  <a:pt x="56" y="28"/>
                  <a:pt x="56" y="28"/>
                  <a:pt x="56" y="28"/>
                </a:cubicBezTo>
                <a:cubicBezTo>
                  <a:pt x="56" y="28"/>
                  <a:pt x="55" y="28"/>
                  <a:pt x="54" y="28"/>
                </a:cubicBezTo>
                <a:cubicBezTo>
                  <a:pt x="53" y="27"/>
                  <a:pt x="53" y="26"/>
                  <a:pt x="53" y="26"/>
                </a:cubicBezTo>
                <a:cubicBezTo>
                  <a:pt x="55" y="25"/>
                  <a:pt x="55" y="25"/>
                  <a:pt x="55" y="25"/>
                </a:cubicBezTo>
                <a:cubicBezTo>
                  <a:pt x="55" y="25"/>
                  <a:pt x="55" y="25"/>
                  <a:pt x="55" y="24"/>
                </a:cubicBezTo>
                <a:cubicBezTo>
                  <a:pt x="54" y="24"/>
                  <a:pt x="54" y="23"/>
                  <a:pt x="53" y="23"/>
                </a:cubicBezTo>
                <a:cubicBezTo>
                  <a:pt x="52" y="23"/>
                  <a:pt x="51" y="25"/>
                  <a:pt x="51" y="25"/>
                </a:cubicBezTo>
                <a:cubicBezTo>
                  <a:pt x="49" y="26"/>
                  <a:pt x="49" y="26"/>
                  <a:pt x="49" y="26"/>
                </a:cubicBezTo>
                <a:cubicBezTo>
                  <a:pt x="49" y="28"/>
                  <a:pt x="49" y="28"/>
                  <a:pt x="49" y="28"/>
                </a:cubicBezTo>
                <a:cubicBezTo>
                  <a:pt x="50" y="28"/>
                  <a:pt x="50" y="28"/>
                  <a:pt x="50" y="28"/>
                </a:cubicBezTo>
                <a:cubicBezTo>
                  <a:pt x="50" y="28"/>
                  <a:pt x="50" y="29"/>
                  <a:pt x="50" y="29"/>
                </a:cubicBezTo>
                <a:cubicBezTo>
                  <a:pt x="50" y="30"/>
                  <a:pt x="50" y="31"/>
                  <a:pt x="50" y="31"/>
                </a:cubicBezTo>
                <a:cubicBezTo>
                  <a:pt x="50" y="31"/>
                  <a:pt x="49" y="32"/>
                  <a:pt x="48" y="31"/>
                </a:cubicBezTo>
                <a:cubicBezTo>
                  <a:pt x="47" y="31"/>
                  <a:pt x="46" y="31"/>
                  <a:pt x="45" y="31"/>
                </a:cubicBezTo>
                <a:cubicBezTo>
                  <a:pt x="45" y="30"/>
                  <a:pt x="44" y="30"/>
                  <a:pt x="43" y="30"/>
                </a:cubicBezTo>
                <a:cubicBezTo>
                  <a:pt x="43" y="31"/>
                  <a:pt x="43" y="31"/>
                  <a:pt x="42" y="31"/>
                </a:cubicBezTo>
                <a:cubicBezTo>
                  <a:pt x="40" y="33"/>
                  <a:pt x="40" y="33"/>
                  <a:pt x="40" y="33"/>
                </a:cubicBezTo>
                <a:cubicBezTo>
                  <a:pt x="40" y="33"/>
                  <a:pt x="39" y="33"/>
                  <a:pt x="39" y="34"/>
                </a:cubicBezTo>
                <a:cubicBezTo>
                  <a:pt x="39" y="34"/>
                  <a:pt x="39" y="36"/>
                  <a:pt x="39" y="36"/>
                </a:cubicBezTo>
                <a:cubicBezTo>
                  <a:pt x="39" y="36"/>
                  <a:pt x="38" y="36"/>
                  <a:pt x="36" y="37"/>
                </a:cubicBezTo>
                <a:cubicBezTo>
                  <a:pt x="35" y="37"/>
                  <a:pt x="35" y="38"/>
                  <a:pt x="35" y="38"/>
                </a:cubicBezTo>
                <a:cubicBezTo>
                  <a:pt x="34" y="39"/>
                  <a:pt x="34" y="39"/>
                  <a:pt x="34" y="39"/>
                </a:cubicBezTo>
                <a:cubicBezTo>
                  <a:pt x="34" y="39"/>
                  <a:pt x="33" y="40"/>
                  <a:pt x="32" y="41"/>
                </a:cubicBezTo>
                <a:cubicBezTo>
                  <a:pt x="31" y="42"/>
                  <a:pt x="29" y="44"/>
                  <a:pt x="29" y="44"/>
                </a:cubicBezTo>
                <a:cubicBezTo>
                  <a:pt x="28" y="44"/>
                  <a:pt x="27" y="45"/>
                  <a:pt x="27" y="46"/>
                </a:cubicBezTo>
                <a:cubicBezTo>
                  <a:pt x="27" y="47"/>
                  <a:pt x="27" y="48"/>
                  <a:pt x="26" y="48"/>
                </a:cubicBezTo>
                <a:cubicBezTo>
                  <a:pt x="26" y="49"/>
                  <a:pt x="26" y="50"/>
                  <a:pt x="26" y="51"/>
                </a:cubicBezTo>
                <a:cubicBezTo>
                  <a:pt x="25" y="52"/>
                  <a:pt x="25" y="53"/>
                  <a:pt x="24" y="53"/>
                </a:cubicBezTo>
                <a:cubicBezTo>
                  <a:pt x="24" y="54"/>
                  <a:pt x="23" y="54"/>
                  <a:pt x="23" y="54"/>
                </a:cubicBezTo>
                <a:cubicBezTo>
                  <a:pt x="23" y="54"/>
                  <a:pt x="21" y="55"/>
                  <a:pt x="20" y="55"/>
                </a:cubicBezTo>
                <a:cubicBezTo>
                  <a:pt x="19" y="56"/>
                  <a:pt x="19" y="57"/>
                  <a:pt x="19" y="57"/>
                </a:cubicBezTo>
                <a:cubicBezTo>
                  <a:pt x="20" y="58"/>
                  <a:pt x="20" y="58"/>
                  <a:pt x="20" y="58"/>
                </a:cubicBezTo>
                <a:cubicBezTo>
                  <a:pt x="22" y="59"/>
                  <a:pt x="22" y="59"/>
                  <a:pt x="22" y="59"/>
                </a:cubicBezTo>
                <a:cubicBezTo>
                  <a:pt x="22" y="61"/>
                  <a:pt x="22" y="61"/>
                  <a:pt x="22" y="61"/>
                </a:cubicBezTo>
                <a:cubicBezTo>
                  <a:pt x="22" y="61"/>
                  <a:pt x="21" y="63"/>
                  <a:pt x="22" y="63"/>
                </a:cubicBezTo>
                <a:cubicBezTo>
                  <a:pt x="22" y="63"/>
                  <a:pt x="23" y="63"/>
                  <a:pt x="23" y="63"/>
                </a:cubicBezTo>
                <a:cubicBezTo>
                  <a:pt x="25" y="64"/>
                  <a:pt x="25" y="64"/>
                  <a:pt x="25" y="64"/>
                </a:cubicBezTo>
                <a:cubicBezTo>
                  <a:pt x="27" y="65"/>
                  <a:pt x="27" y="65"/>
                  <a:pt x="27" y="65"/>
                </a:cubicBezTo>
                <a:cubicBezTo>
                  <a:pt x="28" y="65"/>
                  <a:pt x="28" y="65"/>
                  <a:pt x="28" y="65"/>
                </a:cubicBezTo>
                <a:cubicBezTo>
                  <a:pt x="27" y="67"/>
                  <a:pt x="27" y="67"/>
                  <a:pt x="27" y="67"/>
                </a:cubicBezTo>
                <a:cubicBezTo>
                  <a:pt x="26" y="68"/>
                  <a:pt x="26" y="68"/>
                  <a:pt x="26" y="68"/>
                </a:cubicBezTo>
                <a:cubicBezTo>
                  <a:pt x="26" y="67"/>
                  <a:pt x="26" y="67"/>
                  <a:pt x="26" y="67"/>
                </a:cubicBezTo>
                <a:cubicBezTo>
                  <a:pt x="25" y="66"/>
                  <a:pt x="25" y="66"/>
                  <a:pt x="25" y="65"/>
                </a:cubicBezTo>
                <a:cubicBezTo>
                  <a:pt x="24" y="65"/>
                  <a:pt x="23" y="66"/>
                  <a:pt x="23" y="66"/>
                </a:cubicBezTo>
                <a:cubicBezTo>
                  <a:pt x="22" y="65"/>
                  <a:pt x="22" y="65"/>
                  <a:pt x="21" y="65"/>
                </a:cubicBezTo>
                <a:cubicBezTo>
                  <a:pt x="21" y="64"/>
                  <a:pt x="21" y="65"/>
                  <a:pt x="21" y="64"/>
                </a:cubicBezTo>
                <a:cubicBezTo>
                  <a:pt x="21" y="63"/>
                  <a:pt x="21" y="63"/>
                  <a:pt x="21" y="62"/>
                </a:cubicBezTo>
                <a:cubicBezTo>
                  <a:pt x="21" y="62"/>
                  <a:pt x="20" y="61"/>
                  <a:pt x="20" y="61"/>
                </a:cubicBezTo>
                <a:cubicBezTo>
                  <a:pt x="19" y="61"/>
                  <a:pt x="20" y="62"/>
                  <a:pt x="19" y="61"/>
                </a:cubicBezTo>
                <a:cubicBezTo>
                  <a:pt x="19" y="60"/>
                  <a:pt x="18" y="60"/>
                  <a:pt x="18" y="60"/>
                </a:cubicBezTo>
                <a:cubicBezTo>
                  <a:pt x="18" y="60"/>
                  <a:pt x="17" y="60"/>
                  <a:pt x="17" y="60"/>
                </a:cubicBezTo>
                <a:cubicBezTo>
                  <a:pt x="17" y="59"/>
                  <a:pt x="17" y="58"/>
                  <a:pt x="17" y="57"/>
                </a:cubicBezTo>
                <a:cubicBezTo>
                  <a:pt x="17" y="57"/>
                  <a:pt x="18" y="56"/>
                  <a:pt x="18" y="55"/>
                </a:cubicBezTo>
                <a:cubicBezTo>
                  <a:pt x="18" y="55"/>
                  <a:pt x="18" y="52"/>
                  <a:pt x="18" y="52"/>
                </a:cubicBezTo>
                <a:cubicBezTo>
                  <a:pt x="18" y="52"/>
                  <a:pt x="15" y="58"/>
                  <a:pt x="14" y="63"/>
                </a:cubicBezTo>
                <a:cubicBezTo>
                  <a:pt x="14" y="63"/>
                  <a:pt x="15" y="62"/>
                  <a:pt x="15" y="63"/>
                </a:cubicBezTo>
                <a:cubicBezTo>
                  <a:pt x="15" y="64"/>
                  <a:pt x="16" y="65"/>
                  <a:pt x="16" y="65"/>
                </a:cubicBezTo>
                <a:cubicBezTo>
                  <a:pt x="15" y="66"/>
                  <a:pt x="15" y="66"/>
                  <a:pt x="15" y="68"/>
                </a:cubicBezTo>
                <a:cubicBezTo>
                  <a:pt x="15" y="71"/>
                  <a:pt x="16" y="71"/>
                  <a:pt x="16" y="72"/>
                </a:cubicBezTo>
                <a:cubicBezTo>
                  <a:pt x="15" y="73"/>
                  <a:pt x="15" y="74"/>
                  <a:pt x="15" y="75"/>
                </a:cubicBezTo>
                <a:cubicBezTo>
                  <a:pt x="15" y="76"/>
                  <a:pt x="15" y="78"/>
                  <a:pt x="16" y="78"/>
                </a:cubicBezTo>
                <a:cubicBezTo>
                  <a:pt x="16" y="79"/>
                  <a:pt x="16" y="79"/>
                  <a:pt x="16" y="79"/>
                </a:cubicBezTo>
                <a:cubicBezTo>
                  <a:pt x="17" y="80"/>
                  <a:pt x="16" y="81"/>
                  <a:pt x="17" y="80"/>
                </a:cubicBezTo>
                <a:cubicBezTo>
                  <a:pt x="18" y="78"/>
                  <a:pt x="19" y="77"/>
                  <a:pt x="19" y="77"/>
                </a:cubicBezTo>
                <a:cubicBezTo>
                  <a:pt x="19" y="76"/>
                  <a:pt x="19" y="76"/>
                  <a:pt x="19" y="76"/>
                </a:cubicBezTo>
                <a:cubicBezTo>
                  <a:pt x="19" y="76"/>
                  <a:pt x="19" y="75"/>
                  <a:pt x="21" y="75"/>
                </a:cubicBezTo>
                <a:cubicBezTo>
                  <a:pt x="22" y="76"/>
                  <a:pt x="22" y="75"/>
                  <a:pt x="23" y="76"/>
                </a:cubicBezTo>
                <a:cubicBezTo>
                  <a:pt x="23" y="77"/>
                  <a:pt x="22" y="78"/>
                  <a:pt x="23" y="78"/>
                </a:cubicBezTo>
                <a:cubicBezTo>
                  <a:pt x="24" y="78"/>
                  <a:pt x="26" y="77"/>
                  <a:pt x="26" y="77"/>
                </a:cubicBezTo>
                <a:cubicBezTo>
                  <a:pt x="27" y="78"/>
                  <a:pt x="28" y="78"/>
                  <a:pt x="28" y="79"/>
                </a:cubicBezTo>
                <a:cubicBezTo>
                  <a:pt x="28" y="80"/>
                  <a:pt x="29" y="81"/>
                  <a:pt x="29" y="82"/>
                </a:cubicBezTo>
                <a:cubicBezTo>
                  <a:pt x="30" y="82"/>
                  <a:pt x="30" y="83"/>
                  <a:pt x="30" y="84"/>
                </a:cubicBezTo>
                <a:cubicBezTo>
                  <a:pt x="30" y="85"/>
                  <a:pt x="33" y="86"/>
                  <a:pt x="33" y="86"/>
                </a:cubicBezTo>
                <a:cubicBezTo>
                  <a:pt x="33" y="86"/>
                  <a:pt x="35" y="86"/>
                  <a:pt x="36" y="86"/>
                </a:cubicBezTo>
                <a:cubicBezTo>
                  <a:pt x="37" y="86"/>
                  <a:pt x="36" y="87"/>
                  <a:pt x="37" y="88"/>
                </a:cubicBezTo>
                <a:cubicBezTo>
                  <a:pt x="38" y="88"/>
                  <a:pt x="39" y="90"/>
                  <a:pt x="39" y="90"/>
                </a:cubicBezTo>
                <a:cubicBezTo>
                  <a:pt x="39" y="90"/>
                  <a:pt x="39" y="92"/>
                  <a:pt x="39" y="93"/>
                </a:cubicBezTo>
                <a:cubicBezTo>
                  <a:pt x="39" y="94"/>
                  <a:pt x="39" y="95"/>
                  <a:pt x="39" y="95"/>
                </a:cubicBezTo>
                <a:cubicBezTo>
                  <a:pt x="40" y="95"/>
                  <a:pt x="42" y="95"/>
                  <a:pt x="42" y="95"/>
                </a:cubicBezTo>
                <a:cubicBezTo>
                  <a:pt x="42" y="95"/>
                  <a:pt x="41" y="97"/>
                  <a:pt x="43" y="97"/>
                </a:cubicBezTo>
                <a:cubicBezTo>
                  <a:pt x="44" y="98"/>
                  <a:pt x="46" y="98"/>
                  <a:pt x="46" y="99"/>
                </a:cubicBezTo>
                <a:cubicBezTo>
                  <a:pt x="47" y="99"/>
                  <a:pt x="45" y="100"/>
                  <a:pt x="47" y="100"/>
                </a:cubicBezTo>
                <a:cubicBezTo>
                  <a:pt x="49" y="100"/>
                  <a:pt x="51" y="100"/>
                  <a:pt x="52" y="101"/>
                </a:cubicBezTo>
                <a:cubicBezTo>
                  <a:pt x="53" y="101"/>
                  <a:pt x="52" y="102"/>
                  <a:pt x="54" y="104"/>
                </a:cubicBezTo>
                <a:cubicBezTo>
                  <a:pt x="57" y="105"/>
                  <a:pt x="57" y="105"/>
                  <a:pt x="58" y="106"/>
                </a:cubicBezTo>
                <a:cubicBezTo>
                  <a:pt x="59" y="106"/>
                  <a:pt x="60" y="106"/>
                  <a:pt x="59" y="108"/>
                </a:cubicBezTo>
                <a:cubicBezTo>
                  <a:pt x="59" y="109"/>
                  <a:pt x="59" y="111"/>
                  <a:pt x="58" y="111"/>
                </a:cubicBezTo>
                <a:cubicBezTo>
                  <a:pt x="57" y="112"/>
                  <a:pt x="56" y="114"/>
                  <a:pt x="55" y="115"/>
                </a:cubicBezTo>
                <a:cubicBezTo>
                  <a:pt x="55" y="116"/>
                  <a:pt x="54" y="117"/>
                  <a:pt x="55" y="118"/>
                </a:cubicBezTo>
                <a:cubicBezTo>
                  <a:pt x="55" y="120"/>
                  <a:pt x="56" y="121"/>
                  <a:pt x="56" y="122"/>
                </a:cubicBezTo>
                <a:cubicBezTo>
                  <a:pt x="56" y="122"/>
                  <a:pt x="56" y="125"/>
                  <a:pt x="56" y="125"/>
                </a:cubicBezTo>
                <a:cubicBezTo>
                  <a:pt x="55" y="126"/>
                  <a:pt x="55" y="128"/>
                  <a:pt x="55" y="128"/>
                </a:cubicBezTo>
                <a:cubicBezTo>
                  <a:pt x="55" y="128"/>
                  <a:pt x="56" y="129"/>
                  <a:pt x="55" y="130"/>
                </a:cubicBezTo>
                <a:cubicBezTo>
                  <a:pt x="54" y="132"/>
                  <a:pt x="52" y="133"/>
                  <a:pt x="51" y="133"/>
                </a:cubicBezTo>
                <a:cubicBezTo>
                  <a:pt x="50" y="134"/>
                  <a:pt x="49" y="135"/>
                  <a:pt x="49" y="135"/>
                </a:cubicBezTo>
                <a:cubicBezTo>
                  <a:pt x="49" y="135"/>
                  <a:pt x="49" y="139"/>
                  <a:pt x="49" y="140"/>
                </a:cubicBezTo>
                <a:cubicBezTo>
                  <a:pt x="48" y="140"/>
                  <a:pt x="45" y="146"/>
                  <a:pt x="46" y="147"/>
                </a:cubicBezTo>
                <a:cubicBezTo>
                  <a:pt x="47" y="149"/>
                  <a:pt x="48" y="150"/>
                  <a:pt x="47" y="151"/>
                </a:cubicBezTo>
                <a:cubicBezTo>
                  <a:pt x="47" y="152"/>
                  <a:pt x="47" y="152"/>
                  <a:pt x="46" y="153"/>
                </a:cubicBezTo>
                <a:cubicBezTo>
                  <a:pt x="46" y="153"/>
                  <a:pt x="44" y="153"/>
                  <a:pt x="45" y="155"/>
                </a:cubicBezTo>
                <a:cubicBezTo>
                  <a:pt x="46" y="157"/>
                  <a:pt x="47" y="157"/>
                  <a:pt x="48" y="159"/>
                </a:cubicBezTo>
                <a:cubicBezTo>
                  <a:pt x="48" y="160"/>
                  <a:pt x="48" y="160"/>
                  <a:pt x="49" y="161"/>
                </a:cubicBezTo>
                <a:cubicBezTo>
                  <a:pt x="50" y="162"/>
                  <a:pt x="50" y="164"/>
                  <a:pt x="51" y="165"/>
                </a:cubicBezTo>
                <a:cubicBezTo>
                  <a:pt x="52" y="165"/>
                  <a:pt x="54" y="166"/>
                  <a:pt x="54" y="167"/>
                </a:cubicBezTo>
                <a:cubicBezTo>
                  <a:pt x="54" y="168"/>
                  <a:pt x="56" y="170"/>
                  <a:pt x="53" y="169"/>
                </a:cubicBezTo>
                <a:cubicBezTo>
                  <a:pt x="50" y="167"/>
                  <a:pt x="53" y="169"/>
                  <a:pt x="49" y="166"/>
                </a:cubicBezTo>
                <a:cubicBezTo>
                  <a:pt x="46" y="163"/>
                  <a:pt x="45" y="164"/>
                  <a:pt x="44" y="162"/>
                </a:cubicBezTo>
                <a:cubicBezTo>
                  <a:pt x="42" y="161"/>
                  <a:pt x="44" y="167"/>
                  <a:pt x="42" y="159"/>
                </a:cubicBezTo>
                <a:cubicBezTo>
                  <a:pt x="39" y="152"/>
                  <a:pt x="38" y="153"/>
                  <a:pt x="37" y="151"/>
                </a:cubicBezTo>
                <a:cubicBezTo>
                  <a:pt x="37" y="150"/>
                  <a:pt x="37" y="151"/>
                  <a:pt x="35" y="148"/>
                </a:cubicBezTo>
                <a:cubicBezTo>
                  <a:pt x="33" y="144"/>
                  <a:pt x="35" y="146"/>
                  <a:pt x="33" y="144"/>
                </a:cubicBezTo>
                <a:cubicBezTo>
                  <a:pt x="31" y="142"/>
                  <a:pt x="31" y="145"/>
                  <a:pt x="30" y="141"/>
                </a:cubicBezTo>
                <a:cubicBezTo>
                  <a:pt x="29" y="136"/>
                  <a:pt x="29" y="139"/>
                  <a:pt x="28" y="134"/>
                </a:cubicBezTo>
                <a:cubicBezTo>
                  <a:pt x="27" y="130"/>
                  <a:pt x="29" y="129"/>
                  <a:pt x="26" y="127"/>
                </a:cubicBezTo>
                <a:cubicBezTo>
                  <a:pt x="24" y="125"/>
                  <a:pt x="24" y="126"/>
                  <a:pt x="23" y="124"/>
                </a:cubicBezTo>
                <a:cubicBezTo>
                  <a:pt x="22" y="123"/>
                  <a:pt x="23" y="124"/>
                  <a:pt x="21" y="120"/>
                </a:cubicBezTo>
                <a:cubicBezTo>
                  <a:pt x="19" y="116"/>
                  <a:pt x="15" y="114"/>
                  <a:pt x="15" y="107"/>
                </a:cubicBezTo>
                <a:cubicBezTo>
                  <a:pt x="16" y="100"/>
                  <a:pt x="16" y="99"/>
                  <a:pt x="16" y="99"/>
                </a:cubicBezTo>
                <a:cubicBezTo>
                  <a:pt x="16" y="99"/>
                  <a:pt x="12" y="96"/>
                  <a:pt x="13" y="92"/>
                </a:cubicBezTo>
                <a:cubicBezTo>
                  <a:pt x="14" y="88"/>
                  <a:pt x="15" y="89"/>
                  <a:pt x="14" y="88"/>
                </a:cubicBezTo>
                <a:cubicBezTo>
                  <a:pt x="14" y="87"/>
                  <a:pt x="14" y="87"/>
                  <a:pt x="12" y="85"/>
                </a:cubicBezTo>
                <a:cubicBezTo>
                  <a:pt x="11" y="84"/>
                  <a:pt x="11" y="84"/>
                  <a:pt x="11" y="83"/>
                </a:cubicBezTo>
                <a:cubicBezTo>
                  <a:pt x="10" y="82"/>
                  <a:pt x="10" y="80"/>
                  <a:pt x="10" y="80"/>
                </a:cubicBezTo>
                <a:cubicBezTo>
                  <a:pt x="9" y="80"/>
                  <a:pt x="9" y="80"/>
                  <a:pt x="9" y="80"/>
                </a:cubicBezTo>
                <a:cubicBezTo>
                  <a:pt x="9" y="80"/>
                  <a:pt x="0" y="173"/>
                  <a:pt x="92" y="187"/>
                </a:cubicBezTo>
                <a:cubicBezTo>
                  <a:pt x="92" y="187"/>
                  <a:pt x="71" y="182"/>
                  <a:pt x="69" y="178"/>
                </a:cubicBezTo>
                <a:cubicBezTo>
                  <a:pt x="69" y="178"/>
                  <a:pt x="69" y="174"/>
                  <a:pt x="70" y="174"/>
                </a:cubicBezTo>
                <a:cubicBezTo>
                  <a:pt x="71" y="174"/>
                  <a:pt x="72" y="175"/>
                  <a:pt x="73" y="174"/>
                </a:cubicBezTo>
                <a:cubicBezTo>
                  <a:pt x="75" y="173"/>
                  <a:pt x="76" y="171"/>
                  <a:pt x="76" y="171"/>
                </a:cubicBezTo>
                <a:cubicBezTo>
                  <a:pt x="76" y="173"/>
                  <a:pt x="76" y="173"/>
                  <a:pt x="76" y="173"/>
                </a:cubicBezTo>
                <a:cubicBezTo>
                  <a:pt x="76" y="173"/>
                  <a:pt x="75" y="173"/>
                  <a:pt x="79" y="173"/>
                </a:cubicBezTo>
                <a:cubicBezTo>
                  <a:pt x="83" y="172"/>
                  <a:pt x="83" y="172"/>
                  <a:pt x="85" y="172"/>
                </a:cubicBezTo>
                <a:cubicBezTo>
                  <a:pt x="86" y="171"/>
                  <a:pt x="88" y="168"/>
                  <a:pt x="89" y="170"/>
                </a:cubicBezTo>
                <a:cubicBezTo>
                  <a:pt x="90" y="172"/>
                  <a:pt x="88" y="171"/>
                  <a:pt x="90" y="172"/>
                </a:cubicBezTo>
                <a:cubicBezTo>
                  <a:pt x="92" y="173"/>
                  <a:pt x="96" y="171"/>
                  <a:pt x="96" y="171"/>
                </a:cubicBezTo>
                <a:cubicBezTo>
                  <a:pt x="96" y="171"/>
                  <a:pt x="102" y="172"/>
                  <a:pt x="103" y="171"/>
                </a:cubicBezTo>
                <a:cubicBezTo>
                  <a:pt x="103" y="170"/>
                  <a:pt x="103" y="169"/>
                  <a:pt x="105" y="169"/>
                </a:cubicBezTo>
                <a:cubicBezTo>
                  <a:pt x="106" y="170"/>
                  <a:pt x="106" y="171"/>
                  <a:pt x="106" y="171"/>
                </a:cubicBezTo>
                <a:cubicBezTo>
                  <a:pt x="103" y="173"/>
                  <a:pt x="103" y="173"/>
                  <a:pt x="103" y="173"/>
                </a:cubicBezTo>
                <a:cubicBezTo>
                  <a:pt x="99" y="176"/>
                  <a:pt x="99" y="176"/>
                  <a:pt x="99" y="176"/>
                </a:cubicBezTo>
                <a:cubicBezTo>
                  <a:pt x="99" y="176"/>
                  <a:pt x="98" y="176"/>
                  <a:pt x="99" y="177"/>
                </a:cubicBezTo>
                <a:cubicBezTo>
                  <a:pt x="101" y="178"/>
                  <a:pt x="101" y="177"/>
                  <a:pt x="103" y="178"/>
                </a:cubicBezTo>
                <a:cubicBezTo>
                  <a:pt x="104" y="178"/>
                  <a:pt x="108" y="181"/>
                  <a:pt x="109" y="179"/>
                </a:cubicBezTo>
                <a:cubicBezTo>
                  <a:pt x="110" y="177"/>
                  <a:pt x="110" y="177"/>
                  <a:pt x="111" y="176"/>
                </a:cubicBezTo>
                <a:cubicBezTo>
                  <a:pt x="111" y="175"/>
                  <a:pt x="111" y="173"/>
                  <a:pt x="113" y="173"/>
                </a:cubicBezTo>
                <a:cubicBezTo>
                  <a:pt x="114" y="173"/>
                  <a:pt x="116" y="174"/>
                  <a:pt x="116" y="174"/>
                </a:cubicBezTo>
                <a:cubicBezTo>
                  <a:pt x="114" y="177"/>
                  <a:pt x="114" y="177"/>
                  <a:pt x="114" y="177"/>
                </a:cubicBezTo>
                <a:cubicBezTo>
                  <a:pt x="114" y="177"/>
                  <a:pt x="117" y="177"/>
                  <a:pt x="118" y="177"/>
                </a:cubicBezTo>
                <a:cubicBezTo>
                  <a:pt x="119" y="177"/>
                  <a:pt x="120" y="178"/>
                  <a:pt x="121" y="177"/>
                </a:cubicBezTo>
                <a:cubicBezTo>
                  <a:pt x="123" y="175"/>
                  <a:pt x="123" y="175"/>
                  <a:pt x="124" y="175"/>
                </a:cubicBezTo>
                <a:cubicBezTo>
                  <a:pt x="126" y="175"/>
                  <a:pt x="128" y="174"/>
                  <a:pt x="129" y="174"/>
                </a:cubicBezTo>
                <a:cubicBezTo>
                  <a:pt x="129" y="175"/>
                  <a:pt x="131" y="175"/>
                  <a:pt x="131" y="175"/>
                </a:cubicBezTo>
                <a:cubicBezTo>
                  <a:pt x="132" y="175"/>
                  <a:pt x="135" y="177"/>
                  <a:pt x="136" y="177"/>
                </a:cubicBezTo>
                <a:cubicBezTo>
                  <a:pt x="137" y="176"/>
                  <a:pt x="141" y="177"/>
                  <a:pt x="141" y="177"/>
                </a:cubicBezTo>
                <a:cubicBezTo>
                  <a:pt x="141" y="177"/>
                  <a:pt x="130" y="186"/>
                  <a:pt x="107" y="187"/>
                </a:cubicBezTo>
                <a:cubicBezTo>
                  <a:pt x="107" y="187"/>
                  <a:pt x="158" y="189"/>
                  <a:pt x="187" y="139"/>
                </a:cubicBezTo>
                <a:cubicBezTo>
                  <a:pt x="216" y="89"/>
                  <a:pt x="196" y="25"/>
                  <a:pt x="130" y="3"/>
                </a:cubicBezTo>
                <a:cubicBezTo>
                  <a:pt x="130" y="3"/>
                  <a:pt x="179" y="21"/>
                  <a:pt x="192" y="68"/>
                </a:cubicBezTo>
                <a:cubicBezTo>
                  <a:pt x="192" y="69"/>
                  <a:pt x="192" y="69"/>
                  <a:pt x="192" y="69"/>
                </a:cubicBezTo>
                <a:cubicBezTo>
                  <a:pt x="191" y="68"/>
                  <a:pt x="191" y="68"/>
                  <a:pt x="190" y="66"/>
                </a:cubicBezTo>
                <a:cubicBezTo>
                  <a:pt x="188" y="64"/>
                  <a:pt x="189" y="64"/>
                  <a:pt x="188" y="63"/>
                </a:cubicBezTo>
                <a:cubicBezTo>
                  <a:pt x="188" y="61"/>
                  <a:pt x="188" y="62"/>
                  <a:pt x="187" y="61"/>
                </a:cubicBezTo>
                <a:cubicBezTo>
                  <a:pt x="186" y="59"/>
                  <a:pt x="185" y="60"/>
                  <a:pt x="184" y="59"/>
                </a:cubicBezTo>
                <a:cubicBezTo>
                  <a:pt x="184" y="58"/>
                  <a:pt x="183" y="55"/>
                  <a:pt x="182" y="54"/>
                </a:cubicBezTo>
                <a:cubicBezTo>
                  <a:pt x="181" y="53"/>
                  <a:pt x="179" y="53"/>
                  <a:pt x="178" y="53"/>
                </a:cubicBezTo>
                <a:cubicBezTo>
                  <a:pt x="178" y="53"/>
                  <a:pt x="178" y="51"/>
                  <a:pt x="178" y="53"/>
                </a:cubicBezTo>
                <a:cubicBezTo>
                  <a:pt x="177" y="54"/>
                  <a:pt x="179" y="55"/>
                  <a:pt x="179" y="55"/>
                </a:cubicBezTo>
                <a:cubicBezTo>
                  <a:pt x="179" y="59"/>
                  <a:pt x="179" y="59"/>
                  <a:pt x="179" y="59"/>
                </a:cubicBezTo>
                <a:cubicBezTo>
                  <a:pt x="179" y="59"/>
                  <a:pt x="180" y="62"/>
                  <a:pt x="180" y="63"/>
                </a:cubicBezTo>
                <a:cubicBezTo>
                  <a:pt x="180" y="64"/>
                  <a:pt x="179" y="66"/>
                  <a:pt x="179" y="66"/>
                </a:cubicBezTo>
                <a:cubicBezTo>
                  <a:pt x="179" y="66"/>
                  <a:pt x="179" y="69"/>
                  <a:pt x="178" y="70"/>
                </a:cubicBezTo>
                <a:cubicBezTo>
                  <a:pt x="177" y="70"/>
                  <a:pt x="172" y="71"/>
                  <a:pt x="172" y="71"/>
                </a:cubicBezTo>
                <a:cubicBezTo>
                  <a:pt x="172" y="71"/>
                  <a:pt x="170" y="69"/>
                  <a:pt x="169" y="68"/>
                </a:cubicBezTo>
                <a:cubicBezTo>
                  <a:pt x="169" y="66"/>
                  <a:pt x="166" y="66"/>
                  <a:pt x="165" y="65"/>
                </a:cubicBezTo>
                <a:cubicBezTo>
                  <a:pt x="165" y="64"/>
                  <a:pt x="166" y="63"/>
                  <a:pt x="165" y="61"/>
                </a:cubicBezTo>
                <a:cubicBezTo>
                  <a:pt x="163" y="59"/>
                  <a:pt x="165" y="60"/>
                  <a:pt x="163" y="58"/>
                </a:cubicBezTo>
                <a:cubicBezTo>
                  <a:pt x="161" y="57"/>
                  <a:pt x="161" y="57"/>
                  <a:pt x="161" y="57"/>
                </a:cubicBezTo>
                <a:cubicBezTo>
                  <a:pt x="161" y="57"/>
                  <a:pt x="157" y="55"/>
                  <a:pt x="158" y="58"/>
                </a:cubicBezTo>
                <a:cubicBezTo>
                  <a:pt x="160" y="60"/>
                  <a:pt x="158" y="62"/>
                  <a:pt x="159" y="62"/>
                </a:cubicBezTo>
                <a:cubicBezTo>
                  <a:pt x="160" y="63"/>
                  <a:pt x="161" y="62"/>
                  <a:pt x="162" y="64"/>
                </a:cubicBezTo>
                <a:cubicBezTo>
                  <a:pt x="163" y="66"/>
                  <a:pt x="163" y="67"/>
                  <a:pt x="164" y="67"/>
                </a:cubicBezTo>
                <a:cubicBezTo>
                  <a:pt x="164" y="68"/>
                  <a:pt x="165" y="71"/>
                  <a:pt x="165" y="71"/>
                </a:cubicBezTo>
                <a:cubicBezTo>
                  <a:pt x="166" y="71"/>
                  <a:pt x="169" y="71"/>
                  <a:pt x="169" y="72"/>
                </a:cubicBezTo>
                <a:cubicBezTo>
                  <a:pt x="168" y="73"/>
                  <a:pt x="167" y="75"/>
                  <a:pt x="169" y="75"/>
                </a:cubicBezTo>
                <a:cubicBezTo>
                  <a:pt x="170" y="76"/>
                  <a:pt x="170" y="76"/>
                  <a:pt x="171" y="76"/>
                </a:cubicBezTo>
                <a:cubicBezTo>
                  <a:pt x="172" y="76"/>
                  <a:pt x="172" y="76"/>
                  <a:pt x="173" y="76"/>
                </a:cubicBezTo>
                <a:cubicBezTo>
                  <a:pt x="175" y="75"/>
                  <a:pt x="176" y="75"/>
                  <a:pt x="176" y="75"/>
                </a:cubicBezTo>
                <a:cubicBezTo>
                  <a:pt x="176" y="75"/>
                  <a:pt x="178" y="77"/>
                  <a:pt x="178" y="77"/>
                </a:cubicBezTo>
                <a:cubicBezTo>
                  <a:pt x="178" y="78"/>
                  <a:pt x="178" y="82"/>
                  <a:pt x="178" y="82"/>
                </a:cubicBezTo>
                <a:cubicBezTo>
                  <a:pt x="176" y="85"/>
                  <a:pt x="176" y="85"/>
                  <a:pt x="176" y="85"/>
                </a:cubicBezTo>
                <a:cubicBezTo>
                  <a:pt x="176" y="85"/>
                  <a:pt x="176" y="92"/>
                  <a:pt x="175" y="92"/>
                </a:cubicBezTo>
                <a:cubicBezTo>
                  <a:pt x="174" y="92"/>
                  <a:pt x="173" y="95"/>
                  <a:pt x="172" y="95"/>
                </a:cubicBezTo>
                <a:cubicBezTo>
                  <a:pt x="171" y="96"/>
                  <a:pt x="171" y="100"/>
                  <a:pt x="171" y="100"/>
                </a:cubicBezTo>
                <a:cubicBezTo>
                  <a:pt x="169" y="103"/>
                  <a:pt x="169" y="103"/>
                  <a:pt x="169" y="103"/>
                </a:cubicBezTo>
                <a:cubicBezTo>
                  <a:pt x="169" y="103"/>
                  <a:pt x="169" y="106"/>
                  <a:pt x="169" y="107"/>
                </a:cubicBezTo>
                <a:cubicBezTo>
                  <a:pt x="169" y="108"/>
                  <a:pt x="170" y="111"/>
                  <a:pt x="169" y="113"/>
                </a:cubicBezTo>
                <a:cubicBezTo>
                  <a:pt x="169" y="115"/>
                  <a:pt x="166" y="117"/>
                  <a:pt x="166" y="117"/>
                </a:cubicBezTo>
                <a:cubicBezTo>
                  <a:pt x="166" y="117"/>
                  <a:pt x="170" y="120"/>
                  <a:pt x="168" y="120"/>
                </a:cubicBezTo>
                <a:cubicBezTo>
                  <a:pt x="166" y="120"/>
                  <a:pt x="164" y="123"/>
                  <a:pt x="164" y="124"/>
                </a:cubicBezTo>
                <a:cubicBezTo>
                  <a:pt x="163" y="124"/>
                  <a:pt x="164" y="126"/>
                  <a:pt x="163" y="126"/>
                </a:cubicBezTo>
                <a:cubicBezTo>
                  <a:pt x="161" y="126"/>
                  <a:pt x="159" y="126"/>
                  <a:pt x="159" y="127"/>
                </a:cubicBezTo>
                <a:cubicBezTo>
                  <a:pt x="159" y="128"/>
                  <a:pt x="159" y="130"/>
                  <a:pt x="159" y="130"/>
                </a:cubicBezTo>
                <a:cubicBezTo>
                  <a:pt x="156" y="135"/>
                  <a:pt x="156" y="135"/>
                  <a:pt x="156" y="135"/>
                </a:cubicBezTo>
                <a:cubicBezTo>
                  <a:pt x="152" y="139"/>
                  <a:pt x="152" y="139"/>
                  <a:pt x="152" y="139"/>
                </a:cubicBezTo>
                <a:cubicBezTo>
                  <a:pt x="152" y="139"/>
                  <a:pt x="152" y="141"/>
                  <a:pt x="151" y="142"/>
                </a:cubicBezTo>
                <a:cubicBezTo>
                  <a:pt x="150" y="142"/>
                  <a:pt x="145" y="144"/>
                  <a:pt x="144" y="144"/>
                </a:cubicBezTo>
                <a:cubicBezTo>
                  <a:pt x="144" y="145"/>
                  <a:pt x="141" y="147"/>
                  <a:pt x="139" y="147"/>
                </a:cubicBezTo>
                <a:cubicBezTo>
                  <a:pt x="138" y="147"/>
                  <a:pt x="140" y="150"/>
                  <a:pt x="138" y="147"/>
                </a:cubicBezTo>
                <a:cubicBezTo>
                  <a:pt x="137" y="143"/>
                  <a:pt x="138" y="145"/>
                  <a:pt x="136" y="142"/>
                </a:cubicBezTo>
                <a:cubicBezTo>
                  <a:pt x="135" y="138"/>
                  <a:pt x="135" y="141"/>
                  <a:pt x="135" y="138"/>
                </a:cubicBezTo>
                <a:cubicBezTo>
                  <a:pt x="135" y="136"/>
                  <a:pt x="135" y="138"/>
                  <a:pt x="135" y="136"/>
                </a:cubicBezTo>
                <a:cubicBezTo>
                  <a:pt x="135" y="133"/>
                  <a:pt x="135" y="135"/>
                  <a:pt x="134" y="132"/>
                </a:cubicBezTo>
                <a:cubicBezTo>
                  <a:pt x="133" y="129"/>
                  <a:pt x="133" y="130"/>
                  <a:pt x="131" y="128"/>
                </a:cubicBezTo>
                <a:cubicBezTo>
                  <a:pt x="129" y="127"/>
                  <a:pt x="128" y="128"/>
                  <a:pt x="129" y="126"/>
                </a:cubicBezTo>
                <a:cubicBezTo>
                  <a:pt x="130" y="123"/>
                  <a:pt x="130" y="126"/>
                  <a:pt x="130" y="123"/>
                </a:cubicBezTo>
                <a:cubicBezTo>
                  <a:pt x="131" y="120"/>
                  <a:pt x="130" y="119"/>
                  <a:pt x="132" y="118"/>
                </a:cubicBezTo>
                <a:cubicBezTo>
                  <a:pt x="134" y="117"/>
                  <a:pt x="135" y="117"/>
                  <a:pt x="135" y="115"/>
                </a:cubicBezTo>
                <a:cubicBezTo>
                  <a:pt x="135" y="113"/>
                  <a:pt x="135" y="112"/>
                  <a:pt x="134" y="111"/>
                </a:cubicBezTo>
                <a:cubicBezTo>
                  <a:pt x="134" y="110"/>
                  <a:pt x="132" y="108"/>
                  <a:pt x="132" y="108"/>
                </a:cubicBezTo>
                <a:cubicBezTo>
                  <a:pt x="132" y="107"/>
                  <a:pt x="132" y="107"/>
                  <a:pt x="130" y="105"/>
                </a:cubicBezTo>
                <a:cubicBezTo>
                  <a:pt x="129" y="103"/>
                  <a:pt x="128" y="102"/>
                  <a:pt x="128" y="102"/>
                </a:cubicBezTo>
                <a:cubicBezTo>
                  <a:pt x="128" y="102"/>
                  <a:pt x="128" y="98"/>
                  <a:pt x="128" y="96"/>
                </a:cubicBezTo>
                <a:cubicBezTo>
                  <a:pt x="128" y="94"/>
                  <a:pt x="127" y="97"/>
                  <a:pt x="128" y="94"/>
                </a:cubicBezTo>
                <a:cubicBezTo>
                  <a:pt x="128" y="91"/>
                  <a:pt x="129" y="90"/>
                  <a:pt x="129" y="90"/>
                </a:cubicBezTo>
                <a:cubicBezTo>
                  <a:pt x="129" y="90"/>
                  <a:pt x="125" y="87"/>
                  <a:pt x="124" y="88"/>
                </a:cubicBezTo>
                <a:cubicBezTo>
                  <a:pt x="123" y="88"/>
                  <a:pt x="123" y="90"/>
                  <a:pt x="121" y="88"/>
                </a:cubicBezTo>
                <a:cubicBezTo>
                  <a:pt x="119" y="87"/>
                  <a:pt x="119" y="86"/>
                  <a:pt x="119" y="85"/>
                </a:cubicBezTo>
                <a:cubicBezTo>
                  <a:pt x="118" y="85"/>
                  <a:pt x="117" y="85"/>
                  <a:pt x="116" y="85"/>
                </a:cubicBezTo>
                <a:cubicBezTo>
                  <a:pt x="114" y="86"/>
                  <a:pt x="112" y="86"/>
                  <a:pt x="110" y="87"/>
                </a:cubicBezTo>
                <a:cubicBezTo>
                  <a:pt x="108" y="88"/>
                  <a:pt x="107" y="88"/>
                  <a:pt x="105" y="88"/>
                </a:cubicBezTo>
                <a:cubicBezTo>
                  <a:pt x="102" y="88"/>
                  <a:pt x="99" y="89"/>
                  <a:pt x="97" y="88"/>
                </a:cubicBezTo>
                <a:cubicBezTo>
                  <a:pt x="95" y="86"/>
                  <a:pt x="95" y="88"/>
                  <a:pt x="94" y="86"/>
                </a:cubicBezTo>
                <a:cubicBezTo>
                  <a:pt x="93" y="84"/>
                  <a:pt x="94" y="84"/>
                  <a:pt x="92" y="83"/>
                </a:cubicBezTo>
                <a:cubicBezTo>
                  <a:pt x="90" y="82"/>
                  <a:pt x="90" y="83"/>
                  <a:pt x="89" y="81"/>
                </a:cubicBezTo>
                <a:cubicBezTo>
                  <a:pt x="89" y="79"/>
                  <a:pt x="90" y="79"/>
                  <a:pt x="89" y="77"/>
                </a:cubicBezTo>
                <a:cubicBezTo>
                  <a:pt x="87" y="75"/>
                  <a:pt x="90" y="78"/>
                  <a:pt x="87" y="75"/>
                </a:cubicBezTo>
                <a:cubicBezTo>
                  <a:pt x="85" y="73"/>
                  <a:pt x="84" y="75"/>
                  <a:pt x="85" y="73"/>
                </a:cubicBezTo>
                <a:cubicBezTo>
                  <a:pt x="86" y="71"/>
                  <a:pt x="86" y="72"/>
                  <a:pt x="86" y="69"/>
                </a:cubicBezTo>
                <a:cubicBezTo>
                  <a:pt x="86" y="67"/>
                  <a:pt x="90" y="70"/>
                  <a:pt x="88" y="65"/>
                </a:cubicBezTo>
                <a:cubicBezTo>
                  <a:pt x="85" y="60"/>
                  <a:pt x="85" y="61"/>
                  <a:pt x="87" y="57"/>
                </a:cubicBezTo>
                <a:cubicBezTo>
                  <a:pt x="89" y="53"/>
                  <a:pt x="92" y="52"/>
                  <a:pt x="93" y="51"/>
                </a:cubicBezTo>
                <a:cubicBezTo>
                  <a:pt x="93" y="50"/>
                  <a:pt x="94" y="48"/>
                  <a:pt x="95" y="47"/>
                </a:cubicBezTo>
                <a:cubicBezTo>
                  <a:pt x="96" y="46"/>
                  <a:pt x="95" y="46"/>
                  <a:pt x="97" y="46"/>
                </a:cubicBezTo>
                <a:cubicBezTo>
                  <a:pt x="99" y="46"/>
                  <a:pt x="101" y="45"/>
                  <a:pt x="103" y="44"/>
                </a:cubicBezTo>
                <a:cubicBezTo>
                  <a:pt x="104" y="43"/>
                  <a:pt x="106" y="41"/>
                  <a:pt x="107" y="40"/>
                </a:cubicBezTo>
                <a:cubicBezTo>
                  <a:pt x="107" y="40"/>
                  <a:pt x="107" y="41"/>
                  <a:pt x="109" y="40"/>
                </a:cubicBezTo>
                <a:cubicBezTo>
                  <a:pt x="111" y="40"/>
                  <a:pt x="111" y="39"/>
                  <a:pt x="113" y="39"/>
                </a:cubicBezTo>
                <a:cubicBezTo>
                  <a:pt x="114" y="39"/>
                  <a:pt x="111" y="40"/>
                  <a:pt x="115" y="39"/>
                </a:cubicBezTo>
                <a:cubicBezTo>
                  <a:pt x="119" y="39"/>
                  <a:pt x="118" y="39"/>
                  <a:pt x="119" y="39"/>
                </a:cubicBezTo>
                <a:cubicBezTo>
                  <a:pt x="120" y="39"/>
                  <a:pt x="119" y="39"/>
                  <a:pt x="121" y="39"/>
                </a:cubicBezTo>
                <a:cubicBezTo>
                  <a:pt x="122" y="39"/>
                  <a:pt x="122" y="36"/>
                  <a:pt x="122" y="39"/>
                </a:cubicBezTo>
                <a:cubicBezTo>
                  <a:pt x="123" y="43"/>
                  <a:pt x="121" y="44"/>
                  <a:pt x="124" y="44"/>
                </a:cubicBezTo>
                <a:cubicBezTo>
                  <a:pt x="126" y="45"/>
                  <a:pt x="124" y="45"/>
                  <a:pt x="126" y="45"/>
                </a:cubicBezTo>
                <a:cubicBezTo>
                  <a:pt x="129" y="45"/>
                  <a:pt x="128" y="45"/>
                  <a:pt x="130" y="46"/>
                </a:cubicBezTo>
                <a:cubicBezTo>
                  <a:pt x="131" y="46"/>
                  <a:pt x="132" y="47"/>
                  <a:pt x="134" y="47"/>
                </a:cubicBezTo>
                <a:cubicBezTo>
                  <a:pt x="136" y="47"/>
                  <a:pt x="133" y="50"/>
                  <a:pt x="136" y="47"/>
                </a:cubicBezTo>
                <a:cubicBezTo>
                  <a:pt x="139" y="44"/>
                  <a:pt x="133" y="44"/>
                  <a:pt x="139" y="44"/>
                </a:cubicBezTo>
                <a:cubicBezTo>
                  <a:pt x="144" y="45"/>
                  <a:pt x="144" y="46"/>
                  <a:pt x="145" y="45"/>
                </a:cubicBezTo>
                <a:cubicBezTo>
                  <a:pt x="146" y="45"/>
                  <a:pt x="146" y="46"/>
                  <a:pt x="148" y="45"/>
                </a:cubicBezTo>
                <a:cubicBezTo>
                  <a:pt x="151" y="44"/>
                  <a:pt x="151" y="44"/>
                  <a:pt x="152" y="44"/>
                </a:cubicBezTo>
                <a:cubicBezTo>
                  <a:pt x="153" y="45"/>
                  <a:pt x="153" y="47"/>
                  <a:pt x="154" y="45"/>
                </a:cubicBezTo>
                <a:cubicBezTo>
                  <a:pt x="154" y="43"/>
                  <a:pt x="156" y="43"/>
                  <a:pt x="154" y="42"/>
                </a:cubicBezTo>
                <a:cubicBezTo>
                  <a:pt x="151" y="41"/>
                  <a:pt x="150" y="42"/>
                  <a:pt x="150" y="40"/>
                </a:cubicBezTo>
                <a:cubicBezTo>
                  <a:pt x="149" y="39"/>
                  <a:pt x="152" y="39"/>
                  <a:pt x="149" y="39"/>
                </a:cubicBezTo>
                <a:cubicBezTo>
                  <a:pt x="146" y="38"/>
                  <a:pt x="147" y="38"/>
                  <a:pt x="145" y="38"/>
                </a:cubicBezTo>
                <a:cubicBezTo>
                  <a:pt x="143" y="37"/>
                  <a:pt x="141" y="39"/>
                  <a:pt x="140" y="38"/>
                </a:cubicBezTo>
                <a:cubicBezTo>
                  <a:pt x="140" y="36"/>
                  <a:pt x="136" y="39"/>
                  <a:pt x="140" y="36"/>
                </a:cubicBezTo>
                <a:cubicBezTo>
                  <a:pt x="143" y="32"/>
                  <a:pt x="142" y="31"/>
                  <a:pt x="144" y="32"/>
                </a:cubicBezTo>
                <a:cubicBezTo>
                  <a:pt x="147" y="32"/>
                  <a:pt x="146" y="34"/>
                  <a:pt x="148" y="33"/>
                </a:cubicBezTo>
                <a:cubicBezTo>
                  <a:pt x="149" y="32"/>
                  <a:pt x="152" y="31"/>
                  <a:pt x="149" y="29"/>
                </a:cubicBezTo>
                <a:cubicBezTo>
                  <a:pt x="146" y="27"/>
                  <a:pt x="148" y="28"/>
                  <a:pt x="145" y="26"/>
                </a:cubicBezTo>
                <a:cubicBezTo>
                  <a:pt x="142" y="25"/>
                  <a:pt x="140" y="32"/>
                  <a:pt x="139" y="31"/>
                </a:cubicBezTo>
                <a:cubicBezTo>
                  <a:pt x="137" y="30"/>
                  <a:pt x="137" y="29"/>
                  <a:pt x="136" y="30"/>
                </a:cubicBezTo>
                <a:cubicBezTo>
                  <a:pt x="135" y="30"/>
                  <a:pt x="135" y="32"/>
                  <a:pt x="135" y="34"/>
                </a:cubicBezTo>
                <a:cubicBezTo>
                  <a:pt x="134" y="36"/>
                  <a:pt x="136" y="36"/>
                  <a:pt x="133" y="35"/>
                </a:cubicBezTo>
                <a:cubicBezTo>
                  <a:pt x="130" y="34"/>
                  <a:pt x="136" y="34"/>
                  <a:pt x="130" y="32"/>
                </a:cubicBezTo>
                <a:cubicBezTo>
                  <a:pt x="124" y="30"/>
                  <a:pt x="121" y="30"/>
                  <a:pt x="120" y="31"/>
                </a:cubicBezTo>
                <a:cubicBezTo>
                  <a:pt x="120" y="32"/>
                  <a:pt x="118" y="32"/>
                  <a:pt x="118" y="32"/>
                </a:cubicBezTo>
                <a:cubicBezTo>
                  <a:pt x="117" y="33"/>
                  <a:pt x="120" y="35"/>
                  <a:pt x="117" y="33"/>
                </a:cubicBezTo>
                <a:cubicBezTo>
                  <a:pt x="114" y="32"/>
                  <a:pt x="112" y="34"/>
                  <a:pt x="112" y="34"/>
                </a:cubicBezTo>
                <a:cubicBezTo>
                  <a:pt x="112" y="34"/>
                  <a:pt x="111" y="34"/>
                  <a:pt x="110" y="34"/>
                </a:cubicBezTo>
                <a:cubicBezTo>
                  <a:pt x="109" y="35"/>
                  <a:pt x="106" y="36"/>
                  <a:pt x="105" y="36"/>
                </a:cubicBezTo>
                <a:cubicBezTo>
                  <a:pt x="104" y="35"/>
                  <a:pt x="101" y="36"/>
                  <a:pt x="103" y="33"/>
                </a:cubicBezTo>
                <a:cubicBezTo>
                  <a:pt x="106" y="30"/>
                  <a:pt x="104" y="32"/>
                  <a:pt x="108" y="30"/>
                </a:cubicBezTo>
                <a:cubicBezTo>
                  <a:pt x="111" y="28"/>
                  <a:pt x="117" y="28"/>
                  <a:pt x="112" y="27"/>
                </a:cubicBezTo>
                <a:cubicBezTo>
                  <a:pt x="107" y="26"/>
                  <a:pt x="115" y="26"/>
                  <a:pt x="108" y="23"/>
                </a:cubicBezTo>
                <a:cubicBezTo>
                  <a:pt x="102" y="20"/>
                  <a:pt x="102" y="24"/>
                  <a:pt x="102" y="20"/>
                </a:cubicBezTo>
                <a:cubicBezTo>
                  <a:pt x="102" y="16"/>
                  <a:pt x="101" y="15"/>
                  <a:pt x="100" y="16"/>
                </a:cubicBezTo>
                <a:cubicBezTo>
                  <a:pt x="99" y="16"/>
                  <a:pt x="95" y="17"/>
                  <a:pt x="93" y="17"/>
                </a:cubicBezTo>
                <a:cubicBezTo>
                  <a:pt x="92" y="17"/>
                  <a:pt x="94" y="19"/>
                  <a:pt x="91" y="17"/>
                </a:cubicBezTo>
                <a:cubicBezTo>
                  <a:pt x="88" y="15"/>
                  <a:pt x="87" y="18"/>
                  <a:pt x="88" y="15"/>
                </a:cubicBezTo>
                <a:cubicBezTo>
                  <a:pt x="89" y="12"/>
                  <a:pt x="89" y="12"/>
                  <a:pt x="91" y="10"/>
                </a:cubicBezTo>
                <a:cubicBezTo>
                  <a:pt x="93" y="9"/>
                  <a:pt x="92" y="3"/>
                  <a:pt x="97" y="5"/>
                </a:cubicBezTo>
                <a:cubicBezTo>
                  <a:pt x="101" y="7"/>
                  <a:pt x="99" y="7"/>
                  <a:pt x="103" y="7"/>
                </a:cubicBezTo>
                <a:cubicBezTo>
                  <a:pt x="106" y="7"/>
                  <a:pt x="108" y="7"/>
                  <a:pt x="108" y="6"/>
                </a:cubicBezTo>
                <a:cubicBezTo>
                  <a:pt x="108" y="5"/>
                  <a:pt x="104" y="3"/>
                  <a:pt x="104" y="3"/>
                </a:cubicBezTo>
                <a:cubicBezTo>
                  <a:pt x="104" y="3"/>
                  <a:pt x="103" y="4"/>
                  <a:pt x="103" y="3"/>
                </a:cubicBezTo>
                <a:cubicBezTo>
                  <a:pt x="103" y="2"/>
                  <a:pt x="104" y="1"/>
                  <a:pt x="104" y="1"/>
                </a:cubicBezTo>
                <a:cubicBezTo>
                  <a:pt x="103" y="0"/>
                  <a:pt x="103" y="0"/>
                  <a:pt x="103" y="0"/>
                </a:cubicBezTo>
                <a:cubicBezTo>
                  <a:pt x="103" y="0"/>
                  <a:pt x="91" y="0"/>
                  <a:pt x="88" y="1"/>
                </a:cubicBezTo>
                <a:close/>
              </a:path>
            </a:pathLst>
          </a:custGeom>
          <a:solidFill>
            <a:srgbClr val="F2F2F2"/>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93" name="KSO_Shape">
            <a:extLst>
              <a:ext uri="{FF2B5EF4-FFF2-40B4-BE49-F238E27FC236}">
                <a16:creationId xmlns:a16="http://schemas.microsoft.com/office/drawing/2014/main" id="{56EA1D3D-DEBD-4A68-A56E-3F327248FFE2}"/>
              </a:ext>
            </a:extLst>
          </p:cNvPr>
          <p:cNvSpPr/>
          <p:nvPr/>
        </p:nvSpPr>
        <p:spPr>
          <a:xfrm>
            <a:off x="3024188" y="4022725"/>
            <a:ext cx="401637" cy="304800"/>
          </a:xfrm>
          <a:custGeom>
            <a:gdLst>
              <a:gd fmla="*/ 367281 w 529316" name="connsiteX0"/>
              <a:gd fmla="*/ 196274 h 401026" name="connsiteY0"/>
              <a:gd fmla="*/ 355293 w 529316" name="connsiteX1"/>
              <a:gd fmla="*/ 208263 h 401026" name="connsiteY1"/>
              <a:gd fmla="*/ 465090 w 529316" name="connsiteX2"/>
              <a:gd fmla="*/ 318060 h 401026" name="connsiteY2"/>
              <a:gd fmla="*/ 466739 w 529316" name="connsiteX3"/>
              <a:gd fmla="*/ 320716 h 401026" name="connsiteY3"/>
              <a:gd fmla="*/ 491723 w 529316" name="connsiteX4"/>
              <a:gd fmla="*/ 320716 h 401026" name="connsiteY4"/>
              <a:gd fmla="*/ 162035 w 529316" name="connsiteX5"/>
              <a:gd fmla="*/ 196274 h 401026" name="connsiteY5"/>
              <a:gd fmla="*/ 37593 w 529316" name="connsiteX6"/>
              <a:gd fmla="*/ 320716 h 401026" name="connsiteY6"/>
              <a:gd fmla="*/ 62577 w 529316" name="connsiteX7"/>
              <a:gd fmla="*/ 320716 h 401026" name="connsiteY7"/>
              <a:gd fmla="*/ 64225 w 529316" name="connsiteX8"/>
              <a:gd fmla="*/ 318061 h 401026" name="connsiteY8"/>
              <a:gd fmla="*/ 174023 w 529316" name="connsiteX9"/>
              <a:gd fmla="*/ 208263 h 401026" name="connsiteY9"/>
              <a:gd fmla="*/ 46349 w 529316" name="connsiteX10"/>
              <a:gd fmla="*/ 80311 h 401026" name="connsiteY10"/>
              <a:gd fmla="*/ 222791 w 529316" name="connsiteX11"/>
              <a:gd fmla="*/ 256753 h 401026" name="connsiteY11"/>
              <a:gd fmla="*/ 263500 w 529316" name="connsiteX12"/>
              <a:gd fmla="*/ 273616 h 401026" name="connsiteY12"/>
              <a:gd fmla="*/ 264659 w 529316" name="connsiteX13"/>
              <a:gd fmla="*/ 273504 h 401026" name="connsiteY13"/>
              <a:gd fmla="*/ 306525 w 529316" name="connsiteX14"/>
              <a:gd fmla="*/ 256753 h 401026" name="connsiteY14"/>
              <a:gd fmla="*/ 482968 w 529316" name="connsiteX15"/>
              <a:gd fmla="*/ 80311 h 401026" name="connsiteY15"/>
              <a:gd fmla="*/ 458990 w 529316" name="connsiteX16"/>
              <a:gd fmla="*/ 80311 h 401026" name="connsiteY16"/>
              <a:gd fmla="*/ 300904 w 529316" name="connsiteX17"/>
              <a:gd fmla="*/ 238397 h 401026" name="connsiteY17"/>
              <a:gd fmla="*/ 264659 w 529316" name="connsiteX18"/>
              <a:gd fmla="*/ 252899 h 401026" name="connsiteY18"/>
              <a:gd fmla="*/ 263656 w 529316" name="connsiteX19"/>
              <a:gd fmla="*/ 252995 h 401026" name="connsiteY19"/>
              <a:gd fmla="*/ 228412 w 529316" name="connsiteX20"/>
              <a:gd fmla="*/ 238397 h 401026" name="connsiteY20"/>
              <a:gd fmla="*/ 70326 w 529316" name="connsiteX21"/>
              <a:gd fmla="*/ 80311 h 401026" name="connsiteY21"/>
              <a:gd fmla="*/ 92015 w 529316" name="connsiteX22"/>
              <a:gd fmla="*/ 0 h 401026" name="connsiteY22"/>
              <a:gd fmla="*/ 437301 w 529316" name="connsiteX23"/>
              <a:gd fmla="*/ 0 h 401026" name="connsiteY23"/>
              <a:gd fmla="*/ 529316 w 529316" name="connsiteX24"/>
              <a:gd fmla="*/ 92015 h 401026" name="connsiteY24"/>
              <a:gd fmla="*/ 529316 w 529316" name="connsiteX25"/>
              <a:gd fmla="*/ 309011 h 401026" name="connsiteY25"/>
              <a:gd fmla="*/ 437301 w 529316" name="connsiteX26"/>
              <a:gd fmla="*/ 401026 h 401026" name="connsiteY26"/>
              <a:gd fmla="*/ 92015 w 529316" name="connsiteX27"/>
              <a:gd fmla="*/ 401026 h 401026" name="connsiteY27"/>
              <a:gd fmla="*/ 0 w 529316" name="connsiteX28"/>
              <a:gd fmla="*/ 309011 h 401026" name="connsiteY28"/>
              <a:gd fmla="*/ 0 w 529316" name="connsiteX29"/>
              <a:gd fmla="*/ 92015 h 401026" name="connsiteY29"/>
              <a:gd fmla="*/ 92015 w 529316" name="connsiteX30"/>
              <a:gd fmla="*/ 0 h 401026" name="connsiteY3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b="b" l="l" r="r" t="t"/>
            <a:pathLst>
              <a:path h="401026" w="529316">
                <a:moveTo>
                  <a:pt x="367281" y="196274"/>
                </a:moveTo>
                <a:lnTo>
                  <a:pt x="355293" y="208263"/>
                </a:lnTo>
                <a:lnTo>
                  <a:pt x="465090" y="318060"/>
                </a:lnTo>
                <a:cubicBezTo>
                  <a:pt x="465822" y="318792"/>
                  <a:pt x="466527" y="319541"/>
                  <a:pt x="466739" y="320716"/>
                </a:cubicBezTo>
                <a:lnTo>
                  <a:pt x="491723" y="320716"/>
                </a:lnTo>
                <a:close/>
                <a:moveTo>
                  <a:pt x="162035" y="196274"/>
                </a:moveTo>
                <a:lnTo>
                  <a:pt x="37593" y="320716"/>
                </a:lnTo>
                <a:lnTo>
                  <a:pt x="62577" y="320716"/>
                </a:lnTo>
                <a:lnTo>
                  <a:pt x="64225" y="318061"/>
                </a:lnTo>
                <a:lnTo>
                  <a:pt x="174023" y="208263"/>
                </a:lnTo>
                <a:close/>
                <a:moveTo>
                  <a:pt x="46349" y="80311"/>
                </a:moveTo>
                <a:lnTo>
                  <a:pt x="222791" y="256753"/>
                </a:lnTo>
                <a:cubicBezTo>
                  <a:pt x="234032" y="267995"/>
                  <a:pt x="248767" y="273616"/>
                  <a:pt x="263500" y="273616"/>
                </a:cubicBezTo>
                <a:cubicBezTo>
                  <a:pt x="263887" y="273616"/>
                  <a:pt x="264274" y="273611"/>
                  <a:pt x="264659" y="273504"/>
                </a:cubicBezTo>
                <a:cubicBezTo>
                  <a:pt x="279774" y="273906"/>
                  <a:pt x="294989" y="268289"/>
                  <a:pt x="306525" y="256753"/>
                </a:cubicBezTo>
                <a:lnTo>
                  <a:pt x="482968" y="80311"/>
                </a:lnTo>
                <a:lnTo>
                  <a:pt x="458990" y="80311"/>
                </a:lnTo>
                <a:lnTo>
                  <a:pt x="300904" y="238397"/>
                </a:lnTo>
                <a:cubicBezTo>
                  <a:pt x="290917" y="248385"/>
                  <a:pt x="277745" y="253247"/>
                  <a:pt x="264659" y="252899"/>
                </a:cubicBezTo>
                <a:cubicBezTo>
                  <a:pt x="264325" y="252991"/>
                  <a:pt x="263990" y="252995"/>
                  <a:pt x="263656" y="252995"/>
                </a:cubicBezTo>
                <a:cubicBezTo>
                  <a:pt x="250900" y="252995"/>
                  <a:pt x="238144" y="248128"/>
                  <a:pt x="228412" y="238397"/>
                </a:cubicBezTo>
                <a:lnTo>
                  <a:pt x="70326" y="80311"/>
                </a:lnTo>
                <a:close/>
                <a:moveTo>
                  <a:pt x="92015" y="0"/>
                </a:moveTo>
                <a:lnTo>
                  <a:pt x="437301" y="0"/>
                </a:lnTo>
                <a:cubicBezTo>
                  <a:pt x="488119" y="0"/>
                  <a:pt x="529316" y="41197"/>
                  <a:pt x="529316" y="92015"/>
                </a:cubicBezTo>
                <a:lnTo>
                  <a:pt x="529316" y="309011"/>
                </a:lnTo>
                <a:cubicBezTo>
                  <a:pt x="529316" y="359829"/>
                  <a:pt x="488119" y="401026"/>
                  <a:pt x="437301" y="401026"/>
                </a:cubicBezTo>
                <a:lnTo>
                  <a:pt x="92015" y="401026"/>
                </a:lnTo>
                <a:cubicBezTo>
                  <a:pt x="41197" y="401026"/>
                  <a:pt x="0" y="359829"/>
                  <a:pt x="0" y="309011"/>
                </a:cubicBezTo>
                <a:lnTo>
                  <a:pt x="0" y="92015"/>
                </a:lnTo>
                <a:cubicBezTo>
                  <a:pt x="0" y="41197"/>
                  <a:pt x="41197" y="0"/>
                  <a:pt x="9201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6462" name="KSO_Shape">
            <a:extLst>
              <a:ext uri="{FF2B5EF4-FFF2-40B4-BE49-F238E27FC236}">
                <a16:creationId xmlns:a16="http://schemas.microsoft.com/office/drawing/2014/main" id="{4A375C7E-6B9F-42F6-A1E5-77AC70BBA4B8}"/>
              </a:ext>
            </a:extLst>
          </p:cNvPr>
          <p:cNvSpPr/>
          <p:nvPr/>
        </p:nvSpPr>
        <p:spPr bwMode="auto">
          <a:xfrm>
            <a:off x="2325688" y="3478213"/>
            <a:ext cx="303212" cy="366712"/>
          </a:xfrm>
          <a:custGeom>
            <a:gdLst>
              <a:gd fmla="*/ 1118 w 968375" name="T0"/>
              <a:gd fmla="*/ 12569 h 1170887" name="T1"/>
              <a:gd fmla="*/ 5394 w 968375" name="T2"/>
              <a:gd fmla="*/ 14466 h 1170887" name="T3"/>
              <a:gd fmla="*/ 9622 w 968375" name="T4"/>
              <a:gd fmla="*/ 12666 h 1170887" name="T5"/>
              <a:gd fmla="*/ 10254 w 968375" name="T6"/>
              <a:gd fmla="*/ 12958 h 1170887" name="T7"/>
              <a:gd fmla="*/ 5394 w 968375" name="T8"/>
              <a:gd fmla="*/ 15196 h 1170887" name="T9"/>
              <a:gd fmla="*/ 437 w 968375" name="T10"/>
              <a:gd fmla="*/ 12861 h 1170887" name="T11"/>
              <a:gd fmla="*/ 1118 w 968375" name="T12"/>
              <a:gd fmla="*/ 12569 h 1170887" name="T13"/>
              <a:gd fmla="*/ 11275 w 968375" name="T14"/>
              <a:gd fmla="*/ 8044 h 1170887" name="T15"/>
              <a:gd fmla="*/ 12538 w 968375" name="T16"/>
              <a:gd fmla="*/ 9601 h 1170887" name="T17"/>
              <a:gd fmla="*/ 10935 w 968375" name="T18"/>
              <a:gd fmla="*/ 11207 h 1170887" name="T19"/>
              <a:gd fmla="*/ 10351 w 968375" name="T20"/>
              <a:gd fmla="*/ 11109 h 1170887" name="T21"/>
              <a:gd fmla="*/ 10740 w 968375" name="T22"/>
              <a:gd fmla="*/ 10477 h 1170887" name="T23"/>
              <a:gd fmla="*/ 10935 w 968375" name="T24"/>
              <a:gd fmla="*/ 10525 h 1170887" name="T25"/>
              <a:gd fmla="*/ 11809 w 968375" name="T26"/>
              <a:gd fmla="*/ 9601 h 1170887" name="T27"/>
              <a:gd fmla="*/ 11226 w 968375" name="T28"/>
              <a:gd fmla="*/ 8774 h 1170887" name="T29"/>
              <a:gd fmla="*/ 11275 w 968375" name="T30"/>
              <a:gd fmla="*/ 8044 h 1170887" name="T31"/>
              <a:gd fmla="*/ 10643 w 968375" name="T32"/>
              <a:gd fmla="*/ 6974 h 1170887" name="T33"/>
              <a:gd fmla="*/ 10740 w 968375" name="T34"/>
              <a:gd fmla="*/ 7947 h 1170887" name="T35"/>
              <a:gd fmla="*/ 5394 w 968375" name="T36"/>
              <a:gd fmla="*/ 13299 h 1170887" name="T37"/>
              <a:gd fmla="*/ 0 w 968375" name="T38"/>
              <a:gd fmla="*/ 7947 h 1170887" name="T39"/>
              <a:gd fmla="*/ 97 w 968375" name="T40"/>
              <a:gd fmla="*/ 7071 h 1170887" name="T41"/>
              <a:gd fmla="*/ 5394 w 968375" name="T42"/>
              <a:gd fmla="*/ 9844 h 1170887" name="T43"/>
              <a:gd fmla="*/ 10643 w 968375" name="T44"/>
              <a:gd fmla="*/ 7071 h 1170887" name="T45"/>
              <a:gd fmla="*/ 10643 w 968375" name="T46"/>
              <a:gd fmla="*/ 6974 h 1170887" name="T47"/>
              <a:gd fmla="*/ 5394 w 968375" name="T48"/>
              <a:gd fmla="*/ 4833 h 1170887" name="T49"/>
              <a:gd fmla="*/ 10060 w 968375" name="T50"/>
              <a:gd fmla="*/ 7071 h 1170887" name="T51"/>
              <a:gd fmla="*/ 10011 w 968375" name="T52"/>
              <a:gd fmla="*/ 7411 h 1170887" name="T53"/>
              <a:gd fmla="*/ 5394 w 968375" name="T54"/>
              <a:gd fmla="*/ 5854 h 1170887" name="T55"/>
              <a:gd fmla="*/ 729 w 968375" name="T56"/>
              <a:gd fmla="*/ 7411 h 1170887" name="T57"/>
              <a:gd fmla="*/ 680 w 968375" name="T58"/>
              <a:gd fmla="*/ 7071 h 1170887" name="T59"/>
              <a:gd fmla="*/ 5394 w 968375" name="T60"/>
              <a:gd fmla="*/ 4833 h 1170887" name="T61"/>
              <a:gd fmla="*/ 7042 w 968375" name="T62"/>
              <a:gd fmla="*/ 806 h 1170887" name="T63"/>
              <a:gd fmla="*/ 7176 w 968375" name="T64"/>
              <a:gd fmla="*/ 4835 h 1170887" name="T65"/>
              <a:gd fmla="*/ 7042 w 968375" name="T66"/>
              <a:gd fmla="*/ 806 h 1170887" name="T67"/>
              <a:gd fmla="*/ 3563 w 968375" name="T68"/>
              <a:gd fmla="*/ 537 h 1170887" name="T69"/>
              <a:gd fmla="*/ 3696 w 968375" name="T70"/>
              <a:gd fmla="*/ 4567 h 1170887" name="T71"/>
              <a:gd fmla="*/ 3563 w 968375" name="T72"/>
              <a:gd fmla="*/ 537 h 1170887" name="T73"/>
              <a:gd fmla="*/ 5302 w 968375" name="T74"/>
              <a:gd fmla="*/ 0 h 1170887" name="T75"/>
              <a:gd fmla="*/ 5436 w 968375" name="T76"/>
              <a:gd fmla="*/ 4030 h 1170887" name="T77"/>
              <a:gd fmla="*/ 5302 w 968375" name="T78"/>
              <a:gd fmla="*/ 0 h 1170887" name="T79"/>
              <a:gd fmla="*/ 0 60000 65536" name="T80"/>
              <a:gd fmla="*/ 0 60000 65536" name="T81"/>
              <a:gd fmla="*/ 0 60000 65536" name="T82"/>
              <a:gd fmla="*/ 0 60000 65536" name="T83"/>
              <a:gd fmla="*/ 0 60000 65536" name="T84"/>
              <a:gd fmla="*/ 0 60000 65536" name="T85"/>
              <a:gd fmla="*/ 0 60000 65536" name="T86"/>
              <a:gd fmla="*/ 0 60000 65536" name="T87"/>
              <a:gd fmla="*/ 0 60000 65536" name="T88"/>
              <a:gd fmla="*/ 0 60000 65536" name="T89"/>
              <a:gd fmla="*/ 0 60000 65536" name="T90"/>
              <a:gd fmla="*/ 0 60000 65536" name="T91"/>
              <a:gd fmla="*/ 0 60000 65536" name="T92"/>
              <a:gd fmla="*/ 0 60000 65536"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b="b" l="0" r="r" t="0"/>
            <a:pathLst>
              <a:path h="1170887" w="968375">
                <a:moveTo>
                  <a:pt x="86328" y="968447"/>
                </a:moveTo>
                <a:cubicBezTo>
                  <a:pt x="120108" y="1054672"/>
                  <a:pt x="258984" y="1114654"/>
                  <a:pt x="416627" y="1114654"/>
                </a:cubicBezTo>
                <a:cubicBezTo>
                  <a:pt x="566762" y="1114654"/>
                  <a:pt x="701884" y="1058421"/>
                  <a:pt x="743172" y="975945"/>
                </a:cubicBezTo>
                <a:cubicBezTo>
                  <a:pt x="791966" y="998438"/>
                  <a:pt x="791966" y="998438"/>
                  <a:pt x="791966" y="998438"/>
                </a:cubicBezTo>
                <a:cubicBezTo>
                  <a:pt x="743172" y="1103407"/>
                  <a:pt x="589283" y="1170887"/>
                  <a:pt x="416627" y="1170887"/>
                </a:cubicBezTo>
                <a:cubicBezTo>
                  <a:pt x="236464" y="1170887"/>
                  <a:pt x="78821" y="1095909"/>
                  <a:pt x="33780" y="990941"/>
                </a:cubicBezTo>
                <a:cubicBezTo>
                  <a:pt x="86328" y="968447"/>
                  <a:pt x="86328" y="968447"/>
                  <a:pt x="86328" y="968447"/>
                </a:cubicBezTo>
                <a:close/>
                <a:moveTo>
                  <a:pt x="870787" y="619801"/>
                </a:moveTo>
                <a:cubicBezTo>
                  <a:pt x="927088" y="634796"/>
                  <a:pt x="968375" y="683532"/>
                  <a:pt x="968375" y="739765"/>
                </a:cubicBezTo>
                <a:cubicBezTo>
                  <a:pt x="968375" y="810994"/>
                  <a:pt x="912074" y="863478"/>
                  <a:pt x="844513" y="863478"/>
                </a:cubicBezTo>
                <a:cubicBezTo>
                  <a:pt x="829500" y="863478"/>
                  <a:pt x="814486" y="863478"/>
                  <a:pt x="799473" y="855981"/>
                </a:cubicBezTo>
                <a:cubicBezTo>
                  <a:pt x="810733" y="840985"/>
                  <a:pt x="821993" y="822241"/>
                  <a:pt x="829500" y="807245"/>
                </a:cubicBezTo>
                <a:cubicBezTo>
                  <a:pt x="833253" y="807245"/>
                  <a:pt x="840760" y="810994"/>
                  <a:pt x="844513" y="810994"/>
                </a:cubicBezTo>
                <a:cubicBezTo>
                  <a:pt x="882047" y="810994"/>
                  <a:pt x="912074" y="777254"/>
                  <a:pt x="912074" y="739765"/>
                </a:cubicBezTo>
                <a:cubicBezTo>
                  <a:pt x="912074" y="713523"/>
                  <a:pt x="893307" y="687281"/>
                  <a:pt x="867034" y="676034"/>
                </a:cubicBezTo>
                <a:cubicBezTo>
                  <a:pt x="870787" y="661038"/>
                  <a:pt x="870787" y="642294"/>
                  <a:pt x="870787" y="619801"/>
                </a:cubicBezTo>
                <a:close/>
                <a:moveTo>
                  <a:pt x="821993" y="537325"/>
                </a:moveTo>
                <a:cubicBezTo>
                  <a:pt x="825746" y="556070"/>
                  <a:pt x="829500" y="582312"/>
                  <a:pt x="829500" y="612303"/>
                </a:cubicBezTo>
                <a:cubicBezTo>
                  <a:pt x="829500" y="840985"/>
                  <a:pt x="645584" y="1024681"/>
                  <a:pt x="416627" y="1024681"/>
                </a:cubicBezTo>
                <a:cubicBezTo>
                  <a:pt x="187669" y="1024681"/>
                  <a:pt x="0" y="840985"/>
                  <a:pt x="0" y="612303"/>
                </a:cubicBezTo>
                <a:cubicBezTo>
                  <a:pt x="0" y="586061"/>
                  <a:pt x="3753" y="563567"/>
                  <a:pt x="7507" y="544823"/>
                </a:cubicBezTo>
                <a:cubicBezTo>
                  <a:pt x="7507" y="664787"/>
                  <a:pt x="187669" y="758510"/>
                  <a:pt x="416627" y="758510"/>
                </a:cubicBezTo>
                <a:cubicBezTo>
                  <a:pt x="641830" y="758510"/>
                  <a:pt x="821993" y="664787"/>
                  <a:pt x="821993" y="544823"/>
                </a:cubicBezTo>
                <a:cubicBezTo>
                  <a:pt x="821993" y="541074"/>
                  <a:pt x="821993" y="541074"/>
                  <a:pt x="821993" y="537325"/>
                </a:cubicBezTo>
                <a:close/>
                <a:moveTo>
                  <a:pt x="416627" y="372374"/>
                </a:moveTo>
                <a:cubicBezTo>
                  <a:pt x="611803" y="372374"/>
                  <a:pt x="776952" y="451101"/>
                  <a:pt x="776952" y="544823"/>
                </a:cubicBezTo>
                <a:cubicBezTo>
                  <a:pt x="776952" y="556070"/>
                  <a:pt x="776952" y="563567"/>
                  <a:pt x="773199" y="571065"/>
                </a:cubicBezTo>
                <a:cubicBezTo>
                  <a:pt x="716898" y="499836"/>
                  <a:pt x="578023" y="451101"/>
                  <a:pt x="416627" y="451101"/>
                </a:cubicBezTo>
                <a:cubicBezTo>
                  <a:pt x="251477" y="451101"/>
                  <a:pt x="112601" y="499836"/>
                  <a:pt x="56301" y="571065"/>
                </a:cubicBezTo>
                <a:cubicBezTo>
                  <a:pt x="52547" y="563567"/>
                  <a:pt x="52547" y="556070"/>
                  <a:pt x="52547" y="544823"/>
                </a:cubicBezTo>
                <a:cubicBezTo>
                  <a:pt x="52547" y="451101"/>
                  <a:pt x="217696" y="372374"/>
                  <a:pt x="416627" y="372374"/>
                </a:cubicBezTo>
                <a:close/>
                <a:moveTo>
                  <a:pt x="543902" y="62096"/>
                </a:moveTo>
                <a:cubicBezTo>
                  <a:pt x="636930" y="186288"/>
                  <a:pt x="492220" y="196637"/>
                  <a:pt x="554238" y="372576"/>
                </a:cubicBezTo>
                <a:cubicBezTo>
                  <a:pt x="409528" y="155240"/>
                  <a:pt x="585248" y="196637"/>
                  <a:pt x="543902" y="62096"/>
                </a:cubicBezTo>
                <a:close/>
                <a:moveTo>
                  <a:pt x="275155" y="41398"/>
                </a:moveTo>
                <a:cubicBezTo>
                  <a:pt x="368183" y="175939"/>
                  <a:pt x="223472" y="175939"/>
                  <a:pt x="285491" y="351878"/>
                </a:cubicBezTo>
                <a:cubicBezTo>
                  <a:pt x="140780" y="144891"/>
                  <a:pt x="316500" y="186288"/>
                  <a:pt x="275155" y="41398"/>
                </a:cubicBezTo>
                <a:close/>
                <a:moveTo>
                  <a:pt x="409528" y="0"/>
                </a:moveTo>
                <a:cubicBezTo>
                  <a:pt x="502556" y="124192"/>
                  <a:pt x="357846" y="134542"/>
                  <a:pt x="419865" y="310480"/>
                </a:cubicBezTo>
                <a:cubicBezTo>
                  <a:pt x="275155" y="103493"/>
                  <a:pt x="450874" y="144891"/>
                  <a:pt x="409528" y="0"/>
                </a:cubicBezTo>
                <a:close/>
              </a:path>
            </a:pathLst>
          </a:custGeom>
          <a:solidFill>
            <a:schemeClr val="bg1"/>
          </a:solidFill>
          <a:ln>
            <a:noFill/>
          </a:ln>
          <a:extLst>
            <a:ext uri="{91240B29-F687-4F45-9708-019B960494DF}">
              <a14:hiddenLine w="9525">
                <a:solidFill>
                  <a:srgbClr val="000000"/>
                </a:solidFill>
                <a:round/>
                <a:headEnd/>
                <a:tailEnd/>
              </a14:hiddenLine>
            </a:ext>
          </a:extLst>
        </p:spPr>
        <p:txBody>
          <a:bodyPr/>
          <a:lstStyle/>
          <a:p>
            <a:endParaRPr altLang="en-US" lang="zh-CN">
              <a:latin charset="0" panose="020b0604020202020204" pitchFamily="34" typeface="Arial"/>
              <a:ea charset="-122" panose="020b0400000000000000" pitchFamily="34" typeface="思源黑体"/>
              <a:sym charset="-122" panose="020b0503020204020204" pitchFamily="34" typeface="微软雅黑"/>
            </a:endParaRPr>
          </a:p>
        </p:txBody>
      </p:sp>
      <p:sp>
        <p:nvSpPr>
          <p:cNvPr id="95" name="KSO_Shape">
            <a:extLst>
              <a:ext uri="{FF2B5EF4-FFF2-40B4-BE49-F238E27FC236}">
                <a16:creationId xmlns:a16="http://schemas.microsoft.com/office/drawing/2014/main" id="{9C5C693E-FF88-4CB8-8D08-B80740032491}"/>
              </a:ext>
            </a:extLst>
          </p:cNvPr>
          <p:cNvSpPr/>
          <p:nvPr/>
        </p:nvSpPr>
        <p:spPr>
          <a:xfrm>
            <a:off x="3605213" y="3270250"/>
            <a:ext cx="300037" cy="215900"/>
          </a:xfrm>
          <a:custGeom>
            <a:gdLst>
              <a:gd fmla="*/ 880442 w 1224136" name="connsiteX0"/>
              <a:gd fmla="*/ 361080 h 883138" name="connsiteY0"/>
              <a:gd fmla="*/ 1006456 w 1224136" name="connsiteX1"/>
              <a:gd fmla="*/ 487094 h 883138" name="connsiteY1"/>
              <a:gd fmla="*/ 880442 w 1224136" name="connsiteX2"/>
              <a:gd fmla="*/ 613108 h 883138" name="connsiteY2"/>
              <a:gd fmla="*/ 754428 w 1224136" name="connsiteX3"/>
              <a:gd fmla="*/ 487094 h 883138" name="connsiteY3"/>
              <a:gd fmla="*/ 880442 w 1224136" name="connsiteX4"/>
              <a:gd fmla="*/ 361080 h 883138" name="connsiteY4"/>
              <a:gd fmla="*/ 880442 w 1224136" name="connsiteX5"/>
              <a:gd fmla="*/ 235066 h 883138" name="connsiteY5"/>
              <a:gd fmla="*/ 628414 w 1224136" name="connsiteX6"/>
              <a:gd fmla="*/ 487094 h 883138" name="connsiteY6"/>
              <a:gd fmla="*/ 880442 w 1224136" name="connsiteX7"/>
              <a:gd fmla="*/ 739122 h 883138" name="connsiteY7"/>
              <a:gd fmla="*/ 1132470 w 1224136" name="connsiteX8"/>
              <a:gd fmla="*/ 487094 h 883138" name="connsiteY8"/>
              <a:gd fmla="*/ 880442 w 1224136" name="connsiteX9"/>
              <a:gd fmla="*/ 235066 h 883138" name="connsiteY9"/>
              <a:gd fmla="*/ 132017 w 1224136" name="connsiteX10"/>
              <a:gd fmla="*/ 91050 h 883138" name="connsiteY10"/>
              <a:gd fmla="*/ 1092119 w 1224136" name="connsiteX11"/>
              <a:gd fmla="*/ 91050 h 883138" name="connsiteY11"/>
              <a:gd fmla="*/ 1224136 w 1224136" name="connsiteX12"/>
              <a:gd fmla="*/ 223067 h 883138" name="connsiteY12"/>
              <a:gd fmla="*/ 1224136 w 1224136" name="connsiteX13"/>
              <a:gd fmla="*/ 751121 h 883138" name="connsiteY13"/>
              <a:gd fmla="*/ 1092119 w 1224136" name="connsiteX14"/>
              <a:gd fmla="*/ 883138 h 883138" name="connsiteY14"/>
              <a:gd fmla="*/ 132017 w 1224136" name="connsiteX15"/>
              <a:gd fmla="*/ 883138 h 883138" name="connsiteY15"/>
              <a:gd fmla="*/ 0 w 1224136" name="connsiteX16"/>
              <a:gd fmla="*/ 751121 h 883138" name="connsiteY16"/>
              <a:gd fmla="*/ 0 w 1224136" name="connsiteX17"/>
              <a:gd fmla="*/ 223067 h 883138" name="connsiteY17"/>
              <a:gd fmla="*/ 132017 w 1224136" name="connsiteX18"/>
              <a:gd fmla="*/ 91050 h 883138" name="connsiteY18"/>
              <a:gd fmla="*/ 156016 w 1224136" name="connsiteX19"/>
              <a:gd fmla="*/ 0 h 883138" name="connsiteY19"/>
              <a:gd fmla="*/ 348040 w 1224136" name="connsiteX20"/>
              <a:gd fmla="*/ 0 h 883138" name="connsiteY20"/>
              <a:gd fmla="*/ 360040 w 1224136" name="connsiteX21"/>
              <a:gd fmla="*/ 12000 h 883138" name="connsiteY21"/>
              <a:gd fmla="*/ 360040 w 1224136" name="connsiteX22"/>
              <a:gd fmla="*/ 60000 h 883138" name="connsiteY22"/>
              <a:gd fmla="*/ 348040 w 1224136" name="connsiteX23"/>
              <a:gd fmla="*/ 72000 h 883138" name="connsiteY23"/>
              <a:gd fmla="*/ 156016 w 1224136" name="connsiteX24"/>
              <a:gd fmla="*/ 72000 h 883138" name="connsiteY24"/>
              <a:gd fmla="*/ 144016 w 1224136" name="connsiteX25"/>
              <a:gd fmla="*/ 60000 h 883138" name="connsiteY25"/>
              <a:gd fmla="*/ 144016 w 1224136" name="connsiteX26"/>
              <a:gd fmla="*/ 12000 h 883138" name="connsiteY26"/>
              <a:gd fmla="*/ 156016 w 1224136" name="connsiteX27"/>
              <a:gd fmla="*/ 0 h 883138" name="connsiteY2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b="b" l="l" r="r" t="t"/>
            <a:pathLst>
              <a:path h="883138" w="1224136">
                <a:moveTo>
                  <a:pt x="880442" y="361080"/>
                </a:moveTo>
                <a:cubicBezTo>
                  <a:pt x="950038" y="361080"/>
                  <a:pt x="1006456" y="417498"/>
                  <a:pt x="1006456" y="487094"/>
                </a:cubicBezTo>
                <a:cubicBezTo>
                  <a:pt x="1006456" y="556690"/>
                  <a:pt x="950038" y="613108"/>
                  <a:pt x="880442" y="613108"/>
                </a:cubicBezTo>
                <a:cubicBezTo>
                  <a:pt x="810846" y="613108"/>
                  <a:pt x="754428" y="556690"/>
                  <a:pt x="754428" y="487094"/>
                </a:cubicBezTo>
                <a:cubicBezTo>
                  <a:pt x="754428" y="417498"/>
                  <a:pt x="810846" y="361080"/>
                  <a:pt x="880442" y="361080"/>
                </a:cubicBezTo>
                <a:close/>
                <a:moveTo>
                  <a:pt x="880442" y="235066"/>
                </a:moveTo>
                <a:cubicBezTo>
                  <a:pt x="741251" y="235066"/>
                  <a:pt x="628414" y="347903"/>
                  <a:pt x="628414" y="487094"/>
                </a:cubicBezTo>
                <a:cubicBezTo>
                  <a:pt x="628414" y="626285"/>
                  <a:pt x="741251" y="739122"/>
                  <a:pt x="880442" y="739122"/>
                </a:cubicBezTo>
                <a:cubicBezTo>
                  <a:pt x="1019633" y="739122"/>
                  <a:pt x="1132470" y="626285"/>
                  <a:pt x="1132470" y="487094"/>
                </a:cubicBezTo>
                <a:cubicBezTo>
                  <a:pt x="1132470" y="347903"/>
                  <a:pt x="1019633" y="235066"/>
                  <a:pt x="880442" y="235066"/>
                </a:cubicBezTo>
                <a:close/>
                <a:moveTo>
                  <a:pt x="132017" y="91050"/>
                </a:moveTo>
                <a:lnTo>
                  <a:pt x="1092119" y="91050"/>
                </a:lnTo>
                <a:cubicBezTo>
                  <a:pt x="1165030" y="91050"/>
                  <a:pt x="1224136" y="150156"/>
                  <a:pt x="1224136" y="223067"/>
                </a:cubicBezTo>
                <a:lnTo>
                  <a:pt x="1224136" y="751121"/>
                </a:lnTo>
                <a:cubicBezTo>
                  <a:pt x="1224136" y="824032"/>
                  <a:pt x="1165030" y="883138"/>
                  <a:pt x="1092119" y="883138"/>
                </a:cubicBezTo>
                <a:lnTo>
                  <a:pt x="132017" y="883138"/>
                </a:lnTo>
                <a:cubicBezTo>
                  <a:pt x="59106" y="883138"/>
                  <a:pt x="0" y="824032"/>
                  <a:pt x="0" y="751121"/>
                </a:cubicBezTo>
                <a:lnTo>
                  <a:pt x="0" y="223067"/>
                </a:lnTo>
                <a:cubicBezTo>
                  <a:pt x="0" y="150156"/>
                  <a:pt x="59106" y="91050"/>
                  <a:pt x="132017" y="91050"/>
                </a:cubicBezTo>
                <a:close/>
                <a:moveTo>
                  <a:pt x="156016" y="0"/>
                </a:moveTo>
                <a:lnTo>
                  <a:pt x="348040" y="0"/>
                </a:lnTo>
                <a:cubicBezTo>
                  <a:pt x="354667" y="0"/>
                  <a:pt x="360040" y="5373"/>
                  <a:pt x="360040" y="12000"/>
                </a:cubicBezTo>
                <a:lnTo>
                  <a:pt x="360040" y="60000"/>
                </a:lnTo>
                <a:cubicBezTo>
                  <a:pt x="360040" y="66627"/>
                  <a:pt x="354667" y="72000"/>
                  <a:pt x="348040" y="72000"/>
                </a:cubicBezTo>
                <a:lnTo>
                  <a:pt x="156016" y="72000"/>
                </a:lnTo>
                <a:cubicBezTo>
                  <a:pt x="149389" y="72000"/>
                  <a:pt x="144016" y="66627"/>
                  <a:pt x="144016" y="60000"/>
                </a:cubicBezTo>
                <a:lnTo>
                  <a:pt x="144016" y="12000"/>
                </a:lnTo>
                <a:cubicBezTo>
                  <a:pt x="144016" y="5373"/>
                  <a:pt x="149389" y="0"/>
                  <a:pt x="15601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96" name="KSO_Shape">
            <a:extLst>
              <a:ext uri="{FF2B5EF4-FFF2-40B4-BE49-F238E27FC236}">
                <a16:creationId xmlns:a16="http://schemas.microsoft.com/office/drawing/2014/main" id="{7F3E40C0-21A6-4FE1-A089-3C94E699947A}"/>
              </a:ext>
            </a:extLst>
          </p:cNvPr>
          <p:cNvSpPr/>
          <p:nvPr/>
        </p:nvSpPr>
        <p:spPr>
          <a:xfrm>
            <a:off x="3098800" y="2700338"/>
            <a:ext cx="312738" cy="234950"/>
          </a:xfrm>
          <a:custGeom>
            <a:gdLst>
              <a:gd fmla="*/ 577329 w 833225" name="connsiteX0"/>
              <a:gd fmla="*/ 241699 h 624687" name="connsiteY0"/>
              <a:gd fmla="*/ 541325 w 833225" name="connsiteX1"/>
              <a:gd fmla="*/ 277703 h 624687" name="connsiteY1"/>
              <a:gd fmla="*/ 577329 w 833225" name="connsiteX2"/>
              <a:gd fmla="*/ 313707 h 624687" name="connsiteY2"/>
              <a:gd fmla="*/ 613333 w 833225" name="connsiteX3"/>
              <a:gd fmla="*/ 277703 h 624687" name="connsiteY3"/>
              <a:gd fmla="*/ 577329 w 833225" name="connsiteX4"/>
              <a:gd fmla="*/ 241699 h 624687" name="connsiteY4"/>
              <a:gd fmla="*/ 424929 w 833225" name="connsiteX5"/>
              <a:gd fmla="*/ 241699 h 624687" name="connsiteY5"/>
              <a:gd fmla="*/ 388925 w 833225" name="connsiteX6"/>
              <a:gd fmla="*/ 277703 h 624687" name="connsiteY6"/>
              <a:gd fmla="*/ 424929 w 833225" name="connsiteX7"/>
              <a:gd fmla="*/ 313707 h 624687" name="connsiteY7"/>
              <a:gd fmla="*/ 460933 w 833225" name="connsiteX8"/>
              <a:gd fmla="*/ 277703 h 624687" name="connsiteY8"/>
              <a:gd fmla="*/ 424929 w 833225" name="connsiteX9"/>
              <a:gd fmla="*/ 241699 h 624687" name="connsiteY9"/>
              <a:gd fmla="*/ 272529 w 833225" name="connsiteX10"/>
              <a:gd fmla="*/ 241699 h 624687" name="connsiteY10"/>
              <a:gd fmla="*/ 236525 w 833225" name="connsiteX11"/>
              <a:gd fmla="*/ 277703 h 624687" name="connsiteY11"/>
              <a:gd fmla="*/ 272529 w 833225" name="connsiteX12"/>
              <a:gd fmla="*/ 313707 h 624687" name="connsiteY12"/>
              <a:gd fmla="*/ 308533 w 833225" name="connsiteX13"/>
              <a:gd fmla="*/ 277703 h 624687" name="connsiteY13"/>
              <a:gd fmla="*/ 272529 w 833225" name="connsiteX14"/>
              <a:gd fmla="*/ 241699 h 624687" name="connsiteY14"/>
              <a:gd fmla="*/ 429066 w 833225" name="connsiteX15"/>
              <a:gd fmla="*/ 124 h 624687" name="connsiteY15"/>
              <a:gd fmla="*/ 543580 w 833225" name="connsiteX16"/>
              <a:gd fmla="*/ 13237 h 624687" name="connsiteY16"/>
              <a:gd fmla="*/ 789350 w 833225" name="connsiteX17"/>
              <a:gd fmla="*/ 401436 h 624687" name="connsiteY17"/>
              <a:gd fmla="*/ 362652 w 833225" name="connsiteX18"/>
              <a:gd fmla="*/ 552944 h 624687" name="connsiteY18"/>
              <a:gd fmla="*/ 243007 w 833225" name="connsiteX19"/>
              <a:gd fmla="*/ 624687 h 624687" name="connsiteY19"/>
              <a:gd fmla="*/ 211865 w 833225" name="connsiteX20"/>
              <a:gd fmla="*/ 519440 h 624687" name="connsiteY20"/>
              <a:gd fmla="*/ 117966 w 833225" name="connsiteX21"/>
              <a:gd fmla="*/ 84077 h 624687" name="connsiteY21"/>
              <a:gd fmla="*/ 429066 w 833225" name="connsiteX22"/>
              <a:gd fmla="*/ 124 h 624687" name="connsiteY22"/>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b="b" l="l" r="r" t="t"/>
            <a:pathLst>
              <a:path h="624687" w="833225">
                <a:moveTo>
                  <a:pt x="577329" y="241699"/>
                </a:moveTo>
                <a:cubicBezTo>
                  <a:pt x="557445" y="241699"/>
                  <a:pt x="541325" y="257819"/>
                  <a:pt x="541325" y="277703"/>
                </a:cubicBezTo>
                <a:cubicBezTo>
                  <a:pt x="541325" y="297587"/>
                  <a:pt x="557445" y="313707"/>
                  <a:pt x="577329" y="313707"/>
                </a:cubicBezTo>
                <a:cubicBezTo>
                  <a:pt x="597213" y="313707"/>
                  <a:pt x="613333" y="297587"/>
                  <a:pt x="613333" y="277703"/>
                </a:cubicBezTo>
                <a:cubicBezTo>
                  <a:pt x="613333" y="257819"/>
                  <a:pt x="597213" y="241699"/>
                  <a:pt x="577329" y="241699"/>
                </a:cubicBezTo>
                <a:close/>
                <a:moveTo>
                  <a:pt x="424929" y="241699"/>
                </a:moveTo>
                <a:cubicBezTo>
                  <a:pt x="405045" y="241699"/>
                  <a:pt x="388925" y="257819"/>
                  <a:pt x="388925" y="277703"/>
                </a:cubicBezTo>
                <a:cubicBezTo>
                  <a:pt x="388925" y="297587"/>
                  <a:pt x="405045" y="313707"/>
                  <a:pt x="424929" y="313707"/>
                </a:cubicBezTo>
                <a:cubicBezTo>
                  <a:pt x="444813" y="313707"/>
                  <a:pt x="460933" y="297587"/>
                  <a:pt x="460933" y="277703"/>
                </a:cubicBezTo>
                <a:cubicBezTo>
                  <a:pt x="460933" y="257819"/>
                  <a:pt x="444813" y="241699"/>
                  <a:pt x="424929" y="241699"/>
                </a:cubicBezTo>
                <a:close/>
                <a:moveTo>
                  <a:pt x="272529" y="241699"/>
                </a:moveTo>
                <a:cubicBezTo>
                  <a:pt x="252645" y="241699"/>
                  <a:pt x="236525" y="257819"/>
                  <a:pt x="236525" y="277703"/>
                </a:cubicBezTo>
                <a:cubicBezTo>
                  <a:pt x="236525" y="297587"/>
                  <a:pt x="252645" y="313707"/>
                  <a:pt x="272529" y="313707"/>
                </a:cubicBezTo>
                <a:cubicBezTo>
                  <a:pt x="292413" y="313707"/>
                  <a:pt x="308533" y="297587"/>
                  <a:pt x="308533" y="277703"/>
                </a:cubicBezTo>
                <a:cubicBezTo>
                  <a:pt x="308533" y="257819"/>
                  <a:pt x="292413" y="241699"/>
                  <a:pt x="272529" y="241699"/>
                </a:cubicBezTo>
                <a:close/>
                <a:moveTo>
                  <a:pt x="429066" y="124"/>
                </a:moveTo>
                <a:cubicBezTo>
                  <a:pt x="467414" y="891"/>
                  <a:pt x="505944" y="5202"/>
                  <a:pt x="543580" y="13237"/>
                </a:cubicBezTo>
                <a:cubicBezTo>
                  <a:pt x="786614" y="65121"/>
                  <a:pt x="903137" y="249172"/>
                  <a:pt x="789350" y="401436"/>
                </a:cubicBezTo>
                <a:cubicBezTo>
                  <a:pt x="710142" y="507428"/>
                  <a:pt x="538801" y="568267"/>
                  <a:pt x="362652" y="552944"/>
                </a:cubicBezTo>
                <a:lnTo>
                  <a:pt x="243007" y="624687"/>
                </a:lnTo>
                <a:lnTo>
                  <a:pt x="211865" y="519440"/>
                </a:lnTo>
                <a:cubicBezTo>
                  <a:pt x="-26035" y="429957"/>
                  <a:pt x="-72481" y="214611"/>
                  <a:pt x="117966" y="84077"/>
                </a:cubicBezTo>
                <a:cubicBezTo>
                  <a:pt x="200623" y="27423"/>
                  <a:pt x="314022" y="-2176"/>
                  <a:pt x="429066" y="124"/>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lang="en-US">
              <a:latin charset="-122" panose="020b0400000000000000" pitchFamily="34" typeface="思源黑体"/>
              <a:ea charset="-122" panose="020b0400000000000000" pitchFamily="34" typeface="思源黑体"/>
              <a:sym charset="-122" panose="020b0400000000000000" pitchFamily="34" typeface="思源黑体"/>
            </a:endParaRPr>
          </a:p>
        </p:txBody>
      </p:sp>
      <p:grpSp>
        <p:nvGrpSpPr>
          <p:cNvPr id="88" name="组合 87">
            <a:extLst>
              <a:ext uri="{FF2B5EF4-FFF2-40B4-BE49-F238E27FC236}">
                <a16:creationId xmlns:a16="http://schemas.microsoft.com/office/drawing/2014/main" id="{7E596B66-DACC-419A-9135-41F1DAD1151B}"/>
              </a:ext>
            </a:extLst>
          </p:cNvPr>
          <p:cNvGrpSpPr/>
          <p:nvPr/>
        </p:nvGrpSpPr>
        <p:grpSpPr>
          <a:xfrm>
            <a:off x="1208876" y="369288"/>
            <a:ext cx="7658100" cy="735806"/>
            <a:chOff x="1208876" y="369288"/>
            <a:chExt cx="7658100" cy="735806"/>
          </a:xfrm>
        </p:grpSpPr>
        <p:sp>
          <p:nvSpPr>
            <p:cNvPr id="89" name="文本框 88">
              <a:extLst>
                <a:ext uri="{FF2B5EF4-FFF2-40B4-BE49-F238E27FC236}">
                  <a16:creationId xmlns:a16="http://schemas.microsoft.com/office/drawing/2014/main" id="{FEE4B5A7-111B-4749-84D4-E24AF757EEE8}"/>
                </a:ext>
              </a:extLst>
            </p:cNvPr>
            <p:cNvSpPr txBox="1"/>
            <p:nvPr/>
          </p:nvSpPr>
          <p:spPr>
            <a:xfrm>
              <a:off x="1208876" y="369288"/>
              <a:ext cx="7658100" cy="457200"/>
            </a:xfrm>
            <a:prstGeom prst="rect">
              <a:avLst/>
            </a:prstGeom>
            <a:noFill/>
          </p:spPr>
          <p:txBody>
            <a:bodyPr rtlCol="0" wrap="square">
              <a:spAutoFit/>
            </a:bodyPr>
            <a:lstStyle/>
            <a:p>
              <a:r>
                <a:rPr altLang="en-US" lang="zh-CN" sz="2400">
                  <a:gradFill>
                    <a:gsLst>
                      <a:gs pos="885">
                        <a:schemeClr val="accent1">
                          <a:alpha val="10000"/>
                        </a:schemeClr>
                      </a:gs>
                      <a:gs pos="75000">
                        <a:schemeClr val="accent1">
                          <a:alpha val="73000"/>
                        </a:schemeClr>
                      </a:gs>
                    </a:gsLst>
                    <a:lin ang="5400000" scaled="1"/>
                  </a:gradFill>
                  <a:latin charset="-122" panose="020b0400000000000000" pitchFamily="34" typeface="思源黑体"/>
                  <a:ea charset="-122" panose="020b0400000000000000" pitchFamily="34" typeface="思源黑体"/>
                  <a:sym charset="-122" panose="020b0400000000000000" pitchFamily="34" typeface="思源黑体"/>
                </a:rPr>
                <a:t>在此输入标题内容</a:t>
              </a:r>
            </a:p>
          </p:txBody>
        </p:sp>
        <p:sp>
          <p:nvSpPr>
            <p:cNvPr id="90" name="文本框 89">
              <a:extLst>
                <a:ext uri="{FF2B5EF4-FFF2-40B4-BE49-F238E27FC236}">
                  <a16:creationId xmlns:a16="http://schemas.microsoft.com/office/drawing/2014/main" id="{72C6E525-9ECF-4297-848D-7B1A60E5029F}"/>
                </a:ext>
              </a:extLst>
            </p:cNvPr>
            <p:cNvSpPr txBox="1"/>
            <p:nvPr/>
          </p:nvSpPr>
          <p:spPr>
            <a:xfrm>
              <a:off x="1208876" y="797317"/>
              <a:ext cx="7658100" cy="304800"/>
            </a:xfrm>
            <a:prstGeom prst="rect">
              <a:avLst/>
            </a:prstGeom>
            <a:noFill/>
          </p:spPr>
          <p:txBody>
            <a:bodyPr rtlCol="0" wrap="square">
              <a:spAutoFit/>
            </a:bodyPr>
            <a:lstStyle/>
            <a:p>
              <a:r>
                <a:rPr altLang="zh-CN" lang="en-US" sz="1400">
                  <a:solidFill>
                    <a:schemeClr val="bg2"/>
                  </a:solidFill>
                  <a:latin charset="-122" panose="020b0400000000000000" pitchFamily="34" typeface="思源黑体"/>
                  <a:ea charset="-122" panose="020b0400000000000000" pitchFamily="34" typeface="思源黑体"/>
                  <a:sym charset="-122" panose="020b0400000000000000" pitchFamily="34" typeface="思源黑体"/>
                </a:rPr>
                <a:t>Use "Title Only" Layout</a:t>
              </a:r>
            </a:p>
          </p:txBody>
        </p:sp>
      </p:grpSp>
      <p:grpSp>
        <p:nvGrpSpPr>
          <p:cNvPr id="99" name="组合 98">
            <a:extLst>
              <a:ext uri="{FF2B5EF4-FFF2-40B4-BE49-F238E27FC236}">
                <a16:creationId xmlns:a16="http://schemas.microsoft.com/office/drawing/2014/main" id="{6D5EBB3C-2BCE-4EAC-BBA6-7CE88134DBE8}"/>
              </a:ext>
            </a:extLst>
          </p:cNvPr>
          <p:cNvGrpSpPr/>
          <p:nvPr/>
        </p:nvGrpSpPr>
        <p:grpSpPr>
          <a:xfrm>
            <a:off x="538226" y="153800"/>
            <a:ext cx="811275" cy="1299746"/>
            <a:chOff x="538226" y="153800"/>
            <a:chExt cx="811275" cy="1299746"/>
          </a:xfrm>
        </p:grpSpPr>
        <p:sp>
          <p:nvSpPr>
            <p:cNvPr id="100" name="文本框 99">
              <a:extLst>
                <a:ext uri="{FF2B5EF4-FFF2-40B4-BE49-F238E27FC236}">
                  <a16:creationId xmlns:a16="http://schemas.microsoft.com/office/drawing/2014/main" id="{5F5C124B-F536-4424-BD5B-7279D2B65F93}"/>
                </a:ext>
              </a:extLst>
            </p:cNvPr>
            <p:cNvSpPr txBox="1"/>
            <p:nvPr/>
          </p:nvSpPr>
          <p:spPr>
            <a:xfrm>
              <a:off x="538226" y="153800"/>
              <a:ext cx="567647" cy="1097280"/>
            </a:xfrm>
            <a:prstGeom prst="rect">
              <a:avLst/>
            </a:prstGeom>
            <a:noFill/>
          </p:spPr>
          <p:txBody>
            <a:bodyPr rtlCol="0" wrap="square">
              <a:spAutoFit/>
            </a:bodyPr>
            <a:lstStyle>
              <a:defPPr>
                <a:defRPr lang="en-US"/>
              </a:defPPr>
              <a:lvl1pPr>
                <a:defRPr sz="8000">
                  <a:gradFill>
                    <a:gsLst>
                      <a:gs pos="36000">
                        <a:schemeClr val="bg1"/>
                      </a:gs>
                      <a:gs pos="100000">
                        <a:schemeClr val="tx1">
                          <a:lumMod val="50000"/>
                          <a:lumOff val="50000"/>
                        </a:schemeClr>
                      </a:gs>
                    </a:gsLst>
                    <a:lin ang="5400000" scaled="1"/>
                  </a:gradFill>
                  <a:latin charset="-122" panose="00000500000000000000" pitchFamily="2" typeface="字魂5号-无外润黑体"/>
                  <a:ea charset="-122" panose="00000500000000000000" pitchFamily="2" typeface="字魂5号-无外润黑体"/>
                </a:defRPr>
              </a:lvl1pPr>
            </a:lstStyle>
            <a:p>
              <a:r>
                <a:rPr altLang="zh-CN" lang="en-US" sz="6600">
                  <a:gradFill>
                    <a:gsLst>
                      <a:gs pos="36000">
                        <a:schemeClr val="bg1"/>
                      </a:gs>
                      <a:gs pos="70000">
                        <a:schemeClr val="tx1">
                          <a:lumMod val="50000"/>
                          <a:lumOff val="50000"/>
                          <a:alpha val="0"/>
                        </a:schemeClr>
                      </a:gs>
                    </a:gsLst>
                    <a:lin ang="5400000" scaled="1"/>
                  </a:gradFill>
                  <a:latin charset="-122" panose="020b0300000000000000" pitchFamily="34" typeface="思源黑体 CN Light"/>
                  <a:ea charset="-122" panose="00000500000000000000" pitchFamily="2" typeface="字魂54号-贤黑"/>
                  <a:sym charset="-122" panose="020b0400000000000000" pitchFamily="34" typeface="思源黑体"/>
                </a:rPr>
                <a:t>3</a:t>
              </a:r>
            </a:p>
          </p:txBody>
        </p:sp>
        <p:grpSp>
          <p:nvGrpSpPr>
            <p:cNvPr id="101" name="组合 100">
              <a:extLst>
                <a:ext uri="{FF2B5EF4-FFF2-40B4-BE49-F238E27FC236}">
                  <a16:creationId xmlns:a16="http://schemas.microsoft.com/office/drawing/2014/main" id="{6BEC553A-ED54-473B-9B1D-03DBF033E774}"/>
                </a:ext>
              </a:extLst>
            </p:cNvPr>
            <p:cNvGrpSpPr/>
            <p:nvPr/>
          </p:nvGrpSpPr>
          <p:grpSpPr>
            <a:xfrm rot="1279383">
              <a:off x="538418" y="260428"/>
              <a:ext cx="811083" cy="1193118"/>
              <a:chOff x="5326021" y="1359499"/>
              <a:chExt cx="2273644" cy="3344573"/>
            </a:xfrm>
          </p:grpSpPr>
          <p:cxnSp>
            <p:nvCxnSpPr>
              <p:cNvPr id="102" name="直接连接符 101">
                <a:extLst>
                  <a:ext uri="{FF2B5EF4-FFF2-40B4-BE49-F238E27FC236}">
                    <a16:creationId xmlns:a16="http://schemas.microsoft.com/office/drawing/2014/main" id="{D596B686-B0E4-4217-8866-8707A2632E00}"/>
                  </a:ext>
                </a:extLst>
              </p:cNvPr>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3" name="任意多边形: 形状 102">
                <a:extLst>
                  <a:ext uri="{FF2B5EF4-FFF2-40B4-BE49-F238E27FC236}">
                    <a16:creationId xmlns:a16="http://schemas.microsoft.com/office/drawing/2014/main" id="{F9B40ABF-1B92-4708-8A69-9AFD4FF81F20}"/>
                  </a:ext>
                </a:extLst>
              </p:cNvPr>
              <p:cNvSpPr/>
              <p:nvPr/>
            </p:nvSpPr>
            <p:spPr>
              <a:xfrm rot="2008142">
                <a:off x="5326021" y="3632692"/>
                <a:ext cx="319543" cy="1071380"/>
              </a:xfrm>
              <a:custGeom>
                <a:gdLst>
                  <a:gd fmla="*/ 278285 w 319543" name="connsiteX0"/>
                  <a:gd fmla="*/ 0 h 1071380" name="connsiteY0"/>
                  <a:gd fmla="*/ 319543 w 319543" name="connsiteX1"/>
                  <a:gd fmla="*/ 0 h 1071380" name="connsiteY1"/>
                  <a:gd fmla="*/ 319543 w 319543" name="connsiteX2"/>
                  <a:gd fmla="*/ 601405 h 1071380" name="connsiteY2"/>
                  <a:gd fmla="*/ 0 w 319543" name="connsiteX3"/>
                  <a:gd fmla="*/ 1071380 h 1071380" name="connsiteY3"/>
                  <a:gd fmla="*/ 0 w 319543" name="connsiteX4"/>
                  <a:gd fmla="*/ 409295 h 1071380"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1071380" w="319543">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400"/>
              </a:p>
            </p:txBody>
          </p:sp>
        </p:grpSp>
      </p:grpSp>
    </p:spTree>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afterEffect" presetClass="entr" presetID="10" presetSubtype="0">
                                  <p:stCondLst>
                                    <p:cond delay="0"/>
                                  </p:stCondLst>
                                  <p:childTnLst>
                                    <p:set>
                                      <p:cBhvr>
                                        <p:cTn dur="1" fill="hold" id="6">
                                          <p:stCondLst>
                                            <p:cond delay="0"/>
                                          </p:stCondLst>
                                        </p:cTn>
                                        <p:tgtEl>
                                          <p:spTgt spid="3"/>
                                        </p:tgtEl>
                                        <p:attrNameLst>
                                          <p:attrName>style.visibility</p:attrName>
                                        </p:attrNameLst>
                                      </p:cBhvr>
                                      <p:to>
                                        <p:strVal val="visible"/>
                                      </p:to>
                                    </p:set>
                                    <p:animEffect filter="fade" transition="in">
                                      <p:cBhvr>
                                        <p:cTn dur="500" id="7"/>
                                        <p:tgtEl>
                                          <p:spTgt spid="3"/>
                                        </p:tgtEl>
                                      </p:cBhvr>
                                    </p:animEffect>
                                  </p:childTnLst>
                                </p:cTn>
                              </p:par>
                            </p:childTnLst>
                          </p:cTn>
                        </p:par>
                        <p:par>
                          <p:cTn fill="hold" id="8" nodeType="afterGroup">
                            <p:stCondLst>
                              <p:cond delay="500"/>
                            </p:stCondLst>
                            <p:childTnLst>
                              <p:par>
                                <p:cTn fill="hold" grpId="0" id="9" nodeType="afterEffect" presetClass="entr" presetID="10" presetSubtype="0">
                                  <p:stCondLst>
                                    <p:cond delay="0"/>
                                  </p:stCondLst>
                                  <p:childTnLst>
                                    <p:set>
                                      <p:cBhvr>
                                        <p:cTn dur="1" fill="hold" id="10">
                                          <p:stCondLst>
                                            <p:cond delay="0"/>
                                          </p:stCondLst>
                                        </p:cTn>
                                        <p:tgtEl>
                                          <p:spTgt spid="5"/>
                                        </p:tgtEl>
                                        <p:attrNameLst>
                                          <p:attrName>style.visibility</p:attrName>
                                        </p:attrNameLst>
                                      </p:cBhvr>
                                      <p:to>
                                        <p:strVal val="visible"/>
                                      </p:to>
                                    </p:set>
                                    <p:animEffect filter="fade" transition="in">
                                      <p:cBhvr>
                                        <p:cTn dur="500" id="11"/>
                                        <p:tgtEl>
                                          <p:spTgt spid="5"/>
                                        </p:tgtEl>
                                      </p:cBhvr>
                                    </p:animEffect>
                                  </p:childTnLst>
                                </p:cTn>
                              </p:par>
                            </p:childTnLst>
                          </p:cTn>
                        </p:par>
                        <p:par>
                          <p:cTn fill="hold" id="12" nodeType="afterGroup">
                            <p:stCondLst>
                              <p:cond delay="1000"/>
                            </p:stCondLst>
                            <p:childTnLst>
                              <p:par>
                                <p:cTn fill="hold" grpId="0" id="13" nodeType="afterEffect" presetClass="entr" presetID="10" presetSubtype="0">
                                  <p:stCondLst>
                                    <p:cond delay="0"/>
                                  </p:stCondLst>
                                  <p:childTnLst>
                                    <p:set>
                                      <p:cBhvr>
                                        <p:cTn dur="1" fill="hold" id="14">
                                          <p:stCondLst>
                                            <p:cond delay="0"/>
                                          </p:stCondLst>
                                        </p:cTn>
                                        <p:tgtEl>
                                          <p:spTgt spid="6"/>
                                        </p:tgtEl>
                                        <p:attrNameLst>
                                          <p:attrName>style.visibility</p:attrName>
                                        </p:attrNameLst>
                                      </p:cBhvr>
                                      <p:to>
                                        <p:strVal val="visible"/>
                                      </p:to>
                                    </p:set>
                                    <p:animEffect filter="fade" transition="in">
                                      <p:cBhvr>
                                        <p:cTn dur="500" id="15"/>
                                        <p:tgtEl>
                                          <p:spTgt spid="6"/>
                                        </p:tgtEl>
                                      </p:cBhvr>
                                    </p:animEffect>
                                  </p:childTnLst>
                                </p:cTn>
                              </p:par>
                            </p:childTnLst>
                          </p:cTn>
                        </p:par>
                        <p:par>
                          <p:cTn fill="hold" id="16" nodeType="afterGroup">
                            <p:stCondLst>
                              <p:cond delay="1500"/>
                            </p:stCondLst>
                            <p:childTnLst>
                              <p:par>
                                <p:cTn fill="hold" grpId="0" id="17" nodeType="afterEffect" presetClass="entr" presetID="10" presetSubtype="0">
                                  <p:stCondLst>
                                    <p:cond delay="0"/>
                                  </p:stCondLst>
                                  <p:childTnLst>
                                    <p:set>
                                      <p:cBhvr>
                                        <p:cTn dur="1" fill="hold" id="18">
                                          <p:stCondLst>
                                            <p:cond delay="0"/>
                                          </p:stCondLst>
                                        </p:cTn>
                                        <p:tgtEl>
                                          <p:spTgt spid="7"/>
                                        </p:tgtEl>
                                        <p:attrNameLst>
                                          <p:attrName>style.visibility</p:attrName>
                                        </p:attrNameLst>
                                      </p:cBhvr>
                                      <p:to>
                                        <p:strVal val="visible"/>
                                      </p:to>
                                    </p:set>
                                    <p:animEffect filter="fade" transition="in">
                                      <p:cBhvr>
                                        <p:cTn dur="500" id="19"/>
                                        <p:tgtEl>
                                          <p:spTgt spid="7"/>
                                        </p:tgtEl>
                                      </p:cBhvr>
                                    </p:animEffect>
                                  </p:childTnLst>
                                </p:cTn>
                              </p:par>
                            </p:childTnLst>
                          </p:cTn>
                        </p:par>
                        <p:par>
                          <p:cTn fill="hold" id="20" nodeType="afterGroup">
                            <p:stCondLst>
                              <p:cond delay="2000"/>
                            </p:stCondLst>
                            <p:childTnLst>
                              <p:par>
                                <p:cTn fill="hold" grpId="0" id="21" nodeType="afterEffect" presetClass="entr" presetID="10" presetSubtype="0">
                                  <p:stCondLst>
                                    <p:cond delay="0"/>
                                  </p:stCondLst>
                                  <p:childTnLst>
                                    <p:set>
                                      <p:cBhvr>
                                        <p:cTn dur="1" fill="hold" id="22">
                                          <p:stCondLst>
                                            <p:cond delay="0"/>
                                          </p:stCondLst>
                                        </p:cTn>
                                        <p:tgtEl>
                                          <p:spTgt spid="8"/>
                                        </p:tgtEl>
                                        <p:attrNameLst>
                                          <p:attrName>style.visibility</p:attrName>
                                        </p:attrNameLst>
                                      </p:cBhvr>
                                      <p:to>
                                        <p:strVal val="visible"/>
                                      </p:to>
                                    </p:set>
                                    <p:animEffect filter="fade" transition="in">
                                      <p:cBhvr>
                                        <p:cTn dur="500" id="23"/>
                                        <p:tgtEl>
                                          <p:spTgt spid="8"/>
                                        </p:tgtEl>
                                      </p:cBhvr>
                                    </p:animEffect>
                                  </p:childTnLst>
                                </p:cTn>
                              </p:par>
                            </p:childTnLst>
                          </p:cTn>
                        </p:par>
                        <p:par>
                          <p:cTn fill="hold" id="24" nodeType="afterGroup">
                            <p:stCondLst>
                              <p:cond delay="2500"/>
                            </p:stCondLst>
                            <p:childTnLst>
                              <p:par>
                                <p:cTn fill="hold" grpId="0" id="25" nodeType="afterEffect" presetClass="entr" presetID="10" presetSubtype="0">
                                  <p:stCondLst>
                                    <p:cond delay="0"/>
                                  </p:stCondLst>
                                  <p:childTnLst>
                                    <p:set>
                                      <p:cBhvr>
                                        <p:cTn dur="1" fill="hold" id="26">
                                          <p:stCondLst>
                                            <p:cond delay="0"/>
                                          </p:stCondLst>
                                        </p:cTn>
                                        <p:tgtEl>
                                          <p:spTgt spid="9"/>
                                        </p:tgtEl>
                                        <p:attrNameLst>
                                          <p:attrName>style.visibility</p:attrName>
                                        </p:attrNameLst>
                                      </p:cBhvr>
                                      <p:to>
                                        <p:strVal val="visible"/>
                                      </p:to>
                                    </p:set>
                                    <p:animEffect filter="fade" transition="in">
                                      <p:cBhvr>
                                        <p:cTn dur="500" id="27"/>
                                        <p:tgtEl>
                                          <p:spTgt spid="9"/>
                                        </p:tgtEl>
                                      </p:cBhvr>
                                    </p:animEffect>
                                  </p:childTnLst>
                                </p:cTn>
                              </p:par>
                            </p:childTnLst>
                          </p:cTn>
                        </p:par>
                        <p:par>
                          <p:cTn fill="hold" id="28" nodeType="afterGroup">
                            <p:stCondLst>
                              <p:cond delay="3000"/>
                            </p:stCondLst>
                            <p:childTnLst>
                              <p:par>
                                <p:cTn fill="hold" grpId="0" id="29" nodeType="afterEffect" presetClass="entr" presetID="10" presetSubtype="0">
                                  <p:stCondLst>
                                    <p:cond delay="0"/>
                                  </p:stCondLst>
                                  <p:childTnLst>
                                    <p:set>
                                      <p:cBhvr>
                                        <p:cTn dur="1" fill="hold" id="30">
                                          <p:stCondLst>
                                            <p:cond delay="0"/>
                                          </p:stCondLst>
                                        </p:cTn>
                                        <p:tgtEl>
                                          <p:spTgt spid="16393"/>
                                        </p:tgtEl>
                                        <p:attrNameLst>
                                          <p:attrName>style.visibility</p:attrName>
                                        </p:attrNameLst>
                                      </p:cBhvr>
                                      <p:to>
                                        <p:strVal val="visible"/>
                                      </p:to>
                                    </p:set>
                                    <p:animEffect filter="fade" transition="in">
                                      <p:cBhvr>
                                        <p:cTn dur="500" id="31"/>
                                        <p:tgtEl>
                                          <p:spTgt spid="16393"/>
                                        </p:tgtEl>
                                      </p:cBhvr>
                                    </p:animEffect>
                                  </p:childTnLst>
                                </p:cTn>
                              </p:par>
                            </p:childTnLst>
                          </p:cTn>
                        </p:par>
                        <p:par>
                          <p:cTn fill="hold" id="32" nodeType="afterGroup">
                            <p:stCondLst>
                              <p:cond delay="3500"/>
                            </p:stCondLst>
                            <p:childTnLst>
                              <p:par>
                                <p:cTn fill="hold" grpId="0" id="33" nodeType="afterEffect" presetClass="entr" presetID="10" presetSubtype="0">
                                  <p:stCondLst>
                                    <p:cond delay="0"/>
                                  </p:stCondLst>
                                  <p:childTnLst>
                                    <p:set>
                                      <p:cBhvr>
                                        <p:cTn dur="1" fill="hold" id="34">
                                          <p:stCondLst>
                                            <p:cond delay="0"/>
                                          </p:stCondLst>
                                        </p:cTn>
                                        <p:tgtEl>
                                          <p:spTgt spid="11"/>
                                        </p:tgtEl>
                                        <p:attrNameLst>
                                          <p:attrName>style.visibility</p:attrName>
                                        </p:attrNameLst>
                                      </p:cBhvr>
                                      <p:to>
                                        <p:strVal val="visible"/>
                                      </p:to>
                                    </p:set>
                                    <p:animEffect filter="fade" transition="in">
                                      <p:cBhvr>
                                        <p:cTn dur="500" id="35"/>
                                        <p:tgtEl>
                                          <p:spTgt spid="11"/>
                                        </p:tgtEl>
                                      </p:cBhvr>
                                    </p:animEffect>
                                  </p:childTnLst>
                                </p:cTn>
                              </p:par>
                            </p:childTnLst>
                          </p:cTn>
                        </p:par>
                        <p:par>
                          <p:cTn fill="hold" id="36" nodeType="afterGroup">
                            <p:stCondLst>
                              <p:cond delay="4000"/>
                            </p:stCondLst>
                            <p:childTnLst>
                              <p:par>
                                <p:cTn fill="hold" grpId="0" id="37" nodeType="afterEffect" presetClass="entr" presetID="10" presetSubtype="0">
                                  <p:stCondLst>
                                    <p:cond delay="0"/>
                                  </p:stCondLst>
                                  <p:childTnLst>
                                    <p:set>
                                      <p:cBhvr>
                                        <p:cTn dur="1" fill="hold" id="38">
                                          <p:stCondLst>
                                            <p:cond delay="0"/>
                                          </p:stCondLst>
                                        </p:cTn>
                                        <p:tgtEl>
                                          <p:spTgt spid="16395"/>
                                        </p:tgtEl>
                                        <p:attrNameLst>
                                          <p:attrName>style.visibility</p:attrName>
                                        </p:attrNameLst>
                                      </p:cBhvr>
                                      <p:to>
                                        <p:strVal val="visible"/>
                                      </p:to>
                                    </p:set>
                                    <p:animEffect filter="fade" transition="in">
                                      <p:cBhvr>
                                        <p:cTn dur="500" id="39"/>
                                        <p:tgtEl>
                                          <p:spTgt spid="16395"/>
                                        </p:tgtEl>
                                      </p:cBhvr>
                                    </p:animEffect>
                                  </p:childTnLst>
                                </p:cTn>
                              </p:par>
                            </p:childTnLst>
                          </p:cTn>
                        </p:par>
                        <p:par>
                          <p:cTn fill="hold" id="40" nodeType="afterGroup">
                            <p:stCondLst>
                              <p:cond delay="4500"/>
                            </p:stCondLst>
                            <p:childTnLst>
                              <p:par>
                                <p:cTn fill="hold" grpId="0" id="41" nodeType="afterEffect" presetClass="entr" presetID="10" presetSubtype="0">
                                  <p:stCondLst>
                                    <p:cond delay="0"/>
                                  </p:stCondLst>
                                  <p:childTnLst>
                                    <p:set>
                                      <p:cBhvr>
                                        <p:cTn dur="1" fill="hold" id="42">
                                          <p:stCondLst>
                                            <p:cond delay="0"/>
                                          </p:stCondLst>
                                        </p:cTn>
                                        <p:tgtEl>
                                          <p:spTgt spid="16396"/>
                                        </p:tgtEl>
                                        <p:attrNameLst>
                                          <p:attrName>style.visibility</p:attrName>
                                        </p:attrNameLst>
                                      </p:cBhvr>
                                      <p:to>
                                        <p:strVal val="visible"/>
                                      </p:to>
                                    </p:set>
                                    <p:animEffect filter="fade" transition="in">
                                      <p:cBhvr>
                                        <p:cTn dur="500" id="43"/>
                                        <p:tgtEl>
                                          <p:spTgt spid="16396"/>
                                        </p:tgtEl>
                                      </p:cBhvr>
                                    </p:animEffect>
                                  </p:childTnLst>
                                </p:cTn>
                              </p:par>
                            </p:childTnLst>
                          </p:cTn>
                        </p:par>
                        <p:par>
                          <p:cTn fill="hold" id="44" nodeType="afterGroup">
                            <p:stCondLst>
                              <p:cond delay="5000"/>
                            </p:stCondLst>
                            <p:childTnLst>
                              <p:par>
                                <p:cTn fill="hold" grpId="0" id="45" nodeType="afterEffect" presetClass="entr" presetID="10" presetSubtype="0">
                                  <p:stCondLst>
                                    <p:cond delay="0"/>
                                  </p:stCondLst>
                                  <p:childTnLst>
                                    <p:set>
                                      <p:cBhvr>
                                        <p:cTn dur="1" fill="hold" id="46">
                                          <p:stCondLst>
                                            <p:cond delay="0"/>
                                          </p:stCondLst>
                                        </p:cTn>
                                        <p:tgtEl>
                                          <p:spTgt spid="16397"/>
                                        </p:tgtEl>
                                        <p:attrNameLst>
                                          <p:attrName>style.visibility</p:attrName>
                                        </p:attrNameLst>
                                      </p:cBhvr>
                                      <p:to>
                                        <p:strVal val="visible"/>
                                      </p:to>
                                    </p:set>
                                    <p:animEffect filter="fade" transition="in">
                                      <p:cBhvr>
                                        <p:cTn dur="500" id="47"/>
                                        <p:tgtEl>
                                          <p:spTgt spid="16397"/>
                                        </p:tgtEl>
                                      </p:cBhvr>
                                    </p:animEffect>
                                  </p:childTnLst>
                                </p:cTn>
                              </p:par>
                            </p:childTnLst>
                          </p:cTn>
                        </p:par>
                        <p:par>
                          <p:cTn fill="hold" id="48" nodeType="afterGroup">
                            <p:stCondLst>
                              <p:cond delay="5500"/>
                            </p:stCondLst>
                            <p:childTnLst>
                              <p:par>
                                <p:cTn fill="hold" grpId="0" id="49" nodeType="afterEffect" presetClass="entr" presetID="10" presetSubtype="0">
                                  <p:stCondLst>
                                    <p:cond delay="0"/>
                                  </p:stCondLst>
                                  <p:childTnLst>
                                    <p:set>
                                      <p:cBhvr>
                                        <p:cTn dur="1" fill="hold" id="50">
                                          <p:stCondLst>
                                            <p:cond delay="0"/>
                                          </p:stCondLst>
                                        </p:cTn>
                                        <p:tgtEl>
                                          <p:spTgt spid="16398"/>
                                        </p:tgtEl>
                                        <p:attrNameLst>
                                          <p:attrName>style.visibility</p:attrName>
                                        </p:attrNameLst>
                                      </p:cBhvr>
                                      <p:to>
                                        <p:strVal val="visible"/>
                                      </p:to>
                                    </p:set>
                                    <p:animEffect filter="fade" transition="in">
                                      <p:cBhvr>
                                        <p:cTn dur="500" id="51"/>
                                        <p:tgtEl>
                                          <p:spTgt spid="16398"/>
                                        </p:tgtEl>
                                      </p:cBhvr>
                                    </p:animEffect>
                                  </p:childTnLst>
                                </p:cTn>
                              </p:par>
                            </p:childTnLst>
                          </p:cTn>
                        </p:par>
                        <p:par>
                          <p:cTn fill="hold" id="52" nodeType="afterGroup">
                            <p:stCondLst>
                              <p:cond delay="6000"/>
                            </p:stCondLst>
                            <p:childTnLst>
                              <p:par>
                                <p:cTn fill="hold" grpId="0" id="53" nodeType="afterEffect" presetClass="entr" presetID="10" presetSubtype="0">
                                  <p:stCondLst>
                                    <p:cond delay="0"/>
                                  </p:stCondLst>
                                  <p:childTnLst>
                                    <p:set>
                                      <p:cBhvr>
                                        <p:cTn dur="1" fill="hold" id="54">
                                          <p:stCondLst>
                                            <p:cond delay="0"/>
                                          </p:stCondLst>
                                        </p:cTn>
                                        <p:tgtEl>
                                          <p:spTgt spid="16399"/>
                                        </p:tgtEl>
                                        <p:attrNameLst>
                                          <p:attrName>style.visibility</p:attrName>
                                        </p:attrNameLst>
                                      </p:cBhvr>
                                      <p:to>
                                        <p:strVal val="visible"/>
                                      </p:to>
                                    </p:set>
                                    <p:animEffect filter="fade" transition="in">
                                      <p:cBhvr>
                                        <p:cTn dur="500" id="55"/>
                                        <p:tgtEl>
                                          <p:spTgt spid="16399"/>
                                        </p:tgtEl>
                                      </p:cBhvr>
                                    </p:animEffect>
                                  </p:childTnLst>
                                </p:cTn>
                              </p:par>
                            </p:childTnLst>
                          </p:cTn>
                        </p:par>
                        <p:par>
                          <p:cTn fill="hold" id="56" nodeType="afterGroup">
                            <p:stCondLst>
                              <p:cond delay="6500"/>
                            </p:stCondLst>
                            <p:childTnLst>
                              <p:par>
                                <p:cTn fill="hold" grpId="0" id="57" nodeType="afterEffect" presetClass="entr" presetID="10" presetSubtype="0">
                                  <p:stCondLst>
                                    <p:cond delay="0"/>
                                  </p:stCondLst>
                                  <p:childTnLst>
                                    <p:set>
                                      <p:cBhvr>
                                        <p:cTn dur="1" fill="hold" id="58">
                                          <p:stCondLst>
                                            <p:cond delay="0"/>
                                          </p:stCondLst>
                                        </p:cTn>
                                        <p:tgtEl>
                                          <p:spTgt spid="16400"/>
                                        </p:tgtEl>
                                        <p:attrNameLst>
                                          <p:attrName>style.visibility</p:attrName>
                                        </p:attrNameLst>
                                      </p:cBhvr>
                                      <p:to>
                                        <p:strVal val="visible"/>
                                      </p:to>
                                    </p:set>
                                    <p:animEffect filter="fade" transition="in">
                                      <p:cBhvr>
                                        <p:cTn dur="500" id="59"/>
                                        <p:tgtEl>
                                          <p:spTgt spid="16400"/>
                                        </p:tgtEl>
                                      </p:cBhvr>
                                    </p:animEffect>
                                  </p:childTnLst>
                                </p:cTn>
                              </p:par>
                            </p:childTnLst>
                          </p:cTn>
                        </p:par>
                        <p:par>
                          <p:cTn fill="hold" id="60" nodeType="afterGroup">
                            <p:stCondLst>
                              <p:cond delay="7000"/>
                            </p:stCondLst>
                            <p:childTnLst>
                              <p:par>
                                <p:cTn fill="hold" grpId="0" id="61" nodeType="afterEffect" presetClass="entr" presetID="10" presetSubtype="0">
                                  <p:stCondLst>
                                    <p:cond delay="0"/>
                                  </p:stCondLst>
                                  <p:childTnLst>
                                    <p:set>
                                      <p:cBhvr>
                                        <p:cTn dur="1" fill="hold" id="62">
                                          <p:stCondLst>
                                            <p:cond delay="0"/>
                                          </p:stCondLst>
                                        </p:cTn>
                                        <p:tgtEl>
                                          <p:spTgt spid="16401"/>
                                        </p:tgtEl>
                                        <p:attrNameLst>
                                          <p:attrName>style.visibility</p:attrName>
                                        </p:attrNameLst>
                                      </p:cBhvr>
                                      <p:to>
                                        <p:strVal val="visible"/>
                                      </p:to>
                                    </p:set>
                                    <p:animEffect filter="fade" transition="in">
                                      <p:cBhvr>
                                        <p:cTn dur="500" id="63"/>
                                        <p:tgtEl>
                                          <p:spTgt spid="16401"/>
                                        </p:tgtEl>
                                      </p:cBhvr>
                                    </p:animEffect>
                                  </p:childTnLst>
                                </p:cTn>
                              </p:par>
                            </p:childTnLst>
                          </p:cTn>
                        </p:par>
                        <p:par>
                          <p:cTn fill="hold" id="64" nodeType="afterGroup">
                            <p:stCondLst>
                              <p:cond delay="7500"/>
                            </p:stCondLst>
                            <p:childTnLst>
                              <p:par>
                                <p:cTn fill="hold" grpId="0" id="65" nodeType="afterEffect" presetClass="entr" presetID="10" presetSubtype="0">
                                  <p:stCondLst>
                                    <p:cond delay="0"/>
                                  </p:stCondLst>
                                  <p:childTnLst>
                                    <p:set>
                                      <p:cBhvr>
                                        <p:cTn dur="1" fill="hold" id="66">
                                          <p:stCondLst>
                                            <p:cond delay="0"/>
                                          </p:stCondLst>
                                        </p:cTn>
                                        <p:tgtEl>
                                          <p:spTgt spid="16402"/>
                                        </p:tgtEl>
                                        <p:attrNameLst>
                                          <p:attrName>style.visibility</p:attrName>
                                        </p:attrNameLst>
                                      </p:cBhvr>
                                      <p:to>
                                        <p:strVal val="visible"/>
                                      </p:to>
                                    </p:set>
                                    <p:animEffect filter="fade" transition="in">
                                      <p:cBhvr>
                                        <p:cTn dur="500" id="67"/>
                                        <p:tgtEl>
                                          <p:spTgt spid="16402"/>
                                        </p:tgtEl>
                                      </p:cBhvr>
                                    </p:animEffect>
                                  </p:childTnLst>
                                </p:cTn>
                              </p:par>
                            </p:childTnLst>
                          </p:cTn>
                        </p:par>
                        <p:par>
                          <p:cTn fill="hold" id="68" nodeType="afterGroup">
                            <p:stCondLst>
                              <p:cond delay="8000"/>
                            </p:stCondLst>
                            <p:childTnLst>
                              <p:par>
                                <p:cTn fill="hold" id="69" nodeType="afterEffect" presetClass="entr" presetID="10" presetSubtype="0">
                                  <p:stCondLst>
                                    <p:cond delay="0"/>
                                  </p:stCondLst>
                                  <p:childTnLst>
                                    <p:set>
                                      <p:cBhvr>
                                        <p:cTn dur="1" fill="hold" id="70">
                                          <p:stCondLst>
                                            <p:cond delay="0"/>
                                          </p:stCondLst>
                                        </p:cTn>
                                        <p:tgtEl>
                                          <p:spTgt spid="20"/>
                                        </p:tgtEl>
                                        <p:attrNameLst>
                                          <p:attrName>style.visibility</p:attrName>
                                        </p:attrNameLst>
                                      </p:cBhvr>
                                      <p:to>
                                        <p:strVal val="visible"/>
                                      </p:to>
                                    </p:set>
                                    <p:animEffect filter="fade" transition="in">
                                      <p:cBhvr>
                                        <p:cTn dur="500" id="71"/>
                                        <p:tgtEl>
                                          <p:spTgt spid="20"/>
                                        </p:tgtEl>
                                      </p:cBhvr>
                                    </p:animEffect>
                                  </p:childTnLst>
                                </p:cTn>
                              </p:par>
                            </p:childTnLst>
                          </p:cTn>
                        </p:par>
                        <p:par>
                          <p:cTn fill="hold" id="72" nodeType="afterGroup">
                            <p:stCondLst>
                              <p:cond delay="8500"/>
                            </p:stCondLst>
                            <p:childTnLst>
                              <p:par>
                                <p:cTn fill="hold" grpId="0" id="73" nodeType="afterEffect" presetClass="entr" presetID="10" presetSubtype="0">
                                  <p:stCondLst>
                                    <p:cond delay="0"/>
                                  </p:stCondLst>
                                  <p:childTnLst>
                                    <p:set>
                                      <p:cBhvr>
                                        <p:cTn dur="1" fill="hold" id="74">
                                          <p:stCondLst>
                                            <p:cond delay="0"/>
                                          </p:stCondLst>
                                        </p:cTn>
                                        <p:tgtEl>
                                          <p:spTgt spid="16404"/>
                                        </p:tgtEl>
                                        <p:attrNameLst>
                                          <p:attrName>style.visibility</p:attrName>
                                        </p:attrNameLst>
                                      </p:cBhvr>
                                      <p:to>
                                        <p:strVal val="visible"/>
                                      </p:to>
                                    </p:set>
                                    <p:animEffect filter="fade" transition="in">
                                      <p:cBhvr>
                                        <p:cTn dur="500" id="75"/>
                                        <p:tgtEl>
                                          <p:spTgt spid="16404"/>
                                        </p:tgtEl>
                                      </p:cBhvr>
                                    </p:animEffect>
                                  </p:childTnLst>
                                </p:cTn>
                              </p:par>
                            </p:childTnLst>
                          </p:cTn>
                        </p:par>
                        <p:par>
                          <p:cTn fill="hold" id="76" nodeType="afterGroup">
                            <p:stCondLst>
                              <p:cond delay="9000"/>
                            </p:stCondLst>
                            <p:childTnLst>
                              <p:par>
                                <p:cTn fill="hold" grpId="0" id="77" nodeType="afterEffect" presetClass="entr" presetID="10" presetSubtype="0">
                                  <p:stCondLst>
                                    <p:cond delay="0"/>
                                  </p:stCondLst>
                                  <p:childTnLst>
                                    <p:set>
                                      <p:cBhvr>
                                        <p:cTn dur="1" fill="hold" id="78">
                                          <p:stCondLst>
                                            <p:cond delay="0"/>
                                          </p:stCondLst>
                                        </p:cTn>
                                        <p:tgtEl>
                                          <p:spTgt spid="16405"/>
                                        </p:tgtEl>
                                        <p:attrNameLst>
                                          <p:attrName>style.visibility</p:attrName>
                                        </p:attrNameLst>
                                      </p:cBhvr>
                                      <p:to>
                                        <p:strVal val="visible"/>
                                      </p:to>
                                    </p:set>
                                    <p:animEffect filter="fade" transition="in">
                                      <p:cBhvr>
                                        <p:cTn dur="500" id="79"/>
                                        <p:tgtEl>
                                          <p:spTgt spid="16405"/>
                                        </p:tgtEl>
                                      </p:cBhvr>
                                    </p:animEffect>
                                  </p:childTnLst>
                                </p:cTn>
                              </p:par>
                            </p:childTnLst>
                          </p:cTn>
                        </p:par>
                        <p:par>
                          <p:cTn fill="hold" id="80" nodeType="afterGroup">
                            <p:stCondLst>
                              <p:cond delay="9500"/>
                            </p:stCondLst>
                            <p:childTnLst>
                              <p:par>
                                <p:cTn fill="hold" grpId="0" id="81" nodeType="afterEffect" presetClass="entr" presetID="10" presetSubtype="0">
                                  <p:stCondLst>
                                    <p:cond delay="0"/>
                                  </p:stCondLst>
                                  <p:childTnLst>
                                    <p:set>
                                      <p:cBhvr>
                                        <p:cTn dur="1" fill="hold" id="82">
                                          <p:stCondLst>
                                            <p:cond delay="0"/>
                                          </p:stCondLst>
                                        </p:cTn>
                                        <p:tgtEl>
                                          <p:spTgt spid="16406"/>
                                        </p:tgtEl>
                                        <p:attrNameLst>
                                          <p:attrName>style.visibility</p:attrName>
                                        </p:attrNameLst>
                                      </p:cBhvr>
                                      <p:to>
                                        <p:strVal val="visible"/>
                                      </p:to>
                                    </p:set>
                                    <p:animEffect filter="fade" transition="in">
                                      <p:cBhvr>
                                        <p:cTn dur="500" id="83"/>
                                        <p:tgtEl>
                                          <p:spTgt spid="16406"/>
                                        </p:tgtEl>
                                      </p:cBhvr>
                                    </p:animEffect>
                                  </p:childTnLst>
                                </p:cTn>
                              </p:par>
                            </p:childTnLst>
                          </p:cTn>
                        </p:par>
                        <p:par>
                          <p:cTn fill="hold" id="84" nodeType="afterGroup">
                            <p:stCondLst>
                              <p:cond delay="10000"/>
                            </p:stCondLst>
                            <p:childTnLst>
                              <p:par>
                                <p:cTn fill="hold" grpId="0" id="85" nodeType="afterEffect" presetClass="entr" presetID="10" presetSubtype="0">
                                  <p:stCondLst>
                                    <p:cond delay="0"/>
                                  </p:stCondLst>
                                  <p:childTnLst>
                                    <p:set>
                                      <p:cBhvr>
                                        <p:cTn dur="1" fill="hold" id="86">
                                          <p:stCondLst>
                                            <p:cond delay="0"/>
                                          </p:stCondLst>
                                        </p:cTn>
                                        <p:tgtEl>
                                          <p:spTgt spid="16407"/>
                                        </p:tgtEl>
                                        <p:attrNameLst>
                                          <p:attrName>style.visibility</p:attrName>
                                        </p:attrNameLst>
                                      </p:cBhvr>
                                      <p:to>
                                        <p:strVal val="visible"/>
                                      </p:to>
                                    </p:set>
                                    <p:animEffect filter="fade" transition="in">
                                      <p:cBhvr>
                                        <p:cTn dur="500" id="87"/>
                                        <p:tgtEl>
                                          <p:spTgt spid="16407"/>
                                        </p:tgtEl>
                                      </p:cBhvr>
                                    </p:animEffect>
                                  </p:childTnLst>
                                </p:cTn>
                              </p:par>
                            </p:childTnLst>
                          </p:cTn>
                        </p:par>
                        <p:par>
                          <p:cTn fill="hold" id="88" nodeType="afterGroup">
                            <p:stCondLst>
                              <p:cond delay="10500"/>
                            </p:stCondLst>
                            <p:childTnLst>
                              <p:par>
                                <p:cTn fill="hold" grpId="0" id="89" nodeType="afterEffect" presetClass="entr" presetID="10" presetSubtype="0">
                                  <p:stCondLst>
                                    <p:cond delay="0"/>
                                  </p:stCondLst>
                                  <p:childTnLst>
                                    <p:set>
                                      <p:cBhvr>
                                        <p:cTn dur="1" fill="hold" id="90">
                                          <p:stCondLst>
                                            <p:cond delay="0"/>
                                          </p:stCondLst>
                                        </p:cTn>
                                        <p:tgtEl>
                                          <p:spTgt spid="16408"/>
                                        </p:tgtEl>
                                        <p:attrNameLst>
                                          <p:attrName>style.visibility</p:attrName>
                                        </p:attrNameLst>
                                      </p:cBhvr>
                                      <p:to>
                                        <p:strVal val="visible"/>
                                      </p:to>
                                    </p:set>
                                    <p:animEffect filter="fade" transition="in">
                                      <p:cBhvr>
                                        <p:cTn dur="500" id="91"/>
                                        <p:tgtEl>
                                          <p:spTgt spid="16408"/>
                                        </p:tgtEl>
                                      </p:cBhvr>
                                    </p:animEffect>
                                  </p:childTnLst>
                                </p:cTn>
                              </p:par>
                            </p:childTnLst>
                          </p:cTn>
                        </p:par>
                        <p:par>
                          <p:cTn fill="hold" id="92" nodeType="afterGroup">
                            <p:stCondLst>
                              <p:cond delay="11000"/>
                            </p:stCondLst>
                            <p:childTnLst>
                              <p:par>
                                <p:cTn fill="hold" grpId="0" id="93" nodeType="afterEffect" presetClass="entr" presetID="10" presetSubtype="0">
                                  <p:stCondLst>
                                    <p:cond delay="0"/>
                                  </p:stCondLst>
                                  <p:childTnLst>
                                    <p:set>
                                      <p:cBhvr>
                                        <p:cTn dur="1" fill="hold" id="94">
                                          <p:stCondLst>
                                            <p:cond delay="0"/>
                                          </p:stCondLst>
                                        </p:cTn>
                                        <p:tgtEl>
                                          <p:spTgt spid="16409"/>
                                        </p:tgtEl>
                                        <p:attrNameLst>
                                          <p:attrName>style.visibility</p:attrName>
                                        </p:attrNameLst>
                                      </p:cBhvr>
                                      <p:to>
                                        <p:strVal val="visible"/>
                                      </p:to>
                                    </p:set>
                                    <p:animEffect filter="fade" transition="in">
                                      <p:cBhvr>
                                        <p:cTn dur="500" id="95"/>
                                        <p:tgtEl>
                                          <p:spTgt spid="16409"/>
                                        </p:tgtEl>
                                      </p:cBhvr>
                                    </p:animEffect>
                                  </p:childTnLst>
                                </p:cTn>
                              </p:par>
                            </p:childTnLst>
                          </p:cTn>
                        </p:par>
                        <p:par>
                          <p:cTn fill="hold" id="96" nodeType="afterGroup">
                            <p:stCondLst>
                              <p:cond delay="11500"/>
                            </p:stCondLst>
                            <p:childTnLst>
                              <p:par>
                                <p:cTn fill="hold" grpId="0" id="97" nodeType="afterEffect" presetClass="entr" presetID="10" presetSubtype="0">
                                  <p:stCondLst>
                                    <p:cond delay="0"/>
                                  </p:stCondLst>
                                  <p:childTnLst>
                                    <p:set>
                                      <p:cBhvr>
                                        <p:cTn dur="1" fill="hold" id="98">
                                          <p:stCondLst>
                                            <p:cond delay="0"/>
                                          </p:stCondLst>
                                        </p:cTn>
                                        <p:tgtEl>
                                          <p:spTgt spid="16410"/>
                                        </p:tgtEl>
                                        <p:attrNameLst>
                                          <p:attrName>style.visibility</p:attrName>
                                        </p:attrNameLst>
                                      </p:cBhvr>
                                      <p:to>
                                        <p:strVal val="visible"/>
                                      </p:to>
                                    </p:set>
                                    <p:animEffect filter="fade" transition="in">
                                      <p:cBhvr>
                                        <p:cTn dur="500" id="99"/>
                                        <p:tgtEl>
                                          <p:spTgt spid="16410"/>
                                        </p:tgtEl>
                                      </p:cBhvr>
                                    </p:animEffect>
                                  </p:childTnLst>
                                </p:cTn>
                              </p:par>
                            </p:childTnLst>
                          </p:cTn>
                        </p:par>
                        <p:par>
                          <p:cTn fill="hold" id="100" nodeType="afterGroup">
                            <p:stCondLst>
                              <p:cond delay="12000"/>
                            </p:stCondLst>
                            <p:childTnLst>
                              <p:par>
                                <p:cTn fill="hold" grpId="0" id="101" nodeType="afterEffect" presetClass="entr" presetID="10" presetSubtype="0">
                                  <p:stCondLst>
                                    <p:cond delay="0"/>
                                  </p:stCondLst>
                                  <p:childTnLst>
                                    <p:set>
                                      <p:cBhvr>
                                        <p:cTn dur="1" fill="hold" id="102">
                                          <p:stCondLst>
                                            <p:cond delay="0"/>
                                          </p:stCondLst>
                                        </p:cTn>
                                        <p:tgtEl>
                                          <p:spTgt spid="16411"/>
                                        </p:tgtEl>
                                        <p:attrNameLst>
                                          <p:attrName>style.visibility</p:attrName>
                                        </p:attrNameLst>
                                      </p:cBhvr>
                                      <p:to>
                                        <p:strVal val="visible"/>
                                      </p:to>
                                    </p:set>
                                    <p:animEffect filter="fade" transition="in">
                                      <p:cBhvr>
                                        <p:cTn dur="500" id="103"/>
                                        <p:tgtEl>
                                          <p:spTgt spid="16411"/>
                                        </p:tgtEl>
                                      </p:cBhvr>
                                    </p:animEffect>
                                  </p:childTnLst>
                                </p:cTn>
                              </p:par>
                            </p:childTnLst>
                          </p:cTn>
                        </p:par>
                        <p:par>
                          <p:cTn fill="hold" id="104" nodeType="afterGroup">
                            <p:stCondLst>
                              <p:cond delay="12500"/>
                            </p:stCondLst>
                            <p:childTnLst>
                              <p:par>
                                <p:cTn fill="hold" grpId="0" id="105" nodeType="afterEffect" presetClass="entr" presetID="10" presetSubtype="0">
                                  <p:stCondLst>
                                    <p:cond delay="0"/>
                                  </p:stCondLst>
                                  <p:childTnLst>
                                    <p:set>
                                      <p:cBhvr>
                                        <p:cTn dur="1" fill="hold" id="106">
                                          <p:stCondLst>
                                            <p:cond delay="0"/>
                                          </p:stCondLst>
                                        </p:cTn>
                                        <p:tgtEl>
                                          <p:spTgt spid="16412"/>
                                        </p:tgtEl>
                                        <p:attrNameLst>
                                          <p:attrName>style.visibility</p:attrName>
                                        </p:attrNameLst>
                                      </p:cBhvr>
                                      <p:to>
                                        <p:strVal val="visible"/>
                                      </p:to>
                                    </p:set>
                                    <p:animEffect filter="fade" transition="in">
                                      <p:cBhvr>
                                        <p:cTn dur="500" id="107"/>
                                        <p:tgtEl>
                                          <p:spTgt spid="16412"/>
                                        </p:tgtEl>
                                      </p:cBhvr>
                                    </p:animEffect>
                                  </p:childTnLst>
                                </p:cTn>
                              </p:par>
                            </p:childTnLst>
                          </p:cTn>
                        </p:par>
                        <p:par>
                          <p:cTn fill="hold" id="108" nodeType="afterGroup">
                            <p:stCondLst>
                              <p:cond delay="13000"/>
                            </p:stCondLst>
                            <p:childTnLst>
                              <p:par>
                                <p:cTn fill="hold" grpId="0" id="109" nodeType="afterEffect" presetClass="entr" presetID="10" presetSubtype="0">
                                  <p:stCondLst>
                                    <p:cond delay="0"/>
                                  </p:stCondLst>
                                  <p:childTnLst>
                                    <p:set>
                                      <p:cBhvr>
                                        <p:cTn dur="1" fill="hold" id="110">
                                          <p:stCondLst>
                                            <p:cond delay="0"/>
                                          </p:stCondLst>
                                        </p:cTn>
                                        <p:tgtEl>
                                          <p:spTgt spid="16413"/>
                                        </p:tgtEl>
                                        <p:attrNameLst>
                                          <p:attrName>style.visibility</p:attrName>
                                        </p:attrNameLst>
                                      </p:cBhvr>
                                      <p:to>
                                        <p:strVal val="visible"/>
                                      </p:to>
                                    </p:set>
                                    <p:animEffect filter="fade" transition="in">
                                      <p:cBhvr>
                                        <p:cTn dur="500" id="111"/>
                                        <p:tgtEl>
                                          <p:spTgt spid="16413"/>
                                        </p:tgtEl>
                                      </p:cBhvr>
                                    </p:animEffect>
                                  </p:childTnLst>
                                </p:cTn>
                              </p:par>
                            </p:childTnLst>
                          </p:cTn>
                        </p:par>
                        <p:par>
                          <p:cTn fill="hold" id="112" nodeType="afterGroup">
                            <p:stCondLst>
                              <p:cond delay="13500"/>
                            </p:stCondLst>
                            <p:childTnLst>
                              <p:par>
                                <p:cTn fill="hold" grpId="0" id="113" nodeType="afterEffect" presetClass="entr" presetID="10" presetSubtype="0">
                                  <p:stCondLst>
                                    <p:cond delay="0"/>
                                  </p:stCondLst>
                                  <p:childTnLst>
                                    <p:set>
                                      <p:cBhvr>
                                        <p:cTn dur="1" fill="hold" id="114">
                                          <p:stCondLst>
                                            <p:cond delay="0"/>
                                          </p:stCondLst>
                                        </p:cTn>
                                        <p:tgtEl>
                                          <p:spTgt spid="16414"/>
                                        </p:tgtEl>
                                        <p:attrNameLst>
                                          <p:attrName>style.visibility</p:attrName>
                                        </p:attrNameLst>
                                      </p:cBhvr>
                                      <p:to>
                                        <p:strVal val="visible"/>
                                      </p:to>
                                    </p:set>
                                    <p:animEffect filter="fade" transition="in">
                                      <p:cBhvr>
                                        <p:cTn dur="500" id="115"/>
                                        <p:tgtEl>
                                          <p:spTgt spid="16414"/>
                                        </p:tgtEl>
                                      </p:cBhvr>
                                    </p:animEffect>
                                  </p:childTnLst>
                                </p:cTn>
                              </p:par>
                            </p:childTnLst>
                          </p:cTn>
                        </p:par>
                        <p:par>
                          <p:cTn fill="hold" id="116" nodeType="afterGroup">
                            <p:stCondLst>
                              <p:cond delay="14000"/>
                            </p:stCondLst>
                            <p:childTnLst>
                              <p:par>
                                <p:cTn fill="hold" grpId="0" id="117" nodeType="afterEffect" presetClass="entr" presetID="10" presetSubtype="0">
                                  <p:stCondLst>
                                    <p:cond delay="0"/>
                                  </p:stCondLst>
                                  <p:childTnLst>
                                    <p:set>
                                      <p:cBhvr>
                                        <p:cTn dur="1" fill="hold" id="118">
                                          <p:stCondLst>
                                            <p:cond delay="0"/>
                                          </p:stCondLst>
                                        </p:cTn>
                                        <p:tgtEl>
                                          <p:spTgt spid="16415"/>
                                        </p:tgtEl>
                                        <p:attrNameLst>
                                          <p:attrName>style.visibility</p:attrName>
                                        </p:attrNameLst>
                                      </p:cBhvr>
                                      <p:to>
                                        <p:strVal val="visible"/>
                                      </p:to>
                                    </p:set>
                                    <p:animEffect filter="fade" transition="in">
                                      <p:cBhvr>
                                        <p:cTn dur="500" id="119"/>
                                        <p:tgtEl>
                                          <p:spTgt spid="16415"/>
                                        </p:tgtEl>
                                      </p:cBhvr>
                                    </p:animEffect>
                                  </p:childTnLst>
                                </p:cTn>
                              </p:par>
                            </p:childTnLst>
                          </p:cTn>
                        </p:par>
                        <p:par>
                          <p:cTn fill="hold" id="120" nodeType="afterGroup">
                            <p:stCondLst>
                              <p:cond delay="14500"/>
                            </p:stCondLst>
                            <p:childTnLst>
                              <p:par>
                                <p:cTn fill="hold" grpId="0" id="121" nodeType="afterEffect" presetClass="entr" presetID="10" presetSubtype="0">
                                  <p:stCondLst>
                                    <p:cond delay="0"/>
                                  </p:stCondLst>
                                  <p:childTnLst>
                                    <p:set>
                                      <p:cBhvr>
                                        <p:cTn dur="1" fill="hold" id="122">
                                          <p:stCondLst>
                                            <p:cond delay="0"/>
                                          </p:stCondLst>
                                        </p:cTn>
                                        <p:tgtEl>
                                          <p:spTgt spid="16416"/>
                                        </p:tgtEl>
                                        <p:attrNameLst>
                                          <p:attrName>style.visibility</p:attrName>
                                        </p:attrNameLst>
                                      </p:cBhvr>
                                      <p:to>
                                        <p:strVal val="visible"/>
                                      </p:to>
                                    </p:set>
                                    <p:animEffect filter="fade" transition="in">
                                      <p:cBhvr>
                                        <p:cTn dur="500" id="123"/>
                                        <p:tgtEl>
                                          <p:spTgt spid="16416"/>
                                        </p:tgtEl>
                                      </p:cBhvr>
                                    </p:animEffect>
                                  </p:childTnLst>
                                </p:cTn>
                              </p:par>
                            </p:childTnLst>
                          </p:cTn>
                        </p:par>
                        <p:par>
                          <p:cTn fill="hold" id="124" nodeType="afterGroup">
                            <p:stCondLst>
                              <p:cond delay="15000"/>
                            </p:stCondLst>
                            <p:childTnLst>
                              <p:par>
                                <p:cTn fill="hold" grpId="0" id="125" nodeType="afterEffect" presetClass="entr" presetID="10" presetSubtype="0">
                                  <p:stCondLst>
                                    <p:cond delay="0"/>
                                  </p:stCondLst>
                                  <p:childTnLst>
                                    <p:set>
                                      <p:cBhvr>
                                        <p:cTn dur="1" fill="hold" id="126">
                                          <p:stCondLst>
                                            <p:cond delay="0"/>
                                          </p:stCondLst>
                                        </p:cTn>
                                        <p:tgtEl>
                                          <p:spTgt spid="16417"/>
                                        </p:tgtEl>
                                        <p:attrNameLst>
                                          <p:attrName>style.visibility</p:attrName>
                                        </p:attrNameLst>
                                      </p:cBhvr>
                                      <p:to>
                                        <p:strVal val="visible"/>
                                      </p:to>
                                    </p:set>
                                    <p:animEffect filter="fade" transition="in">
                                      <p:cBhvr>
                                        <p:cTn dur="500" id="127"/>
                                        <p:tgtEl>
                                          <p:spTgt spid="16417"/>
                                        </p:tgtEl>
                                      </p:cBhvr>
                                    </p:animEffect>
                                  </p:childTnLst>
                                </p:cTn>
                              </p:par>
                            </p:childTnLst>
                          </p:cTn>
                        </p:par>
                        <p:par>
                          <p:cTn fill="hold" id="128" nodeType="afterGroup">
                            <p:stCondLst>
                              <p:cond delay="15500"/>
                            </p:stCondLst>
                            <p:childTnLst>
                              <p:par>
                                <p:cTn fill="hold" grpId="0" id="129" nodeType="afterEffect" presetClass="entr" presetID="10" presetSubtype="0">
                                  <p:stCondLst>
                                    <p:cond delay="0"/>
                                  </p:stCondLst>
                                  <p:childTnLst>
                                    <p:set>
                                      <p:cBhvr>
                                        <p:cTn dur="1" fill="hold" id="130">
                                          <p:stCondLst>
                                            <p:cond delay="0"/>
                                          </p:stCondLst>
                                        </p:cTn>
                                        <p:tgtEl>
                                          <p:spTgt spid="16418"/>
                                        </p:tgtEl>
                                        <p:attrNameLst>
                                          <p:attrName>style.visibility</p:attrName>
                                        </p:attrNameLst>
                                      </p:cBhvr>
                                      <p:to>
                                        <p:strVal val="visible"/>
                                      </p:to>
                                    </p:set>
                                    <p:animEffect filter="fade" transition="in">
                                      <p:cBhvr>
                                        <p:cTn dur="500" id="131"/>
                                        <p:tgtEl>
                                          <p:spTgt spid="16418"/>
                                        </p:tgtEl>
                                      </p:cBhvr>
                                    </p:animEffect>
                                  </p:childTnLst>
                                </p:cTn>
                              </p:par>
                            </p:childTnLst>
                          </p:cTn>
                        </p:par>
                        <p:par>
                          <p:cTn fill="hold" id="132" nodeType="afterGroup">
                            <p:stCondLst>
                              <p:cond delay="16000"/>
                            </p:stCondLst>
                            <p:childTnLst>
                              <p:par>
                                <p:cTn fill="hold" grpId="0" id="133" nodeType="afterEffect" presetClass="entr" presetID="10" presetSubtype="0">
                                  <p:stCondLst>
                                    <p:cond delay="0"/>
                                  </p:stCondLst>
                                  <p:childTnLst>
                                    <p:set>
                                      <p:cBhvr>
                                        <p:cTn dur="1" fill="hold" id="134">
                                          <p:stCondLst>
                                            <p:cond delay="0"/>
                                          </p:stCondLst>
                                        </p:cTn>
                                        <p:tgtEl>
                                          <p:spTgt spid="16419"/>
                                        </p:tgtEl>
                                        <p:attrNameLst>
                                          <p:attrName>style.visibility</p:attrName>
                                        </p:attrNameLst>
                                      </p:cBhvr>
                                      <p:to>
                                        <p:strVal val="visible"/>
                                      </p:to>
                                    </p:set>
                                    <p:animEffect filter="fade" transition="in">
                                      <p:cBhvr>
                                        <p:cTn dur="500" id="135"/>
                                        <p:tgtEl>
                                          <p:spTgt spid="16419"/>
                                        </p:tgtEl>
                                      </p:cBhvr>
                                    </p:animEffect>
                                  </p:childTnLst>
                                </p:cTn>
                              </p:par>
                            </p:childTnLst>
                          </p:cTn>
                        </p:par>
                        <p:par>
                          <p:cTn fill="hold" id="136" nodeType="afterGroup">
                            <p:stCondLst>
                              <p:cond delay="16500"/>
                            </p:stCondLst>
                            <p:childTnLst>
                              <p:par>
                                <p:cTn fill="hold" grpId="0" id="137" nodeType="afterEffect" presetClass="entr" presetID="10" presetSubtype="0">
                                  <p:stCondLst>
                                    <p:cond delay="0"/>
                                  </p:stCondLst>
                                  <p:childTnLst>
                                    <p:set>
                                      <p:cBhvr>
                                        <p:cTn dur="1" fill="hold" id="138">
                                          <p:stCondLst>
                                            <p:cond delay="0"/>
                                          </p:stCondLst>
                                        </p:cTn>
                                        <p:tgtEl>
                                          <p:spTgt spid="16420"/>
                                        </p:tgtEl>
                                        <p:attrNameLst>
                                          <p:attrName>style.visibility</p:attrName>
                                        </p:attrNameLst>
                                      </p:cBhvr>
                                      <p:to>
                                        <p:strVal val="visible"/>
                                      </p:to>
                                    </p:set>
                                    <p:animEffect filter="fade" transition="in">
                                      <p:cBhvr>
                                        <p:cTn dur="500" id="139"/>
                                        <p:tgtEl>
                                          <p:spTgt spid="16420"/>
                                        </p:tgtEl>
                                      </p:cBhvr>
                                    </p:animEffect>
                                  </p:childTnLst>
                                </p:cTn>
                              </p:par>
                            </p:childTnLst>
                          </p:cTn>
                        </p:par>
                        <p:par>
                          <p:cTn fill="hold" id="140" nodeType="afterGroup">
                            <p:stCondLst>
                              <p:cond delay="17000"/>
                            </p:stCondLst>
                            <p:childTnLst>
                              <p:par>
                                <p:cTn fill="hold" grpId="0" id="141" nodeType="afterEffect" presetClass="entr" presetID="10" presetSubtype="0">
                                  <p:stCondLst>
                                    <p:cond delay="0"/>
                                  </p:stCondLst>
                                  <p:childTnLst>
                                    <p:set>
                                      <p:cBhvr>
                                        <p:cTn dur="1" fill="hold" id="142">
                                          <p:stCondLst>
                                            <p:cond delay="0"/>
                                          </p:stCondLst>
                                        </p:cTn>
                                        <p:tgtEl>
                                          <p:spTgt spid="16421"/>
                                        </p:tgtEl>
                                        <p:attrNameLst>
                                          <p:attrName>style.visibility</p:attrName>
                                        </p:attrNameLst>
                                      </p:cBhvr>
                                      <p:to>
                                        <p:strVal val="visible"/>
                                      </p:to>
                                    </p:set>
                                    <p:animEffect filter="fade" transition="in">
                                      <p:cBhvr>
                                        <p:cTn dur="500" id="143"/>
                                        <p:tgtEl>
                                          <p:spTgt spid="16421"/>
                                        </p:tgtEl>
                                      </p:cBhvr>
                                    </p:animEffect>
                                  </p:childTnLst>
                                </p:cTn>
                              </p:par>
                            </p:childTnLst>
                          </p:cTn>
                        </p:par>
                        <p:par>
                          <p:cTn fill="hold" id="144" nodeType="afterGroup">
                            <p:stCondLst>
                              <p:cond delay="17500"/>
                            </p:stCondLst>
                            <p:childTnLst>
                              <p:par>
                                <p:cTn fill="hold" grpId="0" id="145" nodeType="afterEffect" presetClass="entr" presetID="10" presetSubtype="0">
                                  <p:stCondLst>
                                    <p:cond delay="0"/>
                                  </p:stCondLst>
                                  <p:childTnLst>
                                    <p:set>
                                      <p:cBhvr>
                                        <p:cTn dur="1" fill="hold" id="146">
                                          <p:stCondLst>
                                            <p:cond delay="0"/>
                                          </p:stCondLst>
                                        </p:cTn>
                                        <p:tgtEl>
                                          <p:spTgt spid="16422"/>
                                        </p:tgtEl>
                                        <p:attrNameLst>
                                          <p:attrName>style.visibility</p:attrName>
                                        </p:attrNameLst>
                                      </p:cBhvr>
                                      <p:to>
                                        <p:strVal val="visible"/>
                                      </p:to>
                                    </p:set>
                                    <p:animEffect filter="fade" transition="in">
                                      <p:cBhvr>
                                        <p:cTn dur="500" id="147"/>
                                        <p:tgtEl>
                                          <p:spTgt spid="16422"/>
                                        </p:tgtEl>
                                      </p:cBhvr>
                                    </p:animEffect>
                                  </p:childTnLst>
                                </p:cTn>
                              </p:par>
                            </p:childTnLst>
                          </p:cTn>
                        </p:par>
                        <p:par>
                          <p:cTn fill="hold" id="148" nodeType="afterGroup">
                            <p:stCondLst>
                              <p:cond delay="18000"/>
                            </p:stCondLst>
                            <p:childTnLst>
                              <p:par>
                                <p:cTn fill="hold" grpId="0" id="149" nodeType="afterEffect" presetClass="entr" presetID="10" presetSubtype="0">
                                  <p:stCondLst>
                                    <p:cond delay="0"/>
                                  </p:stCondLst>
                                  <p:childTnLst>
                                    <p:set>
                                      <p:cBhvr>
                                        <p:cTn dur="1" fill="hold" id="150">
                                          <p:stCondLst>
                                            <p:cond delay="0"/>
                                          </p:stCondLst>
                                        </p:cTn>
                                        <p:tgtEl>
                                          <p:spTgt spid="16423"/>
                                        </p:tgtEl>
                                        <p:attrNameLst>
                                          <p:attrName>style.visibility</p:attrName>
                                        </p:attrNameLst>
                                      </p:cBhvr>
                                      <p:to>
                                        <p:strVal val="visible"/>
                                      </p:to>
                                    </p:set>
                                    <p:animEffect filter="fade" transition="in">
                                      <p:cBhvr>
                                        <p:cTn dur="500" id="151"/>
                                        <p:tgtEl>
                                          <p:spTgt spid="16423"/>
                                        </p:tgtEl>
                                      </p:cBhvr>
                                    </p:animEffect>
                                  </p:childTnLst>
                                </p:cTn>
                              </p:par>
                            </p:childTnLst>
                          </p:cTn>
                        </p:par>
                        <p:par>
                          <p:cTn fill="hold" id="152" nodeType="afterGroup">
                            <p:stCondLst>
                              <p:cond delay="18500"/>
                            </p:stCondLst>
                            <p:childTnLst>
                              <p:par>
                                <p:cTn fill="hold" grpId="0" id="153" nodeType="afterEffect" presetClass="entr" presetID="10" presetSubtype="0">
                                  <p:stCondLst>
                                    <p:cond delay="0"/>
                                  </p:stCondLst>
                                  <p:childTnLst>
                                    <p:set>
                                      <p:cBhvr>
                                        <p:cTn dur="1" fill="hold" id="154">
                                          <p:stCondLst>
                                            <p:cond delay="0"/>
                                          </p:stCondLst>
                                        </p:cTn>
                                        <p:tgtEl>
                                          <p:spTgt spid="16424"/>
                                        </p:tgtEl>
                                        <p:attrNameLst>
                                          <p:attrName>style.visibility</p:attrName>
                                        </p:attrNameLst>
                                      </p:cBhvr>
                                      <p:to>
                                        <p:strVal val="visible"/>
                                      </p:to>
                                    </p:set>
                                    <p:animEffect filter="fade" transition="in">
                                      <p:cBhvr>
                                        <p:cTn dur="500" id="155"/>
                                        <p:tgtEl>
                                          <p:spTgt spid="16424"/>
                                        </p:tgtEl>
                                      </p:cBhvr>
                                    </p:animEffect>
                                  </p:childTnLst>
                                </p:cTn>
                              </p:par>
                            </p:childTnLst>
                          </p:cTn>
                        </p:par>
                        <p:par>
                          <p:cTn fill="hold" id="156" nodeType="afterGroup">
                            <p:stCondLst>
                              <p:cond delay="19000"/>
                            </p:stCondLst>
                            <p:childTnLst>
                              <p:par>
                                <p:cTn fill="hold" grpId="0" id="157" nodeType="afterEffect" presetClass="entr" presetID="10" presetSubtype="0">
                                  <p:stCondLst>
                                    <p:cond delay="0"/>
                                  </p:stCondLst>
                                  <p:childTnLst>
                                    <p:set>
                                      <p:cBhvr>
                                        <p:cTn dur="1" fill="hold" id="158">
                                          <p:stCondLst>
                                            <p:cond delay="0"/>
                                          </p:stCondLst>
                                        </p:cTn>
                                        <p:tgtEl>
                                          <p:spTgt spid="16425"/>
                                        </p:tgtEl>
                                        <p:attrNameLst>
                                          <p:attrName>style.visibility</p:attrName>
                                        </p:attrNameLst>
                                      </p:cBhvr>
                                      <p:to>
                                        <p:strVal val="visible"/>
                                      </p:to>
                                    </p:set>
                                    <p:animEffect filter="fade" transition="in">
                                      <p:cBhvr>
                                        <p:cTn dur="500" id="159"/>
                                        <p:tgtEl>
                                          <p:spTgt spid="16425"/>
                                        </p:tgtEl>
                                      </p:cBhvr>
                                    </p:animEffect>
                                  </p:childTnLst>
                                </p:cTn>
                              </p:par>
                            </p:childTnLst>
                          </p:cTn>
                        </p:par>
                        <p:par>
                          <p:cTn fill="hold" id="160" nodeType="afterGroup">
                            <p:stCondLst>
                              <p:cond delay="19500"/>
                            </p:stCondLst>
                            <p:childTnLst>
                              <p:par>
                                <p:cTn fill="hold" grpId="0" id="161" nodeType="afterEffect" presetClass="entr" presetID="10" presetSubtype="0">
                                  <p:stCondLst>
                                    <p:cond delay="0"/>
                                  </p:stCondLst>
                                  <p:childTnLst>
                                    <p:set>
                                      <p:cBhvr>
                                        <p:cTn dur="1" fill="hold" id="162">
                                          <p:stCondLst>
                                            <p:cond delay="0"/>
                                          </p:stCondLst>
                                        </p:cTn>
                                        <p:tgtEl>
                                          <p:spTgt spid="16426"/>
                                        </p:tgtEl>
                                        <p:attrNameLst>
                                          <p:attrName>style.visibility</p:attrName>
                                        </p:attrNameLst>
                                      </p:cBhvr>
                                      <p:to>
                                        <p:strVal val="visible"/>
                                      </p:to>
                                    </p:set>
                                    <p:animEffect filter="fade" transition="in">
                                      <p:cBhvr>
                                        <p:cTn dur="500" id="163"/>
                                        <p:tgtEl>
                                          <p:spTgt spid="16426"/>
                                        </p:tgtEl>
                                      </p:cBhvr>
                                    </p:animEffect>
                                  </p:childTnLst>
                                </p:cTn>
                              </p:par>
                            </p:childTnLst>
                          </p:cTn>
                        </p:par>
                        <p:par>
                          <p:cTn fill="hold" id="164" nodeType="afterGroup">
                            <p:stCondLst>
                              <p:cond delay="20000"/>
                            </p:stCondLst>
                            <p:childTnLst>
                              <p:par>
                                <p:cTn fill="hold" grpId="0" id="165" nodeType="afterEffect" presetClass="entr" presetID="10" presetSubtype="0">
                                  <p:stCondLst>
                                    <p:cond delay="0"/>
                                  </p:stCondLst>
                                  <p:childTnLst>
                                    <p:set>
                                      <p:cBhvr>
                                        <p:cTn dur="1" fill="hold" id="166">
                                          <p:stCondLst>
                                            <p:cond delay="0"/>
                                          </p:stCondLst>
                                        </p:cTn>
                                        <p:tgtEl>
                                          <p:spTgt spid="16427"/>
                                        </p:tgtEl>
                                        <p:attrNameLst>
                                          <p:attrName>style.visibility</p:attrName>
                                        </p:attrNameLst>
                                      </p:cBhvr>
                                      <p:to>
                                        <p:strVal val="visible"/>
                                      </p:to>
                                    </p:set>
                                    <p:animEffect filter="fade" transition="in">
                                      <p:cBhvr>
                                        <p:cTn dur="500" id="167"/>
                                        <p:tgtEl>
                                          <p:spTgt spid="16427"/>
                                        </p:tgtEl>
                                      </p:cBhvr>
                                    </p:animEffect>
                                  </p:childTnLst>
                                </p:cTn>
                              </p:par>
                            </p:childTnLst>
                          </p:cTn>
                        </p:par>
                        <p:par>
                          <p:cTn fill="hold" id="168" nodeType="afterGroup">
                            <p:stCondLst>
                              <p:cond delay="20500"/>
                            </p:stCondLst>
                            <p:childTnLst>
                              <p:par>
                                <p:cTn fill="hold" grpId="0" id="169" nodeType="afterEffect" presetClass="entr" presetID="10" presetSubtype="0">
                                  <p:stCondLst>
                                    <p:cond delay="0"/>
                                  </p:stCondLst>
                                  <p:childTnLst>
                                    <p:set>
                                      <p:cBhvr>
                                        <p:cTn dur="1" fill="hold" id="170">
                                          <p:stCondLst>
                                            <p:cond delay="0"/>
                                          </p:stCondLst>
                                        </p:cTn>
                                        <p:tgtEl>
                                          <p:spTgt spid="16428"/>
                                        </p:tgtEl>
                                        <p:attrNameLst>
                                          <p:attrName>style.visibility</p:attrName>
                                        </p:attrNameLst>
                                      </p:cBhvr>
                                      <p:to>
                                        <p:strVal val="visible"/>
                                      </p:to>
                                    </p:set>
                                    <p:animEffect filter="fade" transition="in">
                                      <p:cBhvr>
                                        <p:cTn dur="500" id="171"/>
                                        <p:tgtEl>
                                          <p:spTgt spid="16428"/>
                                        </p:tgtEl>
                                      </p:cBhvr>
                                    </p:animEffect>
                                  </p:childTnLst>
                                </p:cTn>
                              </p:par>
                            </p:childTnLst>
                          </p:cTn>
                        </p:par>
                        <p:par>
                          <p:cTn fill="hold" id="172" nodeType="afterGroup">
                            <p:stCondLst>
                              <p:cond delay="21000"/>
                            </p:stCondLst>
                            <p:childTnLst>
                              <p:par>
                                <p:cTn fill="hold" grpId="0" id="173" nodeType="afterEffect" presetClass="entr" presetID="10" presetSubtype="0">
                                  <p:stCondLst>
                                    <p:cond delay="0"/>
                                  </p:stCondLst>
                                  <p:childTnLst>
                                    <p:set>
                                      <p:cBhvr>
                                        <p:cTn dur="1" fill="hold" id="174">
                                          <p:stCondLst>
                                            <p:cond delay="0"/>
                                          </p:stCondLst>
                                        </p:cTn>
                                        <p:tgtEl>
                                          <p:spTgt spid="16429"/>
                                        </p:tgtEl>
                                        <p:attrNameLst>
                                          <p:attrName>style.visibility</p:attrName>
                                        </p:attrNameLst>
                                      </p:cBhvr>
                                      <p:to>
                                        <p:strVal val="visible"/>
                                      </p:to>
                                    </p:set>
                                    <p:animEffect filter="fade" transition="in">
                                      <p:cBhvr>
                                        <p:cTn dur="500" id="175"/>
                                        <p:tgtEl>
                                          <p:spTgt spid="16429"/>
                                        </p:tgtEl>
                                      </p:cBhvr>
                                    </p:animEffect>
                                  </p:childTnLst>
                                </p:cTn>
                              </p:par>
                            </p:childTnLst>
                          </p:cTn>
                        </p:par>
                        <p:par>
                          <p:cTn fill="hold" id="176" nodeType="afterGroup">
                            <p:stCondLst>
                              <p:cond delay="21500"/>
                            </p:stCondLst>
                            <p:childTnLst>
                              <p:par>
                                <p:cTn fill="hold" grpId="0" id="177" nodeType="afterEffect" presetClass="entr" presetID="10" presetSubtype="0">
                                  <p:stCondLst>
                                    <p:cond delay="0"/>
                                  </p:stCondLst>
                                  <p:childTnLst>
                                    <p:set>
                                      <p:cBhvr>
                                        <p:cTn dur="1" fill="hold" id="178">
                                          <p:stCondLst>
                                            <p:cond delay="0"/>
                                          </p:stCondLst>
                                        </p:cTn>
                                        <p:tgtEl>
                                          <p:spTgt spid="16430"/>
                                        </p:tgtEl>
                                        <p:attrNameLst>
                                          <p:attrName>style.visibility</p:attrName>
                                        </p:attrNameLst>
                                      </p:cBhvr>
                                      <p:to>
                                        <p:strVal val="visible"/>
                                      </p:to>
                                    </p:set>
                                    <p:animEffect filter="fade" transition="in">
                                      <p:cBhvr>
                                        <p:cTn dur="500" id="179"/>
                                        <p:tgtEl>
                                          <p:spTgt spid="16430"/>
                                        </p:tgtEl>
                                      </p:cBhvr>
                                    </p:animEffect>
                                  </p:childTnLst>
                                </p:cTn>
                              </p:par>
                            </p:childTnLst>
                          </p:cTn>
                        </p:par>
                        <p:par>
                          <p:cTn fill="hold" id="180" nodeType="afterGroup">
                            <p:stCondLst>
                              <p:cond delay="22000"/>
                            </p:stCondLst>
                            <p:childTnLst>
                              <p:par>
                                <p:cTn fill="hold" grpId="0" id="181" nodeType="afterEffect" presetClass="entr" presetID="10" presetSubtype="0">
                                  <p:stCondLst>
                                    <p:cond delay="0"/>
                                  </p:stCondLst>
                                  <p:childTnLst>
                                    <p:set>
                                      <p:cBhvr>
                                        <p:cTn dur="1" fill="hold" id="182">
                                          <p:stCondLst>
                                            <p:cond delay="0"/>
                                          </p:stCondLst>
                                        </p:cTn>
                                        <p:tgtEl>
                                          <p:spTgt spid="16431"/>
                                        </p:tgtEl>
                                        <p:attrNameLst>
                                          <p:attrName>style.visibility</p:attrName>
                                        </p:attrNameLst>
                                      </p:cBhvr>
                                      <p:to>
                                        <p:strVal val="visible"/>
                                      </p:to>
                                    </p:set>
                                    <p:animEffect filter="fade" transition="in">
                                      <p:cBhvr>
                                        <p:cTn dur="500" id="183"/>
                                        <p:tgtEl>
                                          <p:spTgt spid="16431"/>
                                        </p:tgtEl>
                                      </p:cBhvr>
                                    </p:animEffect>
                                  </p:childTnLst>
                                </p:cTn>
                              </p:par>
                            </p:childTnLst>
                          </p:cTn>
                        </p:par>
                        <p:par>
                          <p:cTn fill="hold" id="184" nodeType="afterGroup">
                            <p:stCondLst>
                              <p:cond delay="22500"/>
                            </p:stCondLst>
                            <p:childTnLst>
                              <p:par>
                                <p:cTn fill="hold" grpId="0" id="185" nodeType="afterEffect" presetClass="entr" presetID="10" presetSubtype="0">
                                  <p:stCondLst>
                                    <p:cond delay="0"/>
                                  </p:stCondLst>
                                  <p:childTnLst>
                                    <p:set>
                                      <p:cBhvr>
                                        <p:cTn dur="1" fill="hold" id="186">
                                          <p:stCondLst>
                                            <p:cond delay="0"/>
                                          </p:stCondLst>
                                        </p:cTn>
                                        <p:tgtEl>
                                          <p:spTgt spid="16432"/>
                                        </p:tgtEl>
                                        <p:attrNameLst>
                                          <p:attrName>style.visibility</p:attrName>
                                        </p:attrNameLst>
                                      </p:cBhvr>
                                      <p:to>
                                        <p:strVal val="visible"/>
                                      </p:to>
                                    </p:set>
                                    <p:animEffect filter="fade" transition="in">
                                      <p:cBhvr>
                                        <p:cTn dur="500" id="187"/>
                                        <p:tgtEl>
                                          <p:spTgt spid="16432"/>
                                        </p:tgtEl>
                                      </p:cBhvr>
                                    </p:animEffect>
                                  </p:childTnLst>
                                </p:cTn>
                              </p:par>
                            </p:childTnLst>
                          </p:cTn>
                        </p:par>
                        <p:par>
                          <p:cTn fill="hold" id="188" nodeType="afterGroup">
                            <p:stCondLst>
                              <p:cond delay="23000"/>
                            </p:stCondLst>
                            <p:childTnLst>
                              <p:par>
                                <p:cTn fill="hold" grpId="0" id="189" nodeType="afterEffect" presetClass="entr" presetID="10" presetSubtype="0">
                                  <p:stCondLst>
                                    <p:cond delay="0"/>
                                  </p:stCondLst>
                                  <p:childTnLst>
                                    <p:set>
                                      <p:cBhvr>
                                        <p:cTn dur="1" fill="hold" id="190">
                                          <p:stCondLst>
                                            <p:cond delay="0"/>
                                          </p:stCondLst>
                                        </p:cTn>
                                        <p:tgtEl>
                                          <p:spTgt spid="16433"/>
                                        </p:tgtEl>
                                        <p:attrNameLst>
                                          <p:attrName>style.visibility</p:attrName>
                                        </p:attrNameLst>
                                      </p:cBhvr>
                                      <p:to>
                                        <p:strVal val="visible"/>
                                      </p:to>
                                    </p:set>
                                    <p:animEffect filter="fade" transition="in">
                                      <p:cBhvr>
                                        <p:cTn dur="500" id="191"/>
                                        <p:tgtEl>
                                          <p:spTgt spid="16433"/>
                                        </p:tgtEl>
                                      </p:cBhvr>
                                    </p:animEffect>
                                  </p:childTnLst>
                                </p:cTn>
                              </p:par>
                            </p:childTnLst>
                          </p:cTn>
                        </p:par>
                        <p:par>
                          <p:cTn fill="hold" id="192" nodeType="afterGroup">
                            <p:stCondLst>
                              <p:cond delay="23500"/>
                            </p:stCondLst>
                            <p:childTnLst>
                              <p:par>
                                <p:cTn fill="hold" grpId="0" id="193" nodeType="afterEffect" presetClass="entr" presetID="10" presetSubtype="0">
                                  <p:stCondLst>
                                    <p:cond delay="0"/>
                                  </p:stCondLst>
                                  <p:childTnLst>
                                    <p:set>
                                      <p:cBhvr>
                                        <p:cTn dur="1" fill="hold" id="194">
                                          <p:stCondLst>
                                            <p:cond delay="0"/>
                                          </p:stCondLst>
                                        </p:cTn>
                                        <p:tgtEl>
                                          <p:spTgt spid="16434"/>
                                        </p:tgtEl>
                                        <p:attrNameLst>
                                          <p:attrName>style.visibility</p:attrName>
                                        </p:attrNameLst>
                                      </p:cBhvr>
                                      <p:to>
                                        <p:strVal val="visible"/>
                                      </p:to>
                                    </p:set>
                                    <p:animEffect filter="fade" transition="in">
                                      <p:cBhvr>
                                        <p:cTn dur="500" id="195"/>
                                        <p:tgtEl>
                                          <p:spTgt spid="16434"/>
                                        </p:tgtEl>
                                      </p:cBhvr>
                                    </p:animEffect>
                                  </p:childTnLst>
                                </p:cTn>
                              </p:par>
                            </p:childTnLst>
                          </p:cTn>
                        </p:par>
                        <p:par>
                          <p:cTn fill="hold" id="196" nodeType="afterGroup">
                            <p:stCondLst>
                              <p:cond delay="24000"/>
                            </p:stCondLst>
                            <p:childTnLst>
                              <p:par>
                                <p:cTn fill="hold" grpId="0" id="197" nodeType="afterEffect" presetClass="entr" presetID="10" presetSubtype="0">
                                  <p:stCondLst>
                                    <p:cond delay="0"/>
                                  </p:stCondLst>
                                  <p:childTnLst>
                                    <p:set>
                                      <p:cBhvr>
                                        <p:cTn dur="1" fill="hold" id="198">
                                          <p:stCondLst>
                                            <p:cond delay="0"/>
                                          </p:stCondLst>
                                        </p:cTn>
                                        <p:tgtEl>
                                          <p:spTgt spid="16435"/>
                                        </p:tgtEl>
                                        <p:attrNameLst>
                                          <p:attrName>style.visibility</p:attrName>
                                        </p:attrNameLst>
                                      </p:cBhvr>
                                      <p:to>
                                        <p:strVal val="visible"/>
                                      </p:to>
                                    </p:set>
                                    <p:animEffect filter="fade" transition="in">
                                      <p:cBhvr>
                                        <p:cTn dur="500" id="199"/>
                                        <p:tgtEl>
                                          <p:spTgt spid="16435"/>
                                        </p:tgtEl>
                                      </p:cBhvr>
                                    </p:animEffect>
                                  </p:childTnLst>
                                </p:cTn>
                              </p:par>
                            </p:childTnLst>
                          </p:cTn>
                        </p:par>
                        <p:par>
                          <p:cTn fill="hold" id="200" nodeType="afterGroup">
                            <p:stCondLst>
                              <p:cond delay="24500"/>
                            </p:stCondLst>
                            <p:childTnLst>
                              <p:par>
                                <p:cTn fill="hold" grpId="0" id="201" nodeType="afterEffect" presetClass="entr" presetID="10" presetSubtype="0">
                                  <p:stCondLst>
                                    <p:cond delay="0"/>
                                  </p:stCondLst>
                                  <p:childTnLst>
                                    <p:set>
                                      <p:cBhvr>
                                        <p:cTn dur="1" fill="hold" id="202">
                                          <p:stCondLst>
                                            <p:cond delay="0"/>
                                          </p:stCondLst>
                                        </p:cTn>
                                        <p:tgtEl>
                                          <p:spTgt spid="16436"/>
                                        </p:tgtEl>
                                        <p:attrNameLst>
                                          <p:attrName>style.visibility</p:attrName>
                                        </p:attrNameLst>
                                      </p:cBhvr>
                                      <p:to>
                                        <p:strVal val="visible"/>
                                      </p:to>
                                    </p:set>
                                    <p:animEffect filter="fade" transition="in">
                                      <p:cBhvr>
                                        <p:cTn dur="500" id="203"/>
                                        <p:tgtEl>
                                          <p:spTgt spid="16436"/>
                                        </p:tgtEl>
                                      </p:cBhvr>
                                    </p:animEffect>
                                  </p:childTnLst>
                                </p:cTn>
                              </p:par>
                            </p:childTnLst>
                          </p:cTn>
                        </p:par>
                        <p:par>
                          <p:cTn fill="hold" id="204" nodeType="afterGroup">
                            <p:stCondLst>
                              <p:cond delay="25000"/>
                            </p:stCondLst>
                            <p:childTnLst>
                              <p:par>
                                <p:cTn fill="hold" grpId="0" id="205" nodeType="afterEffect" presetClass="entr" presetID="10" presetSubtype="0">
                                  <p:stCondLst>
                                    <p:cond delay="0"/>
                                  </p:stCondLst>
                                  <p:childTnLst>
                                    <p:set>
                                      <p:cBhvr>
                                        <p:cTn dur="1" fill="hold" id="206">
                                          <p:stCondLst>
                                            <p:cond delay="0"/>
                                          </p:stCondLst>
                                        </p:cTn>
                                        <p:tgtEl>
                                          <p:spTgt spid="16437"/>
                                        </p:tgtEl>
                                        <p:attrNameLst>
                                          <p:attrName>style.visibility</p:attrName>
                                        </p:attrNameLst>
                                      </p:cBhvr>
                                      <p:to>
                                        <p:strVal val="visible"/>
                                      </p:to>
                                    </p:set>
                                    <p:animEffect filter="fade" transition="in">
                                      <p:cBhvr>
                                        <p:cTn dur="500" id="207"/>
                                        <p:tgtEl>
                                          <p:spTgt spid="16437"/>
                                        </p:tgtEl>
                                      </p:cBhvr>
                                    </p:animEffect>
                                  </p:childTnLst>
                                </p:cTn>
                              </p:par>
                            </p:childTnLst>
                          </p:cTn>
                        </p:par>
                        <p:par>
                          <p:cTn fill="hold" id="208" nodeType="afterGroup">
                            <p:stCondLst>
                              <p:cond delay="25500"/>
                            </p:stCondLst>
                            <p:childTnLst>
                              <p:par>
                                <p:cTn fill="hold" grpId="0" id="209" nodeType="afterEffect" presetClass="entr" presetID="10" presetSubtype="0">
                                  <p:stCondLst>
                                    <p:cond delay="0"/>
                                  </p:stCondLst>
                                  <p:childTnLst>
                                    <p:set>
                                      <p:cBhvr>
                                        <p:cTn dur="1" fill="hold" id="210">
                                          <p:stCondLst>
                                            <p:cond delay="0"/>
                                          </p:stCondLst>
                                        </p:cTn>
                                        <p:tgtEl>
                                          <p:spTgt spid="16438"/>
                                        </p:tgtEl>
                                        <p:attrNameLst>
                                          <p:attrName>style.visibility</p:attrName>
                                        </p:attrNameLst>
                                      </p:cBhvr>
                                      <p:to>
                                        <p:strVal val="visible"/>
                                      </p:to>
                                    </p:set>
                                    <p:animEffect filter="fade" transition="in">
                                      <p:cBhvr>
                                        <p:cTn dur="500" id="211"/>
                                        <p:tgtEl>
                                          <p:spTgt spid="16438"/>
                                        </p:tgtEl>
                                      </p:cBhvr>
                                    </p:animEffect>
                                  </p:childTnLst>
                                </p:cTn>
                              </p:par>
                            </p:childTnLst>
                          </p:cTn>
                        </p:par>
                        <p:par>
                          <p:cTn fill="hold" id="212" nodeType="afterGroup">
                            <p:stCondLst>
                              <p:cond delay="26000"/>
                            </p:stCondLst>
                            <p:childTnLst>
                              <p:par>
                                <p:cTn fill="hold" grpId="0" id="213" nodeType="afterEffect" presetClass="entr" presetID="10" presetSubtype="0">
                                  <p:stCondLst>
                                    <p:cond delay="0"/>
                                  </p:stCondLst>
                                  <p:childTnLst>
                                    <p:set>
                                      <p:cBhvr>
                                        <p:cTn dur="1" fill="hold" id="214">
                                          <p:stCondLst>
                                            <p:cond delay="0"/>
                                          </p:stCondLst>
                                        </p:cTn>
                                        <p:tgtEl>
                                          <p:spTgt spid="16439"/>
                                        </p:tgtEl>
                                        <p:attrNameLst>
                                          <p:attrName>style.visibility</p:attrName>
                                        </p:attrNameLst>
                                      </p:cBhvr>
                                      <p:to>
                                        <p:strVal val="visible"/>
                                      </p:to>
                                    </p:set>
                                    <p:animEffect filter="fade" transition="in">
                                      <p:cBhvr>
                                        <p:cTn dur="500" id="215"/>
                                        <p:tgtEl>
                                          <p:spTgt spid="16439"/>
                                        </p:tgtEl>
                                      </p:cBhvr>
                                    </p:animEffect>
                                  </p:childTnLst>
                                </p:cTn>
                              </p:par>
                            </p:childTnLst>
                          </p:cTn>
                        </p:par>
                        <p:par>
                          <p:cTn fill="hold" id="216" nodeType="afterGroup">
                            <p:stCondLst>
                              <p:cond delay="26500"/>
                            </p:stCondLst>
                            <p:childTnLst>
                              <p:par>
                                <p:cTn fill="hold" grpId="0" id="217" nodeType="afterEffect" presetClass="entr" presetID="10" presetSubtype="0">
                                  <p:stCondLst>
                                    <p:cond delay="0"/>
                                  </p:stCondLst>
                                  <p:childTnLst>
                                    <p:set>
                                      <p:cBhvr>
                                        <p:cTn dur="1" fill="hold" id="218">
                                          <p:stCondLst>
                                            <p:cond delay="0"/>
                                          </p:stCondLst>
                                        </p:cTn>
                                        <p:tgtEl>
                                          <p:spTgt spid="16440"/>
                                        </p:tgtEl>
                                        <p:attrNameLst>
                                          <p:attrName>style.visibility</p:attrName>
                                        </p:attrNameLst>
                                      </p:cBhvr>
                                      <p:to>
                                        <p:strVal val="visible"/>
                                      </p:to>
                                    </p:set>
                                    <p:animEffect filter="fade" transition="in">
                                      <p:cBhvr>
                                        <p:cTn dur="500" id="219"/>
                                        <p:tgtEl>
                                          <p:spTgt spid="16440"/>
                                        </p:tgtEl>
                                      </p:cBhvr>
                                    </p:animEffect>
                                  </p:childTnLst>
                                </p:cTn>
                              </p:par>
                            </p:childTnLst>
                          </p:cTn>
                        </p:par>
                        <p:par>
                          <p:cTn fill="hold" id="220" nodeType="afterGroup">
                            <p:stCondLst>
                              <p:cond delay="27000"/>
                            </p:stCondLst>
                            <p:childTnLst>
                              <p:par>
                                <p:cTn fill="hold" grpId="0" id="221" nodeType="afterEffect" presetClass="entr" presetID="10" presetSubtype="0">
                                  <p:stCondLst>
                                    <p:cond delay="0"/>
                                  </p:stCondLst>
                                  <p:childTnLst>
                                    <p:set>
                                      <p:cBhvr>
                                        <p:cTn dur="1" fill="hold" id="222">
                                          <p:stCondLst>
                                            <p:cond delay="0"/>
                                          </p:stCondLst>
                                        </p:cTn>
                                        <p:tgtEl>
                                          <p:spTgt spid="16441"/>
                                        </p:tgtEl>
                                        <p:attrNameLst>
                                          <p:attrName>style.visibility</p:attrName>
                                        </p:attrNameLst>
                                      </p:cBhvr>
                                      <p:to>
                                        <p:strVal val="visible"/>
                                      </p:to>
                                    </p:set>
                                    <p:animEffect filter="fade" transition="in">
                                      <p:cBhvr>
                                        <p:cTn dur="500" id="223"/>
                                        <p:tgtEl>
                                          <p:spTgt spid="16441"/>
                                        </p:tgtEl>
                                      </p:cBhvr>
                                    </p:animEffect>
                                  </p:childTnLst>
                                </p:cTn>
                              </p:par>
                            </p:childTnLst>
                          </p:cTn>
                        </p:par>
                        <p:par>
                          <p:cTn fill="hold" id="224" nodeType="afterGroup">
                            <p:stCondLst>
                              <p:cond delay="27500"/>
                            </p:stCondLst>
                            <p:childTnLst>
                              <p:par>
                                <p:cTn fill="hold" grpId="0" id="225" nodeType="afterEffect" presetClass="entr" presetID="10" presetSubtype="0">
                                  <p:stCondLst>
                                    <p:cond delay="0"/>
                                  </p:stCondLst>
                                  <p:childTnLst>
                                    <p:set>
                                      <p:cBhvr>
                                        <p:cTn dur="1" fill="hold" id="226">
                                          <p:stCondLst>
                                            <p:cond delay="0"/>
                                          </p:stCondLst>
                                        </p:cTn>
                                        <p:tgtEl>
                                          <p:spTgt spid="16442"/>
                                        </p:tgtEl>
                                        <p:attrNameLst>
                                          <p:attrName>style.visibility</p:attrName>
                                        </p:attrNameLst>
                                      </p:cBhvr>
                                      <p:to>
                                        <p:strVal val="visible"/>
                                      </p:to>
                                    </p:set>
                                    <p:animEffect filter="fade" transition="in">
                                      <p:cBhvr>
                                        <p:cTn dur="500" id="227"/>
                                        <p:tgtEl>
                                          <p:spTgt spid="16442"/>
                                        </p:tgtEl>
                                      </p:cBhvr>
                                    </p:animEffect>
                                  </p:childTnLst>
                                </p:cTn>
                              </p:par>
                            </p:childTnLst>
                          </p:cTn>
                        </p:par>
                        <p:par>
                          <p:cTn fill="hold" id="228" nodeType="afterGroup">
                            <p:stCondLst>
                              <p:cond delay="28000"/>
                            </p:stCondLst>
                            <p:childTnLst>
                              <p:par>
                                <p:cTn fill="hold" grpId="0" id="229" nodeType="afterEffect" presetClass="entr" presetID="10" presetSubtype="0">
                                  <p:stCondLst>
                                    <p:cond delay="0"/>
                                  </p:stCondLst>
                                  <p:childTnLst>
                                    <p:set>
                                      <p:cBhvr>
                                        <p:cTn dur="1" fill="hold" id="230">
                                          <p:stCondLst>
                                            <p:cond delay="0"/>
                                          </p:stCondLst>
                                        </p:cTn>
                                        <p:tgtEl>
                                          <p:spTgt spid="16443"/>
                                        </p:tgtEl>
                                        <p:attrNameLst>
                                          <p:attrName>style.visibility</p:attrName>
                                        </p:attrNameLst>
                                      </p:cBhvr>
                                      <p:to>
                                        <p:strVal val="visible"/>
                                      </p:to>
                                    </p:set>
                                    <p:animEffect filter="fade" transition="in">
                                      <p:cBhvr>
                                        <p:cTn dur="500" id="231"/>
                                        <p:tgtEl>
                                          <p:spTgt spid="16443"/>
                                        </p:tgtEl>
                                      </p:cBhvr>
                                    </p:animEffect>
                                  </p:childTnLst>
                                </p:cTn>
                              </p:par>
                            </p:childTnLst>
                          </p:cTn>
                        </p:par>
                        <p:par>
                          <p:cTn fill="hold" id="232" nodeType="afterGroup">
                            <p:stCondLst>
                              <p:cond delay="28500"/>
                            </p:stCondLst>
                            <p:childTnLst>
                              <p:par>
                                <p:cTn fill="hold" grpId="0" id="233" nodeType="afterEffect" presetClass="entr" presetID="10" presetSubtype="0">
                                  <p:stCondLst>
                                    <p:cond delay="0"/>
                                  </p:stCondLst>
                                  <p:childTnLst>
                                    <p:set>
                                      <p:cBhvr>
                                        <p:cTn dur="1" fill="hold" id="234">
                                          <p:stCondLst>
                                            <p:cond delay="0"/>
                                          </p:stCondLst>
                                        </p:cTn>
                                        <p:tgtEl>
                                          <p:spTgt spid="16444"/>
                                        </p:tgtEl>
                                        <p:attrNameLst>
                                          <p:attrName>style.visibility</p:attrName>
                                        </p:attrNameLst>
                                      </p:cBhvr>
                                      <p:to>
                                        <p:strVal val="visible"/>
                                      </p:to>
                                    </p:set>
                                    <p:animEffect filter="fade" transition="in">
                                      <p:cBhvr>
                                        <p:cTn dur="500" id="235"/>
                                        <p:tgtEl>
                                          <p:spTgt spid="16444"/>
                                        </p:tgtEl>
                                      </p:cBhvr>
                                    </p:animEffect>
                                  </p:childTnLst>
                                </p:cTn>
                              </p:par>
                            </p:childTnLst>
                          </p:cTn>
                        </p:par>
                        <p:par>
                          <p:cTn fill="hold" id="236" nodeType="afterGroup">
                            <p:stCondLst>
                              <p:cond delay="29000"/>
                            </p:stCondLst>
                            <p:childTnLst>
                              <p:par>
                                <p:cTn fill="hold" grpId="0" id="237" nodeType="afterEffect" presetClass="entr" presetID="10" presetSubtype="0">
                                  <p:stCondLst>
                                    <p:cond delay="0"/>
                                  </p:stCondLst>
                                  <p:childTnLst>
                                    <p:set>
                                      <p:cBhvr>
                                        <p:cTn dur="1" fill="hold" id="238">
                                          <p:stCondLst>
                                            <p:cond delay="0"/>
                                          </p:stCondLst>
                                        </p:cTn>
                                        <p:tgtEl>
                                          <p:spTgt spid="16445"/>
                                        </p:tgtEl>
                                        <p:attrNameLst>
                                          <p:attrName>style.visibility</p:attrName>
                                        </p:attrNameLst>
                                      </p:cBhvr>
                                      <p:to>
                                        <p:strVal val="visible"/>
                                      </p:to>
                                    </p:set>
                                    <p:animEffect filter="fade" transition="in">
                                      <p:cBhvr>
                                        <p:cTn dur="500" id="239"/>
                                        <p:tgtEl>
                                          <p:spTgt spid="16445"/>
                                        </p:tgtEl>
                                      </p:cBhvr>
                                    </p:animEffect>
                                  </p:childTnLst>
                                </p:cTn>
                              </p:par>
                            </p:childTnLst>
                          </p:cTn>
                        </p:par>
                        <p:par>
                          <p:cTn fill="hold" id="240" nodeType="afterGroup">
                            <p:stCondLst>
                              <p:cond delay="29500"/>
                            </p:stCondLst>
                            <p:childTnLst>
                              <p:par>
                                <p:cTn fill="hold" grpId="0" id="241" nodeType="afterEffect" presetClass="entr" presetID="10" presetSubtype="0">
                                  <p:stCondLst>
                                    <p:cond delay="0"/>
                                  </p:stCondLst>
                                  <p:childTnLst>
                                    <p:set>
                                      <p:cBhvr>
                                        <p:cTn dur="1" fill="hold" id="242">
                                          <p:stCondLst>
                                            <p:cond delay="0"/>
                                          </p:stCondLst>
                                        </p:cTn>
                                        <p:tgtEl>
                                          <p:spTgt spid="16446"/>
                                        </p:tgtEl>
                                        <p:attrNameLst>
                                          <p:attrName>style.visibility</p:attrName>
                                        </p:attrNameLst>
                                      </p:cBhvr>
                                      <p:to>
                                        <p:strVal val="visible"/>
                                      </p:to>
                                    </p:set>
                                    <p:animEffect filter="fade" transition="in">
                                      <p:cBhvr>
                                        <p:cTn dur="500" id="243"/>
                                        <p:tgtEl>
                                          <p:spTgt spid="16446"/>
                                        </p:tgtEl>
                                      </p:cBhvr>
                                    </p:animEffect>
                                  </p:childTnLst>
                                </p:cTn>
                              </p:par>
                            </p:childTnLst>
                          </p:cTn>
                        </p:par>
                        <p:par>
                          <p:cTn fill="hold" id="244" nodeType="afterGroup">
                            <p:stCondLst>
                              <p:cond delay="30000"/>
                            </p:stCondLst>
                            <p:childTnLst>
                              <p:par>
                                <p:cTn fill="hold" grpId="0" id="245" nodeType="afterEffect" presetClass="entr" presetID="10" presetSubtype="0">
                                  <p:stCondLst>
                                    <p:cond delay="0"/>
                                  </p:stCondLst>
                                  <p:childTnLst>
                                    <p:set>
                                      <p:cBhvr>
                                        <p:cTn dur="1" fill="hold" id="246">
                                          <p:stCondLst>
                                            <p:cond delay="0"/>
                                          </p:stCondLst>
                                        </p:cTn>
                                        <p:tgtEl>
                                          <p:spTgt spid="16447"/>
                                        </p:tgtEl>
                                        <p:attrNameLst>
                                          <p:attrName>style.visibility</p:attrName>
                                        </p:attrNameLst>
                                      </p:cBhvr>
                                      <p:to>
                                        <p:strVal val="visible"/>
                                      </p:to>
                                    </p:set>
                                    <p:animEffect filter="fade" transition="in">
                                      <p:cBhvr>
                                        <p:cTn dur="500" id="247"/>
                                        <p:tgtEl>
                                          <p:spTgt spid="16447"/>
                                        </p:tgtEl>
                                      </p:cBhvr>
                                    </p:animEffect>
                                  </p:childTnLst>
                                </p:cTn>
                              </p:par>
                            </p:childTnLst>
                          </p:cTn>
                        </p:par>
                        <p:par>
                          <p:cTn fill="hold" id="248" nodeType="afterGroup">
                            <p:stCondLst>
                              <p:cond delay="30500"/>
                            </p:stCondLst>
                            <p:childTnLst>
                              <p:par>
                                <p:cTn fill="hold" grpId="0" id="249" nodeType="afterEffect" presetClass="entr" presetID="10" presetSubtype="0">
                                  <p:stCondLst>
                                    <p:cond delay="0"/>
                                  </p:stCondLst>
                                  <p:childTnLst>
                                    <p:set>
                                      <p:cBhvr>
                                        <p:cTn dur="1" fill="hold" id="250">
                                          <p:stCondLst>
                                            <p:cond delay="0"/>
                                          </p:stCondLst>
                                        </p:cTn>
                                        <p:tgtEl>
                                          <p:spTgt spid="16448"/>
                                        </p:tgtEl>
                                        <p:attrNameLst>
                                          <p:attrName>style.visibility</p:attrName>
                                        </p:attrNameLst>
                                      </p:cBhvr>
                                      <p:to>
                                        <p:strVal val="visible"/>
                                      </p:to>
                                    </p:set>
                                    <p:animEffect filter="fade" transition="in">
                                      <p:cBhvr>
                                        <p:cTn dur="500" id="251"/>
                                        <p:tgtEl>
                                          <p:spTgt spid="16448"/>
                                        </p:tgtEl>
                                      </p:cBhvr>
                                    </p:animEffect>
                                  </p:childTnLst>
                                </p:cTn>
                              </p:par>
                            </p:childTnLst>
                          </p:cTn>
                        </p:par>
                        <p:par>
                          <p:cTn fill="hold" id="252" nodeType="afterGroup">
                            <p:stCondLst>
                              <p:cond delay="31000"/>
                            </p:stCondLst>
                            <p:childTnLst>
                              <p:par>
                                <p:cTn fill="hold" grpId="0" id="253" nodeType="afterEffect" presetClass="entr" presetID="10" presetSubtype="0">
                                  <p:stCondLst>
                                    <p:cond delay="0"/>
                                  </p:stCondLst>
                                  <p:childTnLst>
                                    <p:set>
                                      <p:cBhvr>
                                        <p:cTn dur="1" fill="hold" id="254">
                                          <p:stCondLst>
                                            <p:cond delay="0"/>
                                          </p:stCondLst>
                                        </p:cTn>
                                        <p:tgtEl>
                                          <p:spTgt spid="16449"/>
                                        </p:tgtEl>
                                        <p:attrNameLst>
                                          <p:attrName>style.visibility</p:attrName>
                                        </p:attrNameLst>
                                      </p:cBhvr>
                                      <p:to>
                                        <p:strVal val="visible"/>
                                      </p:to>
                                    </p:set>
                                    <p:animEffect filter="fade" transition="in">
                                      <p:cBhvr>
                                        <p:cTn dur="500" id="255"/>
                                        <p:tgtEl>
                                          <p:spTgt spid="16449"/>
                                        </p:tgtEl>
                                      </p:cBhvr>
                                    </p:animEffect>
                                  </p:childTnLst>
                                </p:cTn>
                              </p:par>
                            </p:childTnLst>
                          </p:cTn>
                        </p:par>
                        <p:par>
                          <p:cTn fill="hold" id="256" nodeType="afterGroup">
                            <p:stCondLst>
                              <p:cond delay="31500"/>
                            </p:stCondLst>
                            <p:childTnLst>
                              <p:par>
                                <p:cTn fill="hold" grpId="0" id="257" nodeType="afterEffect" presetClass="entr" presetID="10" presetSubtype="0">
                                  <p:stCondLst>
                                    <p:cond delay="0"/>
                                  </p:stCondLst>
                                  <p:childTnLst>
                                    <p:set>
                                      <p:cBhvr>
                                        <p:cTn dur="1" fill="hold" id="258">
                                          <p:stCondLst>
                                            <p:cond delay="0"/>
                                          </p:stCondLst>
                                        </p:cTn>
                                        <p:tgtEl>
                                          <p:spTgt spid="16450"/>
                                        </p:tgtEl>
                                        <p:attrNameLst>
                                          <p:attrName>style.visibility</p:attrName>
                                        </p:attrNameLst>
                                      </p:cBhvr>
                                      <p:to>
                                        <p:strVal val="visible"/>
                                      </p:to>
                                    </p:set>
                                    <p:animEffect filter="fade" transition="in">
                                      <p:cBhvr>
                                        <p:cTn dur="500" id="259"/>
                                        <p:tgtEl>
                                          <p:spTgt spid="16450"/>
                                        </p:tgtEl>
                                      </p:cBhvr>
                                    </p:animEffect>
                                  </p:childTnLst>
                                </p:cTn>
                              </p:par>
                            </p:childTnLst>
                          </p:cTn>
                        </p:par>
                        <p:par>
                          <p:cTn fill="hold" id="260" nodeType="afterGroup">
                            <p:stCondLst>
                              <p:cond delay="32000"/>
                            </p:stCondLst>
                            <p:childTnLst>
                              <p:par>
                                <p:cTn fill="hold" grpId="0" id="261" nodeType="afterEffect" presetClass="entr" presetID="10" presetSubtype="0">
                                  <p:stCondLst>
                                    <p:cond delay="0"/>
                                  </p:stCondLst>
                                  <p:childTnLst>
                                    <p:set>
                                      <p:cBhvr>
                                        <p:cTn dur="1" fill="hold" id="262">
                                          <p:stCondLst>
                                            <p:cond delay="0"/>
                                          </p:stCondLst>
                                        </p:cTn>
                                        <p:tgtEl>
                                          <p:spTgt spid="16451"/>
                                        </p:tgtEl>
                                        <p:attrNameLst>
                                          <p:attrName>style.visibility</p:attrName>
                                        </p:attrNameLst>
                                      </p:cBhvr>
                                      <p:to>
                                        <p:strVal val="visible"/>
                                      </p:to>
                                    </p:set>
                                    <p:animEffect filter="fade" transition="in">
                                      <p:cBhvr>
                                        <p:cTn dur="500" id="263"/>
                                        <p:tgtEl>
                                          <p:spTgt spid="16451"/>
                                        </p:tgtEl>
                                      </p:cBhvr>
                                    </p:animEffect>
                                  </p:childTnLst>
                                </p:cTn>
                              </p:par>
                            </p:childTnLst>
                          </p:cTn>
                        </p:par>
                        <p:par>
                          <p:cTn fill="hold" id="264" nodeType="afterGroup">
                            <p:stCondLst>
                              <p:cond delay="32500"/>
                            </p:stCondLst>
                            <p:childTnLst>
                              <p:par>
                                <p:cTn fill="hold" grpId="0" id="265" nodeType="afterEffect" presetClass="entr" presetID="10" presetSubtype="0">
                                  <p:stCondLst>
                                    <p:cond delay="0"/>
                                  </p:stCondLst>
                                  <p:childTnLst>
                                    <p:set>
                                      <p:cBhvr>
                                        <p:cTn dur="1" fill="hold" id="266">
                                          <p:stCondLst>
                                            <p:cond delay="0"/>
                                          </p:stCondLst>
                                        </p:cTn>
                                        <p:tgtEl>
                                          <p:spTgt spid="16452"/>
                                        </p:tgtEl>
                                        <p:attrNameLst>
                                          <p:attrName>style.visibility</p:attrName>
                                        </p:attrNameLst>
                                      </p:cBhvr>
                                      <p:to>
                                        <p:strVal val="visible"/>
                                      </p:to>
                                    </p:set>
                                    <p:animEffect filter="fade" transition="in">
                                      <p:cBhvr>
                                        <p:cTn dur="500" id="267"/>
                                        <p:tgtEl>
                                          <p:spTgt spid="16452"/>
                                        </p:tgtEl>
                                      </p:cBhvr>
                                    </p:animEffect>
                                  </p:childTnLst>
                                </p:cTn>
                              </p:par>
                            </p:childTnLst>
                          </p:cTn>
                        </p:par>
                        <p:par>
                          <p:cTn fill="hold" id="268" nodeType="afterGroup">
                            <p:stCondLst>
                              <p:cond delay="33000"/>
                            </p:stCondLst>
                            <p:childTnLst>
                              <p:par>
                                <p:cTn fill="hold" grpId="0" id="269" nodeType="afterEffect" presetClass="entr" presetID="10" presetSubtype="0">
                                  <p:stCondLst>
                                    <p:cond delay="0"/>
                                  </p:stCondLst>
                                  <p:childTnLst>
                                    <p:set>
                                      <p:cBhvr>
                                        <p:cTn dur="1" fill="hold" id="270">
                                          <p:stCondLst>
                                            <p:cond delay="0"/>
                                          </p:stCondLst>
                                        </p:cTn>
                                        <p:tgtEl>
                                          <p:spTgt spid="16453"/>
                                        </p:tgtEl>
                                        <p:attrNameLst>
                                          <p:attrName>style.visibility</p:attrName>
                                        </p:attrNameLst>
                                      </p:cBhvr>
                                      <p:to>
                                        <p:strVal val="visible"/>
                                      </p:to>
                                    </p:set>
                                    <p:animEffect filter="fade" transition="in">
                                      <p:cBhvr>
                                        <p:cTn dur="500" id="271"/>
                                        <p:tgtEl>
                                          <p:spTgt spid="16453"/>
                                        </p:tgtEl>
                                      </p:cBhvr>
                                    </p:animEffect>
                                  </p:childTnLst>
                                </p:cTn>
                              </p:par>
                            </p:childTnLst>
                          </p:cTn>
                        </p:par>
                        <p:par>
                          <p:cTn fill="hold" id="272" nodeType="afterGroup">
                            <p:stCondLst>
                              <p:cond delay="33500"/>
                            </p:stCondLst>
                            <p:childTnLst>
                              <p:par>
                                <p:cTn fill="hold" grpId="0" id="273" nodeType="afterEffect" presetClass="entr" presetID="10" presetSubtype="0">
                                  <p:stCondLst>
                                    <p:cond delay="0"/>
                                  </p:stCondLst>
                                  <p:childTnLst>
                                    <p:set>
                                      <p:cBhvr>
                                        <p:cTn dur="1" fill="hold" id="274">
                                          <p:stCondLst>
                                            <p:cond delay="0"/>
                                          </p:stCondLst>
                                        </p:cTn>
                                        <p:tgtEl>
                                          <p:spTgt spid="16454"/>
                                        </p:tgtEl>
                                        <p:attrNameLst>
                                          <p:attrName>style.visibility</p:attrName>
                                        </p:attrNameLst>
                                      </p:cBhvr>
                                      <p:to>
                                        <p:strVal val="visible"/>
                                      </p:to>
                                    </p:set>
                                    <p:animEffect filter="fade" transition="in">
                                      <p:cBhvr>
                                        <p:cTn dur="500" id="275"/>
                                        <p:tgtEl>
                                          <p:spTgt spid="16454"/>
                                        </p:tgtEl>
                                      </p:cBhvr>
                                    </p:animEffect>
                                  </p:childTnLst>
                                </p:cTn>
                              </p:par>
                            </p:childTnLst>
                          </p:cTn>
                        </p:par>
                        <p:par>
                          <p:cTn fill="hold" id="276" nodeType="afterGroup">
                            <p:stCondLst>
                              <p:cond delay="34000"/>
                            </p:stCondLst>
                            <p:childTnLst>
                              <p:par>
                                <p:cTn fill="hold" grpId="0" id="277" nodeType="afterEffect" presetClass="entr" presetID="10" presetSubtype="0">
                                  <p:stCondLst>
                                    <p:cond delay="0"/>
                                  </p:stCondLst>
                                  <p:childTnLst>
                                    <p:set>
                                      <p:cBhvr>
                                        <p:cTn dur="1" fill="hold" id="278">
                                          <p:stCondLst>
                                            <p:cond delay="0"/>
                                          </p:stCondLst>
                                        </p:cTn>
                                        <p:tgtEl>
                                          <p:spTgt spid="16455"/>
                                        </p:tgtEl>
                                        <p:attrNameLst>
                                          <p:attrName>style.visibility</p:attrName>
                                        </p:attrNameLst>
                                      </p:cBhvr>
                                      <p:to>
                                        <p:strVal val="visible"/>
                                      </p:to>
                                    </p:set>
                                    <p:animEffect filter="fade" transition="in">
                                      <p:cBhvr>
                                        <p:cTn dur="500" id="279"/>
                                        <p:tgtEl>
                                          <p:spTgt spid="16455"/>
                                        </p:tgtEl>
                                      </p:cBhvr>
                                    </p:animEffect>
                                  </p:childTnLst>
                                </p:cTn>
                              </p:par>
                            </p:childTnLst>
                          </p:cTn>
                        </p:par>
                        <p:par>
                          <p:cTn fill="hold" id="280" nodeType="afterGroup">
                            <p:stCondLst>
                              <p:cond delay="34500"/>
                            </p:stCondLst>
                            <p:childTnLst>
                              <p:par>
                                <p:cTn fill="hold" grpId="0" id="281" nodeType="afterEffect" presetClass="entr" presetID="10" presetSubtype="0">
                                  <p:stCondLst>
                                    <p:cond delay="0"/>
                                  </p:stCondLst>
                                  <p:childTnLst>
                                    <p:set>
                                      <p:cBhvr>
                                        <p:cTn dur="1" fill="hold" id="282">
                                          <p:stCondLst>
                                            <p:cond delay="0"/>
                                          </p:stCondLst>
                                        </p:cTn>
                                        <p:tgtEl>
                                          <p:spTgt spid="16456"/>
                                        </p:tgtEl>
                                        <p:attrNameLst>
                                          <p:attrName>style.visibility</p:attrName>
                                        </p:attrNameLst>
                                      </p:cBhvr>
                                      <p:to>
                                        <p:strVal val="visible"/>
                                      </p:to>
                                    </p:set>
                                    <p:animEffect filter="fade" transition="in">
                                      <p:cBhvr>
                                        <p:cTn dur="500" id="283"/>
                                        <p:tgtEl>
                                          <p:spTgt spid="16456"/>
                                        </p:tgtEl>
                                      </p:cBhvr>
                                    </p:animEffect>
                                  </p:childTnLst>
                                </p:cTn>
                              </p:par>
                            </p:childTnLst>
                          </p:cTn>
                        </p:par>
                        <p:par>
                          <p:cTn fill="hold" id="284" nodeType="afterGroup">
                            <p:stCondLst>
                              <p:cond delay="35000"/>
                            </p:stCondLst>
                            <p:childTnLst>
                              <p:par>
                                <p:cTn fill="hold" grpId="0" id="285" nodeType="afterEffect" presetClass="entr" presetID="10" presetSubtype="0">
                                  <p:stCondLst>
                                    <p:cond delay="0"/>
                                  </p:stCondLst>
                                  <p:childTnLst>
                                    <p:set>
                                      <p:cBhvr>
                                        <p:cTn dur="1" fill="hold" id="286">
                                          <p:stCondLst>
                                            <p:cond delay="0"/>
                                          </p:stCondLst>
                                        </p:cTn>
                                        <p:tgtEl>
                                          <p:spTgt spid="16457"/>
                                        </p:tgtEl>
                                        <p:attrNameLst>
                                          <p:attrName>style.visibility</p:attrName>
                                        </p:attrNameLst>
                                      </p:cBhvr>
                                      <p:to>
                                        <p:strVal val="visible"/>
                                      </p:to>
                                    </p:set>
                                    <p:animEffect filter="fade" transition="in">
                                      <p:cBhvr>
                                        <p:cTn dur="500" id="287"/>
                                        <p:tgtEl>
                                          <p:spTgt spid="16457"/>
                                        </p:tgtEl>
                                      </p:cBhvr>
                                    </p:animEffect>
                                  </p:childTnLst>
                                </p:cTn>
                              </p:par>
                            </p:childTnLst>
                          </p:cTn>
                        </p:par>
                        <p:par>
                          <p:cTn fill="hold" id="288" nodeType="afterGroup">
                            <p:stCondLst>
                              <p:cond delay="35500"/>
                            </p:stCondLst>
                            <p:childTnLst>
                              <p:par>
                                <p:cTn fill="hold" grpId="0" id="289" nodeType="afterEffect" presetClass="entr" presetID="10" presetSubtype="0">
                                  <p:stCondLst>
                                    <p:cond delay="0"/>
                                  </p:stCondLst>
                                  <p:childTnLst>
                                    <p:set>
                                      <p:cBhvr>
                                        <p:cTn dur="1" fill="hold" id="290">
                                          <p:stCondLst>
                                            <p:cond delay="0"/>
                                          </p:stCondLst>
                                        </p:cTn>
                                        <p:tgtEl>
                                          <p:spTgt spid="16458"/>
                                        </p:tgtEl>
                                        <p:attrNameLst>
                                          <p:attrName>style.visibility</p:attrName>
                                        </p:attrNameLst>
                                      </p:cBhvr>
                                      <p:to>
                                        <p:strVal val="visible"/>
                                      </p:to>
                                    </p:set>
                                    <p:animEffect filter="fade" transition="in">
                                      <p:cBhvr>
                                        <p:cTn dur="500" id="291"/>
                                        <p:tgtEl>
                                          <p:spTgt spid="16458"/>
                                        </p:tgtEl>
                                      </p:cBhvr>
                                    </p:animEffect>
                                  </p:childTnLst>
                                </p:cTn>
                              </p:par>
                            </p:childTnLst>
                          </p:cTn>
                        </p:par>
                        <p:par>
                          <p:cTn fill="hold" id="292" nodeType="afterGroup">
                            <p:stCondLst>
                              <p:cond delay="36000"/>
                            </p:stCondLst>
                            <p:childTnLst>
                              <p:par>
                                <p:cTn fill="hold" grpId="0" id="293" nodeType="afterEffect" presetClass="entr" presetID="10" presetSubtype="0">
                                  <p:stCondLst>
                                    <p:cond delay="0"/>
                                  </p:stCondLst>
                                  <p:childTnLst>
                                    <p:set>
                                      <p:cBhvr>
                                        <p:cTn dur="1" fill="hold" id="294">
                                          <p:stCondLst>
                                            <p:cond delay="0"/>
                                          </p:stCondLst>
                                        </p:cTn>
                                        <p:tgtEl>
                                          <p:spTgt spid="16459"/>
                                        </p:tgtEl>
                                        <p:attrNameLst>
                                          <p:attrName>style.visibility</p:attrName>
                                        </p:attrNameLst>
                                      </p:cBhvr>
                                      <p:to>
                                        <p:strVal val="visible"/>
                                      </p:to>
                                    </p:set>
                                    <p:animEffect filter="fade" transition="in">
                                      <p:cBhvr>
                                        <p:cTn dur="500" id="295"/>
                                        <p:tgtEl>
                                          <p:spTgt spid="16459"/>
                                        </p:tgtEl>
                                      </p:cBhvr>
                                    </p:animEffect>
                                  </p:childTnLst>
                                </p:cTn>
                              </p:par>
                            </p:childTnLst>
                          </p:cTn>
                        </p:par>
                        <p:par>
                          <p:cTn fill="hold" id="296" nodeType="afterGroup">
                            <p:stCondLst>
                              <p:cond delay="36500"/>
                            </p:stCondLst>
                            <p:childTnLst>
                              <p:par>
                                <p:cTn fill="hold" grpId="0" id="297" nodeType="afterEffect" presetClass="entr" presetID="10" presetSubtype="0">
                                  <p:stCondLst>
                                    <p:cond delay="0"/>
                                  </p:stCondLst>
                                  <p:childTnLst>
                                    <p:set>
                                      <p:cBhvr>
                                        <p:cTn dur="1" fill="hold" id="298">
                                          <p:stCondLst>
                                            <p:cond delay="0"/>
                                          </p:stCondLst>
                                        </p:cTn>
                                        <p:tgtEl>
                                          <p:spTgt spid="16460"/>
                                        </p:tgtEl>
                                        <p:attrNameLst>
                                          <p:attrName>style.visibility</p:attrName>
                                        </p:attrNameLst>
                                      </p:cBhvr>
                                      <p:to>
                                        <p:strVal val="visible"/>
                                      </p:to>
                                    </p:set>
                                    <p:animEffect filter="fade" transition="in">
                                      <p:cBhvr>
                                        <p:cTn dur="500" id="299"/>
                                        <p:tgtEl>
                                          <p:spTgt spid="16460"/>
                                        </p:tgtEl>
                                      </p:cBhvr>
                                    </p:animEffect>
                                  </p:childTnLst>
                                </p:cTn>
                              </p:par>
                            </p:childTnLst>
                          </p:cTn>
                        </p:par>
                        <p:par>
                          <p:cTn fill="hold" id="300" nodeType="afterGroup">
                            <p:stCondLst>
                              <p:cond delay="37000"/>
                            </p:stCondLst>
                            <p:childTnLst>
                              <p:par>
                                <p:cTn fill="hold" grpId="0" id="301" nodeType="afterEffect" presetClass="entr" presetID="10" presetSubtype="0">
                                  <p:stCondLst>
                                    <p:cond delay="0"/>
                                  </p:stCondLst>
                                  <p:childTnLst>
                                    <p:set>
                                      <p:cBhvr>
                                        <p:cTn dur="1" fill="hold" id="302">
                                          <p:stCondLst>
                                            <p:cond delay="0"/>
                                          </p:stCondLst>
                                        </p:cTn>
                                        <p:tgtEl>
                                          <p:spTgt spid="93"/>
                                        </p:tgtEl>
                                        <p:attrNameLst>
                                          <p:attrName>style.visibility</p:attrName>
                                        </p:attrNameLst>
                                      </p:cBhvr>
                                      <p:to>
                                        <p:strVal val="visible"/>
                                      </p:to>
                                    </p:set>
                                    <p:animEffect filter="fade" transition="in">
                                      <p:cBhvr>
                                        <p:cTn dur="500" id="303"/>
                                        <p:tgtEl>
                                          <p:spTgt spid="93"/>
                                        </p:tgtEl>
                                      </p:cBhvr>
                                    </p:animEffect>
                                  </p:childTnLst>
                                </p:cTn>
                              </p:par>
                            </p:childTnLst>
                          </p:cTn>
                        </p:par>
                        <p:par>
                          <p:cTn fill="hold" id="304" nodeType="afterGroup">
                            <p:stCondLst>
                              <p:cond delay="37500"/>
                            </p:stCondLst>
                            <p:childTnLst>
                              <p:par>
                                <p:cTn fill="hold" grpId="0" id="305" nodeType="afterEffect" presetClass="entr" presetID="10" presetSubtype="0">
                                  <p:stCondLst>
                                    <p:cond delay="0"/>
                                  </p:stCondLst>
                                  <p:childTnLst>
                                    <p:set>
                                      <p:cBhvr>
                                        <p:cTn dur="1" fill="hold" id="306">
                                          <p:stCondLst>
                                            <p:cond delay="0"/>
                                          </p:stCondLst>
                                        </p:cTn>
                                        <p:tgtEl>
                                          <p:spTgt spid="16462"/>
                                        </p:tgtEl>
                                        <p:attrNameLst>
                                          <p:attrName>style.visibility</p:attrName>
                                        </p:attrNameLst>
                                      </p:cBhvr>
                                      <p:to>
                                        <p:strVal val="visible"/>
                                      </p:to>
                                    </p:set>
                                    <p:animEffect filter="fade" transition="in">
                                      <p:cBhvr>
                                        <p:cTn dur="500" id="307"/>
                                        <p:tgtEl>
                                          <p:spTgt spid="16462"/>
                                        </p:tgtEl>
                                      </p:cBhvr>
                                    </p:animEffect>
                                  </p:childTnLst>
                                </p:cTn>
                              </p:par>
                            </p:childTnLst>
                          </p:cTn>
                        </p:par>
                        <p:par>
                          <p:cTn fill="hold" id="308" nodeType="afterGroup">
                            <p:stCondLst>
                              <p:cond delay="38000"/>
                            </p:stCondLst>
                            <p:childTnLst>
                              <p:par>
                                <p:cTn fill="hold" grpId="0" id="309" nodeType="afterEffect" presetClass="entr" presetID="10" presetSubtype="0">
                                  <p:stCondLst>
                                    <p:cond delay="0"/>
                                  </p:stCondLst>
                                  <p:childTnLst>
                                    <p:set>
                                      <p:cBhvr>
                                        <p:cTn dur="1" fill="hold" id="310">
                                          <p:stCondLst>
                                            <p:cond delay="0"/>
                                          </p:stCondLst>
                                        </p:cTn>
                                        <p:tgtEl>
                                          <p:spTgt spid="95"/>
                                        </p:tgtEl>
                                        <p:attrNameLst>
                                          <p:attrName>style.visibility</p:attrName>
                                        </p:attrNameLst>
                                      </p:cBhvr>
                                      <p:to>
                                        <p:strVal val="visible"/>
                                      </p:to>
                                    </p:set>
                                    <p:animEffect filter="fade" transition="in">
                                      <p:cBhvr>
                                        <p:cTn dur="500" id="311"/>
                                        <p:tgtEl>
                                          <p:spTgt spid="95"/>
                                        </p:tgtEl>
                                      </p:cBhvr>
                                    </p:animEffect>
                                  </p:childTnLst>
                                </p:cTn>
                              </p:par>
                            </p:childTnLst>
                          </p:cTn>
                        </p:par>
                        <p:par>
                          <p:cTn fill="hold" id="312" nodeType="afterGroup">
                            <p:stCondLst>
                              <p:cond delay="38500"/>
                            </p:stCondLst>
                            <p:childTnLst>
                              <p:par>
                                <p:cTn fill="hold" grpId="0" id="313" nodeType="afterEffect" presetClass="entr" presetID="10" presetSubtype="0">
                                  <p:stCondLst>
                                    <p:cond delay="0"/>
                                  </p:stCondLst>
                                  <p:childTnLst>
                                    <p:set>
                                      <p:cBhvr>
                                        <p:cTn dur="1" fill="hold" id="314">
                                          <p:stCondLst>
                                            <p:cond delay="0"/>
                                          </p:stCondLst>
                                        </p:cTn>
                                        <p:tgtEl>
                                          <p:spTgt spid="96"/>
                                        </p:tgtEl>
                                        <p:attrNameLst>
                                          <p:attrName>style.visibility</p:attrName>
                                        </p:attrNameLst>
                                      </p:cBhvr>
                                      <p:to>
                                        <p:strVal val="visible"/>
                                      </p:to>
                                    </p:set>
                                    <p:animEffect filter="fade" transition="in">
                                      <p:cBhvr>
                                        <p:cTn dur="500" id="315"/>
                                        <p:tgtEl>
                                          <p:spTgt spid="96"/>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3"/>
      <p:bldP grpId="0" spid="5"/>
      <p:bldP grpId="0" spid="6"/>
      <p:bldP grpId="0" spid="7"/>
      <p:bldP grpId="0" spid="8"/>
      <p:bldP grpId="0" spid="9"/>
      <p:bldP grpId="0" spid="16393"/>
      <p:bldP grpId="0" spid="11"/>
      <p:bldP grpId="0" spid="16395"/>
      <p:bldP grpId="0" spid="16396"/>
      <p:bldP grpId="0" spid="16397"/>
      <p:bldP grpId="0" spid="16398"/>
      <p:bldP grpId="0" spid="16399"/>
      <p:bldP grpId="0" spid="16400"/>
      <p:bldP grpId="0" spid="16401"/>
      <p:bldP grpId="0" spid="16402"/>
      <p:bldP grpId="0" spid="16404"/>
      <p:bldP grpId="0" spid="16405"/>
      <p:bldP grpId="0" spid="16406"/>
      <p:bldP grpId="0" spid="16407"/>
      <p:bldP grpId="0" spid="16408"/>
      <p:bldP grpId="0" spid="16409"/>
      <p:bldP grpId="0" spid="16410"/>
      <p:bldP grpId="0" spid="16411"/>
      <p:bldP grpId="0" spid="16412"/>
      <p:bldP grpId="0" spid="16413"/>
      <p:bldP grpId="0" spid="16414"/>
      <p:bldP grpId="0" spid="16415"/>
      <p:bldP grpId="0" spid="16416"/>
      <p:bldP grpId="0" spid="16417"/>
      <p:bldP grpId="0" spid="16418"/>
      <p:bldP grpId="0" spid="16419"/>
      <p:bldP grpId="0" spid="16420"/>
      <p:bldP grpId="0" spid="16421"/>
      <p:bldP grpId="0" spid="16422"/>
      <p:bldP grpId="0" spid="16423"/>
      <p:bldP grpId="0" spid="16424"/>
      <p:bldP grpId="0" spid="16425"/>
      <p:bldP grpId="0" spid="16426"/>
      <p:bldP grpId="0" spid="16427"/>
      <p:bldP grpId="0" spid="16428"/>
      <p:bldP grpId="0" spid="16429"/>
      <p:bldP grpId="0" spid="16430"/>
      <p:bldP grpId="0" spid="16431"/>
      <p:bldP grpId="0" spid="16432"/>
      <p:bldP grpId="0" spid="16433"/>
      <p:bldP grpId="0" spid="16434"/>
      <p:bldP grpId="0" spid="16435"/>
      <p:bldP grpId="0" spid="16436"/>
      <p:bldP grpId="0" spid="16437"/>
      <p:bldP grpId="0" spid="16438"/>
      <p:bldP grpId="0" spid="16439"/>
      <p:bldP grpId="0" spid="16440"/>
      <p:bldP grpId="0" spid="16441"/>
      <p:bldP grpId="0" spid="16442"/>
      <p:bldP grpId="0" spid="16443"/>
      <p:bldP grpId="0" spid="16444"/>
      <p:bldP grpId="0" spid="16445"/>
      <p:bldP grpId="0" spid="16446"/>
      <p:bldP grpId="0" spid="16447"/>
      <p:bldP grpId="0" spid="16448"/>
      <p:bldP grpId="0" spid="16449"/>
      <p:bldP grpId="0" spid="16450"/>
      <p:bldP grpId="0" spid="16451"/>
      <p:bldP grpId="0" spid="16452"/>
      <p:bldP grpId="0" spid="16453"/>
      <p:bldP grpId="0" spid="16454"/>
      <p:bldP grpId="0" spid="16455"/>
      <p:bldP grpId="0" spid="16456"/>
      <p:bldP grpId="0" spid="16457"/>
      <p:bldP grpId="0" spid="16458"/>
      <p:bldP grpId="0" spid="16459"/>
      <p:bldP grpId="0" spid="16460"/>
      <p:bldP grpId="0" spid="93"/>
      <p:bldP grpId="0" spid="16462"/>
      <p:bldP grpId="0" spid="95"/>
      <p:bldP grpId="0" spid="96"/>
    </p:bldLst>
  </p:timing>
</p:sld>
</file>

<file path=ppt/slides/slide19.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4" name="Rectangle 3"/>
          <p:cNvSpPr/>
          <p:nvPr/>
        </p:nvSpPr>
        <p:spPr>
          <a:xfrm>
            <a:off x="5990836" y="3705916"/>
            <a:ext cx="4576521" cy="1943100"/>
          </a:xfrm>
          <a:prstGeom prst="rect">
            <a:avLst/>
          </a:prstGeom>
        </p:spPr>
        <p:txBody>
          <a:bodyPr wrap="square">
            <a:spAutoFit/>
          </a:bodyPr>
          <a:lstStyle/>
          <a:p>
            <a:pPr>
              <a:lnSpc>
                <a:spcPct val="150000"/>
              </a:lnSpc>
            </a:pPr>
            <a:r>
              <a:rPr b="1" i="0" lang="id-ID" sz="900">
                <a:solidFill>
                  <a:schemeClr val="bg2"/>
                </a:solidFill>
                <a:effectLst/>
                <a:latin charset="-122" panose="020b0400000000000000" pitchFamily="34" typeface="思源黑体"/>
                <a:ea charset="-122" panose="020b0400000000000000" pitchFamily="34" typeface="思源黑体"/>
                <a:cs charset="0" panose="020f0502020204030203" pitchFamily="34" typeface="Lato"/>
                <a:sym charset="-122" panose="020b0400000000000000" pitchFamily="34" typeface="思源黑体"/>
              </a:rPr>
              <a:t>Lorem ipsum dolor sit amet, lacus nulla ac netus nibh aliquet, porttitor ligula justo libero vivamus porttitor dolor, conubia mollit. Sapien nam suspendisse, tincidunt eget ante tincidunt, eros in auctor fringilla praesent at diam. In et quam est eget mi. Pellentesque nunc orci eu enim, </a:t>
            </a:r>
          </a:p>
          <a:p>
            <a:pPr>
              <a:lnSpc>
                <a:spcPct val="150000"/>
              </a:lnSpc>
            </a:pPr>
            <a:endParaRPr b="1" i="0" lang="id-ID" sz="900">
              <a:solidFill>
                <a:schemeClr val="bg2"/>
              </a:solidFill>
              <a:effectLst/>
              <a:latin charset="-122" panose="020b0400000000000000" pitchFamily="34" typeface="思源黑体"/>
              <a:ea charset="-122" panose="020b0400000000000000" pitchFamily="34" typeface="思源黑体"/>
              <a:cs charset="0" panose="020f0502020204030203" pitchFamily="34" typeface="Lato"/>
              <a:sym charset="-122" panose="020b0400000000000000" pitchFamily="34" typeface="思源黑体"/>
            </a:endParaRPr>
          </a:p>
          <a:p>
            <a:pPr>
              <a:lnSpc>
                <a:spcPct val="150000"/>
              </a:lnSpc>
            </a:pPr>
            <a:r>
              <a:rPr b="1" i="0" lang="id-ID" sz="900">
                <a:solidFill>
                  <a:schemeClr val="bg2"/>
                </a:solidFill>
                <a:effectLst/>
                <a:latin charset="-122" panose="020b0400000000000000" pitchFamily="34" typeface="思源黑体"/>
                <a:ea charset="-122" panose="020b0400000000000000" pitchFamily="34" typeface="思源黑体"/>
                <a:cs charset="0" panose="020f0502020204030203" pitchFamily="34" typeface="Lato"/>
                <a:sym charset="-122" panose="020b0400000000000000" pitchFamily="34" typeface="思源黑体"/>
              </a:rPr>
              <a:t>eget in fringilla vitae, et eros praesent dolor porttitor. Lacinia lectus nonummy, accumsan mauris in sed justo magnis, dictum justo lorem ac quis. A venenatis, velit integer vivamus facilisi feugiat a per, hac a sit, wisi non, wisi ultrices vel sit curae consequat. </a:t>
            </a:r>
          </a:p>
        </p:txBody>
      </p:sp>
      <p:sp>
        <p:nvSpPr>
          <p:cNvPr id="5" name="Subtitle 2"/>
          <p:cNvSpPr txBox="1"/>
          <p:nvPr/>
        </p:nvSpPr>
        <p:spPr>
          <a:xfrm>
            <a:off x="5924550" y="2964976"/>
            <a:ext cx="3733800" cy="621783"/>
          </a:xfrm>
          <a:prstGeom prst="rect">
            <a:avLst/>
          </a:prstGeom>
        </p:spPr>
        <p:txBody>
          <a:bodyPr>
            <a:noAutofit/>
          </a:bodyPr>
          <a:lstStyle>
            <a:lvl1pPr algn="l" defTabSz="914400" eaLnBrk="1" hangingPunct="1" indent="-228600" latinLnBrk="0" marL="228600" rtl="0">
              <a:lnSpc>
                <a:spcPct val="90000"/>
              </a:lnSpc>
              <a:spcBef>
                <a:spcPts val="1000"/>
              </a:spcBef>
              <a:buFont charset="0" panose="020b0604020202020204" pitchFamily="34" typeface="Arial"/>
              <a:buChar char="•"/>
              <a:defRPr kern="1200" sz="2800">
                <a:solidFill>
                  <a:schemeClr val="tx1"/>
                </a:solidFill>
                <a:latin typeface="+mn-lt"/>
                <a:ea typeface="+mn-ea"/>
                <a:cs typeface="+mn-cs"/>
              </a:defRPr>
            </a:lvl1pPr>
            <a:lvl2pPr algn="l" defTabSz="914400" eaLnBrk="1" hangingPunct="1" indent="-228600" latinLnBrk="0" marL="685800" rtl="0">
              <a:lnSpc>
                <a:spcPct val="90000"/>
              </a:lnSpc>
              <a:spcBef>
                <a:spcPts val="500"/>
              </a:spcBef>
              <a:buFont charset="0" panose="020b0604020202020204" pitchFamily="34" typeface="Arial"/>
              <a:buChar char="•"/>
              <a:defRPr kern="1200" sz="2400">
                <a:solidFill>
                  <a:schemeClr val="tx1"/>
                </a:solidFill>
                <a:latin typeface="+mn-lt"/>
                <a:ea typeface="+mn-ea"/>
                <a:cs typeface="+mn-cs"/>
              </a:defRPr>
            </a:lvl2pPr>
            <a:lvl3pPr algn="l" defTabSz="914400" eaLnBrk="1" hangingPunct="1" indent="-228600" latinLnBrk="0" marL="1143000" rtl="0">
              <a:lnSpc>
                <a:spcPct val="90000"/>
              </a:lnSpc>
              <a:spcBef>
                <a:spcPts val="500"/>
              </a:spcBef>
              <a:buFont charset="0" panose="020b0604020202020204" pitchFamily="34" typeface="Arial"/>
              <a:buChar char="•"/>
              <a:defRPr kern="1200" sz="2000">
                <a:solidFill>
                  <a:schemeClr val="tx1"/>
                </a:solidFill>
                <a:latin typeface="+mn-lt"/>
                <a:ea typeface="+mn-ea"/>
                <a:cs typeface="+mn-cs"/>
              </a:defRPr>
            </a:lvl3pPr>
            <a:lvl4pPr algn="l" defTabSz="914400" eaLnBrk="1" hangingPunct="1" indent="-228600" latinLnBrk="0" marL="16002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4pPr>
            <a:lvl5pPr algn="l" defTabSz="914400" eaLnBrk="1" hangingPunct="1" indent="-228600" latinLnBrk="0" marL="20574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5pPr>
            <a:lvl6pPr algn="l" defTabSz="914400" eaLnBrk="1" hangingPunct="1" indent="-228600" latinLnBrk="0" marL="25146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6pPr>
            <a:lvl7pPr algn="l" defTabSz="914400" eaLnBrk="1" hangingPunct="1" indent="-228600" latinLnBrk="0" marL="29718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7pPr>
            <a:lvl8pPr algn="l" defTabSz="914400" eaLnBrk="1" hangingPunct="1" indent="-228600" latinLnBrk="0" marL="34290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8pPr>
            <a:lvl9pPr algn="l" defTabSz="914400" eaLnBrk="1" hangingPunct="1" indent="-228600" latinLnBrk="0" marL="38862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9pPr>
          </a:lstStyle>
          <a:p>
            <a:pPr indent="0" marL="0">
              <a:buNone/>
            </a:pPr>
            <a:r>
              <a:rPr b="1" lang="id-ID" spc="300" sz="4000">
                <a:solidFill>
                  <a:schemeClr val="accent1"/>
                </a:solidFill>
                <a:latin charset="-122" panose="020b0400000000000000" pitchFamily="34" typeface="思源黑体"/>
                <a:ea charset="-122" panose="020b0400000000000000" pitchFamily="34" typeface="思源黑体"/>
                <a:cs charset="0" panose="020f0502020204030203" pitchFamily="34" typeface="Lato Medium"/>
                <a:sym charset="-122" panose="020b0400000000000000" pitchFamily="34" typeface="思源黑体"/>
              </a:rPr>
              <a:t>PORTFOLIO</a:t>
            </a:r>
          </a:p>
        </p:txBody>
      </p:sp>
      <p:sp>
        <p:nvSpPr>
          <p:cNvPr id="6" name="Rectangle 5"/>
          <p:cNvSpPr/>
          <p:nvPr/>
        </p:nvSpPr>
        <p:spPr>
          <a:xfrm>
            <a:off x="11078265" y="0"/>
            <a:ext cx="1113735" cy="6858000"/>
          </a:xfrm>
          <a:prstGeom prst="rect">
            <a:avLst/>
          </a:prstGeom>
          <a:solidFill>
            <a:schemeClr val="accent1">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lang="en-US">
              <a:latin charset="-122" panose="020b0400000000000000" pitchFamily="34" typeface="思源黑体"/>
              <a:ea charset="-122" panose="020b0400000000000000" pitchFamily="34" typeface="思源黑体"/>
              <a:sym charset="-122" panose="020b0400000000000000" pitchFamily="34" typeface="思源黑体"/>
            </a:endParaRPr>
          </a:p>
        </p:txBody>
      </p:sp>
      <p:pic>
        <p:nvPicPr>
          <p:cNvPr id="3" name="图片占位符 2">
            <a:extLst>
              <a:ext uri="{FF2B5EF4-FFF2-40B4-BE49-F238E27FC236}">
                <a16:creationId xmlns:a16="http://schemas.microsoft.com/office/drawing/2014/main" id="{DDCF08AC-665B-4F35-83B1-E1F509BE1FDA}"/>
              </a:ext>
            </a:extLst>
          </p:cNvPr>
          <p:cNvPicPr>
            <a:picLocks noChangeAspect="1" noGrp="1"/>
          </p:cNvPicPr>
          <p:nvPr>
            <p:ph idx="10" sz="quarter" type="pic"/>
          </p:nvPr>
        </p:nvPicPr>
        <p:blipFill>
          <a:blip r:embed="rId3">
            <a:extLst>
              <a:ext uri="{28A0092B-C50C-407E-A947-70E740481C1C}">
                <a14:useLocalDpi val="0"/>
              </a:ext>
            </a:extLst>
          </a:blip>
          <a:stretch>
            <a:fillRect/>
          </a:stretch>
        </p:blipFill>
        <p:spPr>
          <a:xfrm>
            <a:off x="0" y="1121"/>
            <a:ext cx="5630863" cy="6855758"/>
          </a:xfrm>
        </p:spPr>
      </p:pic>
    </p:spTree>
    <p:extLst>
      <p:ext uri="{BB962C8B-B14F-4D97-AF65-F5344CB8AC3E}">
        <p14:creationId val="1941948158"/>
      </p:ext>
    </p:extLst>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afterEffect" presetClass="entr" presetID="22" presetSubtype="4">
                                  <p:stCondLst>
                                    <p:cond delay="0"/>
                                  </p:stCondLst>
                                  <p:childTnLst>
                                    <p:set>
                                      <p:cBhvr>
                                        <p:cTn dur="1" fill="hold" id="6">
                                          <p:stCondLst>
                                            <p:cond delay="0"/>
                                          </p:stCondLst>
                                        </p:cTn>
                                        <p:tgtEl>
                                          <p:spTgt spid="4"/>
                                        </p:tgtEl>
                                        <p:attrNameLst>
                                          <p:attrName>style.visibility</p:attrName>
                                        </p:attrNameLst>
                                      </p:cBhvr>
                                      <p:to>
                                        <p:strVal val="visible"/>
                                      </p:to>
                                    </p:set>
                                    <p:animEffect filter="wipe(down)" transition="in">
                                      <p:cBhvr>
                                        <p:cTn dur="500" id="7"/>
                                        <p:tgtEl>
                                          <p:spTgt spid="4"/>
                                        </p:tgtEl>
                                      </p:cBhvr>
                                    </p:animEffect>
                                  </p:childTnLst>
                                </p:cTn>
                              </p:par>
                            </p:childTnLst>
                          </p:cTn>
                        </p:par>
                        <p:par>
                          <p:cTn fill="hold" id="8" nodeType="afterGroup">
                            <p:stCondLst>
                              <p:cond delay="500"/>
                            </p:stCondLst>
                            <p:childTnLst>
                              <p:par>
                                <p:cTn fill="hold" grpId="0" id="9" nodeType="afterEffect" presetClass="entr" presetID="22" presetSubtype="4">
                                  <p:stCondLst>
                                    <p:cond delay="0"/>
                                  </p:stCondLst>
                                  <p:childTnLst>
                                    <p:set>
                                      <p:cBhvr>
                                        <p:cTn dur="1" fill="hold" id="10">
                                          <p:stCondLst>
                                            <p:cond delay="0"/>
                                          </p:stCondLst>
                                        </p:cTn>
                                        <p:tgtEl>
                                          <p:spTgt spid="5"/>
                                        </p:tgtEl>
                                        <p:attrNameLst>
                                          <p:attrName>style.visibility</p:attrName>
                                        </p:attrNameLst>
                                      </p:cBhvr>
                                      <p:to>
                                        <p:strVal val="visible"/>
                                      </p:to>
                                    </p:set>
                                    <p:animEffect filter="wipe(down)" transition="in">
                                      <p:cBhvr>
                                        <p:cTn dur="500" id="11"/>
                                        <p:tgtEl>
                                          <p:spTgt spid="5"/>
                                        </p:tgtEl>
                                      </p:cBhvr>
                                    </p:animEffect>
                                  </p:childTnLst>
                                </p:cTn>
                              </p:par>
                            </p:childTnLst>
                          </p:cTn>
                        </p:par>
                        <p:par>
                          <p:cTn fill="hold" id="12" nodeType="afterGroup">
                            <p:stCondLst>
                              <p:cond delay="1000"/>
                            </p:stCondLst>
                            <p:childTnLst>
                              <p:par>
                                <p:cTn fill="hold" grpId="0" id="13" nodeType="afterEffect" presetClass="entr" presetID="22" presetSubtype="4">
                                  <p:stCondLst>
                                    <p:cond delay="0"/>
                                  </p:stCondLst>
                                  <p:childTnLst>
                                    <p:set>
                                      <p:cBhvr>
                                        <p:cTn dur="1" fill="hold" id="14">
                                          <p:stCondLst>
                                            <p:cond delay="0"/>
                                          </p:stCondLst>
                                        </p:cTn>
                                        <p:tgtEl>
                                          <p:spTgt spid="6"/>
                                        </p:tgtEl>
                                        <p:attrNameLst>
                                          <p:attrName>style.visibility</p:attrName>
                                        </p:attrNameLst>
                                      </p:cBhvr>
                                      <p:to>
                                        <p:strVal val="visible"/>
                                      </p:to>
                                    </p:set>
                                    <p:animEffect filter="wipe(down)" transition="in">
                                      <p:cBhvr>
                                        <p:cTn dur="500" id="15"/>
                                        <p:tgtEl>
                                          <p:spTgt spid="6"/>
                                        </p:tgtEl>
                                      </p:cBhvr>
                                    </p:animEffect>
                                  </p:childTnLst>
                                </p:cTn>
                              </p:par>
                            </p:childTnLst>
                          </p:cTn>
                        </p:par>
                        <p:par>
                          <p:cTn fill="hold" id="16" nodeType="afterGroup">
                            <p:stCondLst>
                              <p:cond delay="1500"/>
                            </p:stCondLst>
                            <p:childTnLst>
                              <p:par>
                                <p:cTn fill="hold" id="17" nodeType="afterEffect" presetClass="entr" presetID="22" presetSubtype="4">
                                  <p:stCondLst>
                                    <p:cond delay="0"/>
                                  </p:stCondLst>
                                  <p:childTnLst>
                                    <p:set>
                                      <p:cBhvr>
                                        <p:cTn dur="1" fill="hold" id="18">
                                          <p:stCondLst>
                                            <p:cond delay="0"/>
                                          </p:stCondLst>
                                        </p:cTn>
                                        <p:tgtEl>
                                          <p:spTgt spid="3"/>
                                        </p:tgtEl>
                                        <p:attrNameLst>
                                          <p:attrName>style.visibility</p:attrName>
                                        </p:attrNameLst>
                                      </p:cBhvr>
                                      <p:to>
                                        <p:strVal val="visible"/>
                                      </p:to>
                                    </p:set>
                                    <p:animEffect filter="wipe(down)" transition="in">
                                      <p:cBhvr>
                                        <p:cTn dur="500" id="19"/>
                                        <p:tgtEl>
                                          <p:spTgt spid="3"/>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4"/>
      <p:bldP grpId="0" spid="5"/>
      <p:bldP grpId="0" spid="6"/>
    </p:bldLst>
  </p:timing>
</p:sld>
</file>

<file path=ppt/slides/slide2.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6" name="组合 5">
            <a:extLst>
              <a:ext uri="{FF2B5EF4-FFF2-40B4-BE49-F238E27FC236}">
                <a16:creationId xmlns:a16="http://schemas.microsoft.com/office/drawing/2014/main" id="{7FA80210-D578-4C7C-B302-51A1710B3717}"/>
              </a:ext>
            </a:extLst>
          </p:cNvPr>
          <p:cNvGrpSpPr/>
          <p:nvPr/>
        </p:nvGrpSpPr>
        <p:grpSpPr>
          <a:xfrm rot="3511237">
            <a:off x="4720417" y="113071"/>
            <a:ext cx="2062142" cy="2173579"/>
            <a:chOff x="5152281" y="-1951031"/>
            <a:chExt cx="3142785" cy="3312620"/>
          </a:xfrm>
        </p:grpSpPr>
        <p:cxnSp>
          <p:nvCxnSpPr>
            <p:cNvPr id="46" name="直接连接符 45">
              <a:extLst>
                <a:ext uri="{FF2B5EF4-FFF2-40B4-BE49-F238E27FC236}">
                  <a16:creationId xmlns:a16="http://schemas.microsoft.com/office/drawing/2014/main" id="{528D8E61-6134-44E9-816A-F916DF558C5E}"/>
                </a:ext>
              </a:extLst>
            </p:cNvPr>
            <p:cNvCxnSpPr/>
            <p:nvPr/>
          </p:nvCxnSpPr>
          <p:spPr>
            <a:xfrm flipH="1">
              <a:off x="6228565" y="-1850909"/>
              <a:ext cx="2066501" cy="3212498"/>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47" name="直接连接符 46">
              <a:extLst>
                <a:ext uri="{FF2B5EF4-FFF2-40B4-BE49-F238E27FC236}">
                  <a16:creationId xmlns:a16="http://schemas.microsoft.com/office/drawing/2014/main" id="{3DD17EBD-A29E-413D-83D3-FC4F88D61618}"/>
                </a:ext>
              </a:extLst>
            </p:cNvPr>
            <p:cNvCxnSpPr/>
            <p:nvPr/>
          </p:nvCxnSpPr>
          <p:spPr>
            <a:xfrm flipH="1">
              <a:off x="5152281" y="-1951031"/>
              <a:ext cx="2066501" cy="3212498"/>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grpSp>
      <p:graphicFrame>
        <p:nvGraphicFramePr>
          <p:cNvPr hidden="1" id="3" name="对象 2">
            <a:extLst>
              <a:ext uri="{FF2B5EF4-FFF2-40B4-BE49-F238E27FC236}">
                <a16:creationId xmlns:a16="http://schemas.microsoft.com/office/drawing/2014/main" id="{3C326D0B-7DAB-41B6-8030-2E4A18CC949B}"/>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mc:Choice xmlns:v="urn:schemas-microsoft-com:vml" Requires="v">
                <p:oleObj imgH="348" imgW="347" name="think-cell Slide" progId="TCLayout.ActiveDocument.1" r:id="rId4" spid="_x0000_s1038">
                  <p:embed/>
                </p:oleObj>
              </mc:Choice>
              <mc:Fallback>
                <p:oleObj imgH="348" imgW="347" name="think-cell Slide" progId="TCLayout.ActiveDocument.1" r:id="rId4">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hidden="1" id="2" name="矩形 1">
            <a:extLst>
              <a:ext uri="{FF2B5EF4-FFF2-40B4-BE49-F238E27FC236}">
                <a16:creationId xmlns:a16="http://schemas.microsoft.com/office/drawing/2014/main" id="{EC933494-1B63-4A32-964F-D05236799BAA}"/>
              </a:ext>
            </a:extLst>
          </p:cNvPr>
          <p:cNvSpPr/>
          <p:nvPr>
            <p:custDataLst>
              <p:tags r:id="rId6"/>
            </p:custDataLst>
          </p:nvPr>
        </p:nvSpPr>
        <p:spPr>
          <a:xfrm>
            <a:off x="0" y="0"/>
            <a:ext cx="158750" cy="158750"/>
          </a:xfrm>
          <a:prstGeom prst="rect">
            <a:avLst/>
          </a:prstGeom>
          <a:solidFill>
            <a:schemeClr val="accent1">
              <a:lumMod val="100000"/>
            </a:schemeClr>
          </a:solidFill>
          <a:ln>
            <a:solidFill>
              <a:schemeClr val="accent1">
                <a:lumMod val="100000"/>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vert="horz" wrap="none">
            <a:noAutofit/>
          </a:bodyPr>
          <a:lstStyle/>
          <a:p>
            <a:pPr algn="ctr">
              <a:lnSpc>
                <a:spcPct val="90000"/>
              </a:lnSpc>
              <a:spcBef>
                <a:spcPct val="0"/>
              </a:spcBef>
              <a:spcAft>
                <a:spcPct val="0"/>
              </a:spcAft>
            </a:pPr>
            <a:endParaRPr altLang="zh-CN" b="1" lang="en-US" sz="4000">
              <a:latin charset="-122" panose="020b0400000000000000" pitchFamily="34" typeface="思源黑体"/>
              <a:ea charset="-122" panose="020b0400000000000000" pitchFamily="34" typeface="思源黑体"/>
              <a:cs typeface="+mj-cs"/>
              <a:sym charset="-122" panose="020b0400000000000000" pitchFamily="34" typeface="思源黑体"/>
            </a:endParaRPr>
          </a:p>
        </p:txBody>
      </p:sp>
      <p:sp>
        <p:nvSpPr>
          <p:cNvPr id="4" name="矩形: 圆角 3">
            <a:extLst>
              <a:ext uri="{FF2B5EF4-FFF2-40B4-BE49-F238E27FC236}">
                <a16:creationId xmlns:a16="http://schemas.microsoft.com/office/drawing/2014/main" id="{62BA5E44-FF2D-49F4-903A-6DBC1ECE4A7C}"/>
              </a:ext>
            </a:extLst>
          </p:cNvPr>
          <p:cNvSpPr/>
          <p:nvPr/>
        </p:nvSpPr>
        <p:spPr>
          <a:xfrm rot="2700000">
            <a:off x="2619829" y="2752408"/>
            <a:ext cx="669314" cy="669314"/>
          </a:xfrm>
          <a:prstGeom prst="roundRect">
            <a:avLst>
              <a:gd fmla="val 10161" name="adj"/>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cxnSp>
        <p:nvCxnSpPr>
          <p:cNvPr id="22" name="直接连接符 21">
            <a:extLst>
              <a:ext uri="{FF2B5EF4-FFF2-40B4-BE49-F238E27FC236}">
                <a16:creationId xmlns:a16="http://schemas.microsoft.com/office/drawing/2014/main" id="{91A05986-9F94-4D06-B0AB-3D00AE072AF0}"/>
              </a:ext>
            </a:extLst>
          </p:cNvPr>
          <p:cNvCxnSpPr/>
          <p:nvPr/>
        </p:nvCxnSpPr>
        <p:spPr>
          <a:xfrm flipH="1">
            <a:off x="2686625" y="3256905"/>
            <a:ext cx="659837" cy="594834"/>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3" name="ïŝļîḓê">
            <a:extLst>
              <a:ext uri="{FF2B5EF4-FFF2-40B4-BE49-F238E27FC236}">
                <a16:creationId xmlns:a16="http://schemas.microsoft.com/office/drawing/2014/main" id="{EEED3CA8-3031-4682-9799-AB31CF88FC44}"/>
              </a:ext>
            </a:extLst>
          </p:cNvPr>
          <p:cNvSpPr/>
          <p:nvPr/>
        </p:nvSpPr>
        <p:spPr>
          <a:xfrm>
            <a:off x="2619829" y="2717219"/>
            <a:ext cx="793430" cy="664164"/>
          </a:xfrm>
          <a:prstGeom prst="rect">
            <a:avLst/>
          </a:prstGeom>
        </p:spPr>
        <p:txBody>
          <a:bodyPr anchor="ctr" anchorCtr="0" bIns="45720" lIns="91440" rIns="91440" tIns="45720" wrap="square">
            <a:normAutofit/>
          </a:bodyPr>
          <a:lstStyle/>
          <a:p>
            <a:pPr algn="ctr"/>
            <a:r>
              <a:rPr altLang="zh-CN" b="1" lang="en-US" sz="2800">
                <a:solidFill>
                  <a:schemeClr val="bg1"/>
                </a:solidFill>
                <a:latin charset="-122" panose="020b0400000000000000" pitchFamily="34" typeface="思源黑体"/>
                <a:ea charset="-122" panose="020b0400000000000000" pitchFamily="34" typeface="思源黑体"/>
                <a:sym charset="-122" panose="020b0400000000000000" pitchFamily="34" typeface="思源黑体"/>
              </a:rPr>
              <a:t>01.</a:t>
            </a:r>
          </a:p>
        </p:txBody>
      </p:sp>
      <p:sp>
        <p:nvSpPr>
          <p:cNvPr id="24" name="î$ľîḋé">
            <a:extLst>
              <a:ext uri="{FF2B5EF4-FFF2-40B4-BE49-F238E27FC236}">
                <a16:creationId xmlns:a16="http://schemas.microsoft.com/office/drawing/2014/main" id="{40501B46-5945-41A6-A68B-7F251D2C6144}"/>
              </a:ext>
            </a:extLst>
          </p:cNvPr>
          <p:cNvSpPr/>
          <p:nvPr/>
        </p:nvSpPr>
        <p:spPr bwMode="auto">
          <a:xfrm>
            <a:off x="3497198" y="2456084"/>
            <a:ext cx="3851275" cy="664164"/>
          </a:xfrm>
          <a:prstGeom prst="rect">
            <a:avLst/>
          </a:prstGeom>
          <a:noFill/>
          <a:ln w="3175">
            <a:noFill/>
          </a:ln>
        </p:spPr>
        <p:txBody>
          <a:bodyPr anchor="ctr" anchorCtr="0" bIns="45720" compatLnSpc="1" lIns="91440" numCol="1" rIns="91440" tIns="45720" vert="horz" wrap="square">
            <a:prstTxWarp prst="textNoShape">
              <a:avLst/>
            </a:prstTxWarp>
            <a:normAutofit/>
          </a:bodyPr>
          <a:lstStyle>
            <a:defPPr>
              <a:defRPr lang="zh-CN"/>
            </a:defPPr>
            <a:lvl1pPr algn="l" defTabSz="914400" eaLnBrk="1" hangingPunct="1" latinLnBrk="0" marL="0" rtl="0">
              <a:defRPr kern="1200" sz="1800">
                <a:solidFill>
                  <a:schemeClr val="tx1"/>
                </a:solidFill>
              </a:defRPr>
            </a:lvl1pPr>
            <a:lvl2pPr algn="l" defTabSz="914400" eaLnBrk="1" hangingPunct="1" latinLnBrk="0" marL="457200" rtl="0">
              <a:defRPr kern="1200" sz="1800">
                <a:solidFill>
                  <a:schemeClr val="tx1"/>
                </a:solidFill>
              </a:defRPr>
            </a:lvl2pPr>
            <a:lvl3pPr algn="l" defTabSz="914400" eaLnBrk="1" hangingPunct="1" latinLnBrk="0" marL="914400" rtl="0">
              <a:defRPr kern="1200" sz="1800">
                <a:solidFill>
                  <a:schemeClr val="tx1"/>
                </a:solidFill>
              </a:defRPr>
            </a:lvl3pPr>
            <a:lvl4pPr algn="l" defTabSz="914400" eaLnBrk="1" hangingPunct="1" latinLnBrk="0" marL="1371600" rtl="0">
              <a:defRPr kern="1200" sz="1800">
                <a:solidFill>
                  <a:schemeClr val="tx1"/>
                </a:solidFill>
              </a:defRPr>
            </a:lvl4pPr>
            <a:lvl5pPr algn="l" defTabSz="914400" eaLnBrk="1" hangingPunct="1" latinLnBrk="0" marL="1828800" rtl="0">
              <a:defRPr kern="1200" sz="1800">
                <a:solidFill>
                  <a:schemeClr val="tx1"/>
                </a:solidFill>
              </a:defRPr>
            </a:lvl5pPr>
            <a:lvl6pPr algn="l" defTabSz="914400" eaLnBrk="1" hangingPunct="1" latinLnBrk="0" marL="2286000" rtl="0">
              <a:defRPr kern="1200" sz="1800">
                <a:solidFill>
                  <a:schemeClr val="tx1"/>
                </a:solidFill>
              </a:defRPr>
            </a:lvl6pPr>
            <a:lvl7pPr algn="l" defTabSz="914400" eaLnBrk="1" hangingPunct="1" latinLnBrk="0" marL="2743200" rtl="0">
              <a:defRPr kern="1200" sz="1800">
                <a:solidFill>
                  <a:schemeClr val="tx1"/>
                </a:solidFill>
              </a:defRPr>
            </a:lvl7pPr>
            <a:lvl8pPr algn="l" defTabSz="914400" eaLnBrk="1" hangingPunct="1" latinLnBrk="0" marL="3200400" rtl="0">
              <a:defRPr kern="1200" sz="1800">
                <a:solidFill>
                  <a:schemeClr val="tx1"/>
                </a:solidFill>
              </a:defRPr>
            </a:lvl8pPr>
            <a:lvl9pPr algn="l" defTabSz="914400" eaLnBrk="1" hangingPunct="1" latinLnBrk="0" marL="3657600" rtl="0">
              <a:defRPr kern="1200" sz="1800">
                <a:solidFill>
                  <a:schemeClr val="tx1"/>
                </a:solidFill>
              </a:defRPr>
            </a:lvl9pPr>
          </a:lstStyle>
          <a:p>
            <a:pPr>
              <a:spcBef>
                <a:spcPct val="0"/>
              </a:spcBef>
            </a:pPr>
            <a:r>
              <a:rPr altLang="en-US" lang="zh-CN" sz="1400">
                <a:solidFill>
                  <a:schemeClr val="accent3"/>
                </a:solidFill>
                <a:latin charset="-122" panose="020b0400000000000000" pitchFamily="34" typeface="思源黑体"/>
                <a:ea charset="-122" panose="020b0400000000000000" pitchFamily="34" typeface="思源黑体"/>
                <a:sym charset="-122" panose="020b0400000000000000" pitchFamily="34" typeface="思源黑体"/>
              </a:rPr>
              <a:t>标题内容……</a:t>
            </a:r>
          </a:p>
        </p:txBody>
      </p:sp>
      <p:sp>
        <p:nvSpPr>
          <p:cNvPr id="25" name="íṡḷídê">
            <a:extLst>
              <a:ext uri="{FF2B5EF4-FFF2-40B4-BE49-F238E27FC236}">
                <a16:creationId xmlns:a16="http://schemas.microsoft.com/office/drawing/2014/main" id="{00604EA1-CEDB-4799-9105-F3CCF42468FE}"/>
              </a:ext>
            </a:extLst>
          </p:cNvPr>
          <p:cNvSpPr/>
          <p:nvPr/>
        </p:nvSpPr>
        <p:spPr bwMode="auto">
          <a:xfrm>
            <a:off x="3497198" y="2823738"/>
            <a:ext cx="2510158" cy="664164"/>
          </a:xfrm>
          <a:prstGeom prst="rect">
            <a:avLst/>
          </a:prstGeom>
          <a:noFill/>
          <a:ln w="3175">
            <a:noFill/>
          </a:ln>
        </p:spPr>
        <p:txBody>
          <a:bodyPr anchor="ctr" anchorCtr="0" bIns="45720" compatLnSpc="1" lIns="91440" numCol="1" rIns="91440" tIns="45720" vert="horz" wrap="square">
            <a:prstTxWarp prst="textNoShape">
              <a:avLst/>
            </a:prstTxWarp>
            <a:normAutofit/>
          </a:bodyPr>
          <a:lstStyle>
            <a:defPPr>
              <a:defRPr lang="zh-CN"/>
            </a:defPPr>
            <a:lvl1pPr algn="l" defTabSz="914400" eaLnBrk="1" hangingPunct="1" latinLnBrk="0" marL="0" rtl="0">
              <a:defRPr kern="1200" sz="1800">
                <a:solidFill>
                  <a:schemeClr val="tx1"/>
                </a:solidFill>
              </a:defRPr>
            </a:lvl1pPr>
            <a:lvl2pPr algn="l" defTabSz="914400" eaLnBrk="1" hangingPunct="1" latinLnBrk="0" marL="457200" rtl="0">
              <a:defRPr kern="1200" sz="1800">
                <a:solidFill>
                  <a:schemeClr val="tx1"/>
                </a:solidFill>
              </a:defRPr>
            </a:lvl2pPr>
            <a:lvl3pPr algn="l" defTabSz="914400" eaLnBrk="1" hangingPunct="1" latinLnBrk="0" marL="914400" rtl="0">
              <a:defRPr kern="1200" sz="1800">
                <a:solidFill>
                  <a:schemeClr val="tx1"/>
                </a:solidFill>
              </a:defRPr>
            </a:lvl3pPr>
            <a:lvl4pPr algn="l" defTabSz="914400" eaLnBrk="1" hangingPunct="1" latinLnBrk="0" marL="1371600" rtl="0">
              <a:defRPr kern="1200" sz="1800">
                <a:solidFill>
                  <a:schemeClr val="tx1"/>
                </a:solidFill>
              </a:defRPr>
            </a:lvl4pPr>
            <a:lvl5pPr algn="l" defTabSz="914400" eaLnBrk="1" hangingPunct="1" latinLnBrk="0" marL="1828800" rtl="0">
              <a:defRPr kern="1200" sz="1800">
                <a:solidFill>
                  <a:schemeClr val="tx1"/>
                </a:solidFill>
              </a:defRPr>
            </a:lvl5pPr>
            <a:lvl6pPr algn="l" defTabSz="914400" eaLnBrk="1" hangingPunct="1" latinLnBrk="0" marL="2286000" rtl="0">
              <a:defRPr kern="1200" sz="1800">
                <a:solidFill>
                  <a:schemeClr val="tx1"/>
                </a:solidFill>
              </a:defRPr>
            </a:lvl6pPr>
            <a:lvl7pPr algn="l" defTabSz="914400" eaLnBrk="1" hangingPunct="1" latinLnBrk="0" marL="2743200" rtl="0">
              <a:defRPr kern="1200" sz="1800">
                <a:solidFill>
                  <a:schemeClr val="tx1"/>
                </a:solidFill>
              </a:defRPr>
            </a:lvl7pPr>
            <a:lvl8pPr algn="l" defTabSz="914400" eaLnBrk="1" hangingPunct="1" latinLnBrk="0" marL="3200400" rtl="0">
              <a:defRPr kern="1200" sz="1800">
                <a:solidFill>
                  <a:schemeClr val="tx1"/>
                </a:solidFill>
              </a:defRPr>
            </a:lvl8pPr>
            <a:lvl9pPr algn="l" defTabSz="914400" eaLnBrk="1" hangingPunct="1" latinLnBrk="0" marL="3657600" rtl="0">
              <a:defRPr kern="1200" sz="1800">
                <a:solidFill>
                  <a:schemeClr val="tx1"/>
                </a:solidFill>
              </a:defRPr>
            </a:lvl9pPr>
          </a:lstStyle>
          <a:p>
            <a:pPr>
              <a:spcBef>
                <a:spcPct val="0"/>
              </a:spcBef>
            </a:pPr>
            <a:r>
              <a:rPr altLang="zh-CN" lang="en-US" sz="1400">
                <a:solidFill>
                  <a:schemeClr val="accent6"/>
                </a:solidFill>
                <a:latin charset="-122" panose="020b0400000000000000" pitchFamily="34" typeface="思源黑体"/>
                <a:ea charset="-122" panose="020b0400000000000000" pitchFamily="34" typeface="思源黑体"/>
                <a:sym charset="-122" panose="020b0400000000000000" pitchFamily="34" typeface="思源黑体"/>
              </a:rPr>
              <a:t>Lorem ipsum dolor sit amet, sto libero</a:t>
            </a:r>
          </a:p>
        </p:txBody>
      </p:sp>
      <p:sp>
        <p:nvSpPr>
          <p:cNvPr id="31" name="矩形: 圆角 30">
            <a:extLst>
              <a:ext uri="{FF2B5EF4-FFF2-40B4-BE49-F238E27FC236}">
                <a16:creationId xmlns:a16="http://schemas.microsoft.com/office/drawing/2014/main" id="{B99AB66F-826A-4D1B-88DD-A825EA6A7009}"/>
              </a:ext>
            </a:extLst>
          </p:cNvPr>
          <p:cNvSpPr/>
          <p:nvPr/>
        </p:nvSpPr>
        <p:spPr>
          <a:xfrm rot="2700000">
            <a:off x="2619829" y="4148063"/>
            <a:ext cx="669314" cy="669314"/>
          </a:xfrm>
          <a:prstGeom prst="roundRect">
            <a:avLst>
              <a:gd fmla="val 10161" name="adj"/>
            </a:avLst>
          </a:prstGeom>
          <a:solidFill>
            <a:schemeClr val="accent1">
              <a:lumMod val="100000"/>
            </a:schemeClr>
          </a:solidFill>
          <a:ln>
            <a:solidFill>
              <a:schemeClr val="accent1">
                <a:lumMod val="100000"/>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cxnSp>
        <p:nvCxnSpPr>
          <p:cNvPr id="32" name="直接连接符 31">
            <a:extLst>
              <a:ext uri="{FF2B5EF4-FFF2-40B4-BE49-F238E27FC236}">
                <a16:creationId xmlns:a16="http://schemas.microsoft.com/office/drawing/2014/main" id="{B77D0585-9EC5-496C-9C25-53D3FBF4B382}"/>
              </a:ext>
            </a:extLst>
          </p:cNvPr>
          <p:cNvCxnSpPr/>
          <p:nvPr/>
        </p:nvCxnSpPr>
        <p:spPr>
          <a:xfrm flipH="1">
            <a:off x="2686625" y="4652560"/>
            <a:ext cx="659837" cy="594834"/>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3" name="ïŝļîḓê">
            <a:extLst>
              <a:ext uri="{FF2B5EF4-FFF2-40B4-BE49-F238E27FC236}">
                <a16:creationId xmlns:a16="http://schemas.microsoft.com/office/drawing/2014/main" id="{8DE77BA0-B285-47DE-905A-509D3AE2A52E}"/>
              </a:ext>
            </a:extLst>
          </p:cNvPr>
          <p:cNvSpPr/>
          <p:nvPr/>
        </p:nvSpPr>
        <p:spPr>
          <a:xfrm>
            <a:off x="2619829" y="4112874"/>
            <a:ext cx="793430" cy="664164"/>
          </a:xfrm>
          <a:prstGeom prst="rect">
            <a:avLst/>
          </a:prstGeom>
        </p:spPr>
        <p:txBody>
          <a:bodyPr anchor="ctr" anchorCtr="0" bIns="45720" lIns="91440" rIns="91440" tIns="45720" wrap="square">
            <a:normAutofit/>
          </a:bodyPr>
          <a:lstStyle/>
          <a:p>
            <a:pPr algn="ctr"/>
            <a:r>
              <a:rPr altLang="zh-CN" b="1" lang="en-US" sz="2800">
                <a:solidFill>
                  <a:schemeClr val="bg1"/>
                </a:solidFill>
                <a:latin charset="-122" panose="020b0400000000000000" pitchFamily="34" typeface="思源黑体"/>
                <a:ea charset="-122" panose="020b0400000000000000" pitchFamily="34" typeface="思源黑体"/>
                <a:sym charset="-122" panose="020b0400000000000000" pitchFamily="34" typeface="思源黑体"/>
              </a:rPr>
              <a:t>03.</a:t>
            </a:r>
          </a:p>
        </p:txBody>
      </p:sp>
      <p:sp>
        <p:nvSpPr>
          <p:cNvPr id="34" name="î$ľîḋé">
            <a:extLst>
              <a:ext uri="{FF2B5EF4-FFF2-40B4-BE49-F238E27FC236}">
                <a16:creationId xmlns:a16="http://schemas.microsoft.com/office/drawing/2014/main" id="{EBA4462C-9081-4A0C-B26A-E3705B5C1003}"/>
              </a:ext>
            </a:extLst>
          </p:cNvPr>
          <p:cNvSpPr/>
          <p:nvPr/>
        </p:nvSpPr>
        <p:spPr bwMode="auto">
          <a:xfrm>
            <a:off x="3497198" y="3851739"/>
            <a:ext cx="3851275" cy="664164"/>
          </a:xfrm>
          <a:prstGeom prst="rect">
            <a:avLst/>
          </a:prstGeom>
          <a:noFill/>
          <a:ln w="3175">
            <a:noFill/>
          </a:ln>
        </p:spPr>
        <p:txBody>
          <a:bodyPr anchor="ctr" anchorCtr="0" bIns="45720" compatLnSpc="1" lIns="91440" numCol="1" rIns="91440" tIns="45720" vert="horz" wrap="square">
            <a:prstTxWarp prst="textNoShape">
              <a:avLst/>
            </a:prstTxWarp>
            <a:normAutofit/>
          </a:bodyPr>
          <a:lstStyle>
            <a:defPPr>
              <a:defRPr lang="zh-CN"/>
            </a:defPPr>
            <a:lvl1pPr algn="l" defTabSz="914400" eaLnBrk="1" hangingPunct="1" latinLnBrk="0" marL="0" rtl="0">
              <a:defRPr kern="1200" sz="1800">
                <a:solidFill>
                  <a:schemeClr val="tx1"/>
                </a:solidFill>
              </a:defRPr>
            </a:lvl1pPr>
            <a:lvl2pPr algn="l" defTabSz="914400" eaLnBrk="1" hangingPunct="1" latinLnBrk="0" marL="457200" rtl="0">
              <a:defRPr kern="1200" sz="1800">
                <a:solidFill>
                  <a:schemeClr val="tx1"/>
                </a:solidFill>
              </a:defRPr>
            </a:lvl2pPr>
            <a:lvl3pPr algn="l" defTabSz="914400" eaLnBrk="1" hangingPunct="1" latinLnBrk="0" marL="914400" rtl="0">
              <a:defRPr kern="1200" sz="1800">
                <a:solidFill>
                  <a:schemeClr val="tx1"/>
                </a:solidFill>
              </a:defRPr>
            </a:lvl3pPr>
            <a:lvl4pPr algn="l" defTabSz="914400" eaLnBrk="1" hangingPunct="1" latinLnBrk="0" marL="1371600" rtl="0">
              <a:defRPr kern="1200" sz="1800">
                <a:solidFill>
                  <a:schemeClr val="tx1"/>
                </a:solidFill>
              </a:defRPr>
            </a:lvl4pPr>
            <a:lvl5pPr algn="l" defTabSz="914400" eaLnBrk="1" hangingPunct="1" latinLnBrk="0" marL="1828800" rtl="0">
              <a:defRPr kern="1200" sz="1800">
                <a:solidFill>
                  <a:schemeClr val="tx1"/>
                </a:solidFill>
              </a:defRPr>
            </a:lvl5pPr>
            <a:lvl6pPr algn="l" defTabSz="914400" eaLnBrk="1" hangingPunct="1" latinLnBrk="0" marL="2286000" rtl="0">
              <a:defRPr kern="1200" sz="1800">
                <a:solidFill>
                  <a:schemeClr val="tx1"/>
                </a:solidFill>
              </a:defRPr>
            </a:lvl6pPr>
            <a:lvl7pPr algn="l" defTabSz="914400" eaLnBrk="1" hangingPunct="1" latinLnBrk="0" marL="2743200" rtl="0">
              <a:defRPr kern="1200" sz="1800">
                <a:solidFill>
                  <a:schemeClr val="tx1"/>
                </a:solidFill>
              </a:defRPr>
            </a:lvl7pPr>
            <a:lvl8pPr algn="l" defTabSz="914400" eaLnBrk="1" hangingPunct="1" latinLnBrk="0" marL="3200400" rtl="0">
              <a:defRPr kern="1200" sz="1800">
                <a:solidFill>
                  <a:schemeClr val="tx1"/>
                </a:solidFill>
              </a:defRPr>
            </a:lvl8pPr>
            <a:lvl9pPr algn="l" defTabSz="914400" eaLnBrk="1" hangingPunct="1" latinLnBrk="0" marL="3657600" rtl="0">
              <a:defRPr kern="1200" sz="1800">
                <a:solidFill>
                  <a:schemeClr val="tx1"/>
                </a:solidFill>
              </a:defRPr>
            </a:lvl9pPr>
          </a:lstStyle>
          <a:p>
            <a:pPr>
              <a:spcBef>
                <a:spcPct val="0"/>
              </a:spcBef>
            </a:pPr>
            <a:r>
              <a:rPr altLang="en-US" lang="zh-CN" sz="1400">
                <a:solidFill>
                  <a:schemeClr val="accent1">
                    <a:lumMod val="100000"/>
                  </a:schemeClr>
                </a:solidFill>
                <a:latin charset="-122" panose="020b0400000000000000" pitchFamily="34" typeface="思源黑体"/>
                <a:ea charset="-122" panose="020b0400000000000000" pitchFamily="34" typeface="思源黑体"/>
                <a:sym charset="-122" panose="020b0400000000000000" pitchFamily="34" typeface="思源黑体"/>
              </a:rPr>
              <a:t>标题内容……</a:t>
            </a:r>
          </a:p>
        </p:txBody>
      </p:sp>
      <p:sp>
        <p:nvSpPr>
          <p:cNvPr id="35" name="íṡḷídê">
            <a:extLst>
              <a:ext uri="{FF2B5EF4-FFF2-40B4-BE49-F238E27FC236}">
                <a16:creationId xmlns:a16="http://schemas.microsoft.com/office/drawing/2014/main" id="{02775580-7073-47B8-920F-CEEB80C487CD}"/>
              </a:ext>
            </a:extLst>
          </p:cNvPr>
          <p:cNvSpPr/>
          <p:nvPr/>
        </p:nvSpPr>
        <p:spPr bwMode="auto">
          <a:xfrm>
            <a:off x="3497198" y="4219393"/>
            <a:ext cx="2510158" cy="664164"/>
          </a:xfrm>
          <a:prstGeom prst="rect">
            <a:avLst/>
          </a:prstGeom>
          <a:noFill/>
          <a:ln w="3175">
            <a:noFill/>
          </a:ln>
        </p:spPr>
        <p:txBody>
          <a:bodyPr anchor="ctr" anchorCtr="0" bIns="45720" compatLnSpc="1" lIns="91440" numCol="1" rIns="91440" tIns="45720" vert="horz" wrap="square">
            <a:prstTxWarp prst="textNoShape">
              <a:avLst/>
            </a:prstTxWarp>
            <a:normAutofit/>
          </a:bodyPr>
          <a:lstStyle>
            <a:defPPr>
              <a:defRPr lang="zh-CN"/>
            </a:defPPr>
            <a:lvl1pPr algn="l" defTabSz="914400" eaLnBrk="1" hangingPunct="1" latinLnBrk="0" marL="0" rtl="0">
              <a:defRPr kern="1200" sz="1800">
                <a:solidFill>
                  <a:schemeClr val="tx1"/>
                </a:solidFill>
              </a:defRPr>
            </a:lvl1pPr>
            <a:lvl2pPr algn="l" defTabSz="914400" eaLnBrk="1" hangingPunct="1" latinLnBrk="0" marL="457200" rtl="0">
              <a:defRPr kern="1200" sz="1800">
                <a:solidFill>
                  <a:schemeClr val="tx1"/>
                </a:solidFill>
              </a:defRPr>
            </a:lvl2pPr>
            <a:lvl3pPr algn="l" defTabSz="914400" eaLnBrk="1" hangingPunct="1" latinLnBrk="0" marL="914400" rtl="0">
              <a:defRPr kern="1200" sz="1800">
                <a:solidFill>
                  <a:schemeClr val="tx1"/>
                </a:solidFill>
              </a:defRPr>
            </a:lvl3pPr>
            <a:lvl4pPr algn="l" defTabSz="914400" eaLnBrk="1" hangingPunct="1" latinLnBrk="0" marL="1371600" rtl="0">
              <a:defRPr kern="1200" sz="1800">
                <a:solidFill>
                  <a:schemeClr val="tx1"/>
                </a:solidFill>
              </a:defRPr>
            </a:lvl4pPr>
            <a:lvl5pPr algn="l" defTabSz="914400" eaLnBrk="1" hangingPunct="1" latinLnBrk="0" marL="1828800" rtl="0">
              <a:defRPr kern="1200" sz="1800">
                <a:solidFill>
                  <a:schemeClr val="tx1"/>
                </a:solidFill>
              </a:defRPr>
            </a:lvl5pPr>
            <a:lvl6pPr algn="l" defTabSz="914400" eaLnBrk="1" hangingPunct="1" latinLnBrk="0" marL="2286000" rtl="0">
              <a:defRPr kern="1200" sz="1800">
                <a:solidFill>
                  <a:schemeClr val="tx1"/>
                </a:solidFill>
              </a:defRPr>
            </a:lvl6pPr>
            <a:lvl7pPr algn="l" defTabSz="914400" eaLnBrk="1" hangingPunct="1" latinLnBrk="0" marL="2743200" rtl="0">
              <a:defRPr kern="1200" sz="1800">
                <a:solidFill>
                  <a:schemeClr val="tx1"/>
                </a:solidFill>
              </a:defRPr>
            </a:lvl7pPr>
            <a:lvl8pPr algn="l" defTabSz="914400" eaLnBrk="1" hangingPunct="1" latinLnBrk="0" marL="3200400" rtl="0">
              <a:defRPr kern="1200" sz="1800">
                <a:solidFill>
                  <a:schemeClr val="tx1"/>
                </a:solidFill>
              </a:defRPr>
            </a:lvl8pPr>
            <a:lvl9pPr algn="l" defTabSz="914400" eaLnBrk="1" hangingPunct="1" latinLnBrk="0" marL="3657600" rtl="0">
              <a:defRPr kern="1200" sz="1800">
                <a:solidFill>
                  <a:schemeClr val="tx1"/>
                </a:solidFill>
              </a:defRPr>
            </a:lvl9pPr>
          </a:lstStyle>
          <a:p>
            <a:pPr>
              <a:spcBef>
                <a:spcPct val="0"/>
              </a:spcBef>
            </a:pPr>
            <a:r>
              <a:rPr altLang="zh-CN" lang="en-US" sz="1400">
                <a:solidFill>
                  <a:schemeClr val="accent6"/>
                </a:solidFill>
                <a:latin charset="-122" panose="020b0400000000000000" pitchFamily="34" typeface="思源黑体"/>
                <a:ea charset="-122" panose="020b0400000000000000" pitchFamily="34" typeface="思源黑体"/>
                <a:sym charset="-122" panose="020b0400000000000000" pitchFamily="34" typeface="思源黑体"/>
              </a:rPr>
              <a:t>Lorem ipsum dolor sit amet, sto libero</a:t>
            </a:r>
          </a:p>
        </p:txBody>
      </p:sp>
      <p:sp>
        <p:nvSpPr>
          <p:cNvPr id="36" name="矩形: 圆角 35">
            <a:extLst>
              <a:ext uri="{FF2B5EF4-FFF2-40B4-BE49-F238E27FC236}">
                <a16:creationId xmlns:a16="http://schemas.microsoft.com/office/drawing/2014/main" id="{5DA46A32-346D-4759-AF61-4BCDBD9B85F8}"/>
              </a:ext>
            </a:extLst>
          </p:cNvPr>
          <p:cNvSpPr/>
          <p:nvPr/>
        </p:nvSpPr>
        <p:spPr>
          <a:xfrm rot="2700000">
            <a:off x="6540539" y="2752408"/>
            <a:ext cx="669314" cy="669314"/>
          </a:xfrm>
          <a:prstGeom prst="roundRect">
            <a:avLst>
              <a:gd fmla="val 10161" name="adj"/>
            </a:avLst>
          </a:prstGeom>
          <a:solidFill>
            <a:schemeClr val="accent1">
              <a:lumMod val="100000"/>
            </a:schemeClr>
          </a:solidFill>
          <a:ln>
            <a:solidFill>
              <a:schemeClr val="accent1">
                <a:lumMod val="100000"/>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cxnSp>
        <p:nvCxnSpPr>
          <p:cNvPr id="37" name="直接连接符 36">
            <a:extLst>
              <a:ext uri="{FF2B5EF4-FFF2-40B4-BE49-F238E27FC236}">
                <a16:creationId xmlns:a16="http://schemas.microsoft.com/office/drawing/2014/main" id="{A8AD3D63-DD73-4BD6-80B5-C665FF91B0B6}"/>
              </a:ext>
            </a:extLst>
          </p:cNvPr>
          <p:cNvCxnSpPr/>
          <p:nvPr/>
        </p:nvCxnSpPr>
        <p:spPr>
          <a:xfrm flipH="1">
            <a:off x="6607335" y="3256905"/>
            <a:ext cx="659837" cy="594834"/>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8" name="ïŝļîḓê">
            <a:extLst>
              <a:ext uri="{FF2B5EF4-FFF2-40B4-BE49-F238E27FC236}">
                <a16:creationId xmlns:a16="http://schemas.microsoft.com/office/drawing/2014/main" id="{47D2A067-19B8-425F-A88C-4E199A92A119}"/>
              </a:ext>
            </a:extLst>
          </p:cNvPr>
          <p:cNvSpPr/>
          <p:nvPr/>
        </p:nvSpPr>
        <p:spPr>
          <a:xfrm>
            <a:off x="6540539" y="2717219"/>
            <a:ext cx="793430" cy="664164"/>
          </a:xfrm>
          <a:prstGeom prst="rect">
            <a:avLst/>
          </a:prstGeom>
        </p:spPr>
        <p:txBody>
          <a:bodyPr anchor="ctr" anchorCtr="0" bIns="45720" lIns="91440" rIns="91440" tIns="45720" wrap="square">
            <a:normAutofit/>
          </a:bodyPr>
          <a:lstStyle/>
          <a:p>
            <a:pPr algn="ctr"/>
            <a:r>
              <a:rPr altLang="zh-CN" b="1" lang="en-US" sz="2800">
                <a:solidFill>
                  <a:schemeClr val="bg1"/>
                </a:solidFill>
                <a:latin charset="-122" panose="020b0400000000000000" pitchFamily="34" typeface="思源黑体"/>
                <a:ea charset="-122" panose="020b0400000000000000" pitchFamily="34" typeface="思源黑体"/>
                <a:sym charset="-122" panose="020b0400000000000000" pitchFamily="34" typeface="思源黑体"/>
              </a:rPr>
              <a:t>02.</a:t>
            </a:r>
          </a:p>
        </p:txBody>
      </p:sp>
      <p:sp>
        <p:nvSpPr>
          <p:cNvPr id="39" name="î$ľîḋé">
            <a:extLst>
              <a:ext uri="{FF2B5EF4-FFF2-40B4-BE49-F238E27FC236}">
                <a16:creationId xmlns:a16="http://schemas.microsoft.com/office/drawing/2014/main" id="{57AFAEFF-F1DC-4D3C-89E1-1705046EEEB7}"/>
              </a:ext>
            </a:extLst>
          </p:cNvPr>
          <p:cNvSpPr/>
          <p:nvPr/>
        </p:nvSpPr>
        <p:spPr bwMode="auto">
          <a:xfrm>
            <a:off x="7417908" y="2456084"/>
            <a:ext cx="3851275" cy="664164"/>
          </a:xfrm>
          <a:prstGeom prst="rect">
            <a:avLst/>
          </a:prstGeom>
          <a:noFill/>
          <a:ln w="3175">
            <a:noFill/>
          </a:ln>
        </p:spPr>
        <p:txBody>
          <a:bodyPr anchor="ctr" anchorCtr="0" bIns="45720" compatLnSpc="1" lIns="91440" numCol="1" rIns="91440" tIns="45720" vert="horz" wrap="square">
            <a:prstTxWarp prst="textNoShape">
              <a:avLst/>
            </a:prstTxWarp>
            <a:normAutofit/>
          </a:bodyPr>
          <a:lstStyle>
            <a:defPPr>
              <a:defRPr lang="zh-CN"/>
            </a:defPPr>
            <a:lvl1pPr algn="l" defTabSz="914400" eaLnBrk="1" hangingPunct="1" latinLnBrk="0" marL="0" rtl="0">
              <a:defRPr kern="1200" sz="1800">
                <a:solidFill>
                  <a:schemeClr val="tx1"/>
                </a:solidFill>
              </a:defRPr>
            </a:lvl1pPr>
            <a:lvl2pPr algn="l" defTabSz="914400" eaLnBrk="1" hangingPunct="1" latinLnBrk="0" marL="457200" rtl="0">
              <a:defRPr kern="1200" sz="1800">
                <a:solidFill>
                  <a:schemeClr val="tx1"/>
                </a:solidFill>
              </a:defRPr>
            </a:lvl2pPr>
            <a:lvl3pPr algn="l" defTabSz="914400" eaLnBrk="1" hangingPunct="1" latinLnBrk="0" marL="914400" rtl="0">
              <a:defRPr kern="1200" sz="1800">
                <a:solidFill>
                  <a:schemeClr val="tx1"/>
                </a:solidFill>
              </a:defRPr>
            </a:lvl3pPr>
            <a:lvl4pPr algn="l" defTabSz="914400" eaLnBrk="1" hangingPunct="1" latinLnBrk="0" marL="1371600" rtl="0">
              <a:defRPr kern="1200" sz="1800">
                <a:solidFill>
                  <a:schemeClr val="tx1"/>
                </a:solidFill>
              </a:defRPr>
            </a:lvl4pPr>
            <a:lvl5pPr algn="l" defTabSz="914400" eaLnBrk="1" hangingPunct="1" latinLnBrk="0" marL="1828800" rtl="0">
              <a:defRPr kern="1200" sz="1800">
                <a:solidFill>
                  <a:schemeClr val="tx1"/>
                </a:solidFill>
              </a:defRPr>
            </a:lvl5pPr>
            <a:lvl6pPr algn="l" defTabSz="914400" eaLnBrk="1" hangingPunct="1" latinLnBrk="0" marL="2286000" rtl="0">
              <a:defRPr kern="1200" sz="1800">
                <a:solidFill>
                  <a:schemeClr val="tx1"/>
                </a:solidFill>
              </a:defRPr>
            </a:lvl6pPr>
            <a:lvl7pPr algn="l" defTabSz="914400" eaLnBrk="1" hangingPunct="1" latinLnBrk="0" marL="2743200" rtl="0">
              <a:defRPr kern="1200" sz="1800">
                <a:solidFill>
                  <a:schemeClr val="tx1"/>
                </a:solidFill>
              </a:defRPr>
            </a:lvl7pPr>
            <a:lvl8pPr algn="l" defTabSz="914400" eaLnBrk="1" hangingPunct="1" latinLnBrk="0" marL="3200400" rtl="0">
              <a:defRPr kern="1200" sz="1800">
                <a:solidFill>
                  <a:schemeClr val="tx1"/>
                </a:solidFill>
              </a:defRPr>
            </a:lvl8pPr>
            <a:lvl9pPr algn="l" defTabSz="914400" eaLnBrk="1" hangingPunct="1" latinLnBrk="0" marL="3657600" rtl="0">
              <a:defRPr kern="1200" sz="1800">
                <a:solidFill>
                  <a:schemeClr val="tx1"/>
                </a:solidFill>
              </a:defRPr>
            </a:lvl9pPr>
          </a:lstStyle>
          <a:p>
            <a:pPr>
              <a:spcBef>
                <a:spcPct val="0"/>
              </a:spcBef>
            </a:pPr>
            <a:r>
              <a:rPr altLang="en-US" lang="zh-CN" sz="1400">
                <a:solidFill>
                  <a:schemeClr val="accent1">
                    <a:lumMod val="100000"/>
                  </a:schemeClr>
                </a:solidFill>
                <a:latin charset="-122" panose="020b0400000000000000" pitchFamily="34" typeface="思源黑体"/>
                <a:ea charset="-122" panose="020b0400000000000000" pitchFamily="34" typeface="思源黑体"/>
                <a:sym charset="-122" panose="020b0400000000000000" pitchFamily="34" typeface="思源黑体"/>
              </a:rPr>
              <a:t>标题内容……</a:t>
            </a:r>
          </a:p>
        </p:txBody>
      </p:sp>
      <p:sp>
        <p:nvSpPr>
          <p:cNvPr id="40" name="íṡḷídê">
            <a:extLst>
              <a:ext uri="{FF2B5EF4-FFF2-40B4-BE49-F238E27FC236}">
                <a16:creationId xmlns:a16="http://schemas.microsoft.com/office/drawing/2014/main" id="{4712B3F5-B161-4627-905B-B74F1E8375F6}"/>
              </a:ext>
            </a:extLst>
          </p:cNvPr>
          <p:cNvSpPr/>
          <p:nvPr/>
        </p:nvSpPr>
        <p:spPr bwMode="auto">
          <a:xfrm>
            <a:off x="7417908" y="2823738"/>
            <a:ext cx="2510158" cy="664164"/>
          </a:xfrm>
          <a:prstGeom prst="rect">
            <a:avLst/>
          </a:prstGeom>
          <a:noFill/>
          <a:ln w="3175">
            <a:noFill/>
          </a:ln>
        </p:spPr>
        <p:txBody>
          <a:bodyPr anchor="ctr" anchorCtr="0" bIns="45720" compatLnSpc="1" lIns="91440" numCol="1" rIns="91440" tIns="45720" vert="horz" wrap="square">
            <a:prstTxWarp prst="textNoShape">
              <a:avLst/>
            </a:prstTxWarp>
            <a:normAutofit/>
          </a:bodyPr>
          <a:lstStyle>
            <a:defPPr>
              <a:defRPr lang="zh-CN"/>
            </a:defPPr>
            <a:lvl1pPr algn="l" defTabSz="914400" eaLnBrk="1" hangingPunct="1" latinLnBrk="0" marL="0" rtl="0">
              <a:defRPr kern="1200" sz="1800">
                <a:solidFill>
                  <a:schemeClr val="tx1"/>
                </a:solidFill>
              </a:defRPr>
            </a:lvl1pPr>
            <a:lvl2pPr algn="l" defTabSz="914400" eaLnBrk="1" hangingPunct="1" latinLnBrk="0" marL="457200" rtl="0">
              <a:defRPr kern="1200" sz="1800">
                <a:solidFill>
                  <a:schemeClr val="tx1"/>
                </a:solidFill>
              </a:defRPr>
            </a:lvl2pPr>
            <a:lvl3pPr algn="l" defTabSz="914400" eaLnBrk="1" hangingPunct="1" latinLnBrk="0" marL="914400" rtl="0">
              <a:defRPr kern="1200" sz="1800">
                <a:solidFill>
                  <a:schemeClr val="tx1"/>
                </a:solidFill>
              </a:defRPr>
            </a:lvl3pPr>
            <a:lvl4pPr algn="l" defTabSz="914400" eaLnBrk="1" hangingPunct="1" latinLnBrk="0" marL="1371600" rtl="0">
              <a:defRPr kern="1200" sz="1800">
                <a:solidFill>
                  <a:schemeClr val="tx1"/>
                </a:solidFill>
              </a:defRPr>
            </a:lvl4pPr>
            <a:lvl5pPr algn="l" defTabSz="914400" eaLnBrk="1" hangingPunct="1" latinLnBrk="0" marL="1828800" rtl="0">
              <a:defRPr kern="1200" sz="1800">
                <a:solidFill>
                  <a:schemeClr val="tx1"/>
                </a:solidFill>
              </a:defRPr>
            </a:lvl5pPr>
            <a:lvl6pPr algn="l" defTabSz="914400" eaLnBrk="1" hangingPunct="1" latinLnBrk="0" marL="2286000" rtl="0">
              <a:defRPr kern="1200" sz="1800">
                <a:solidFill>
                  <a:schemeClr val="tx1"/>
                </a:solidFill>
              </a:defRPr>
            </a:lvl6pPr>
            <a:lvl7pPr algn="l" defTabSz="914400" eaLnBrk="1" hangingPunct="1" latinLnBrk="0" marL="2743200" rtl="0">
              <a:defRPr kern="1200" sz="1800">
                <a:solidFill>
                  <a:schemeClr val="tx1"/>
                </a:solidFill>
              </a:defRPr>
            </a:lvl7pPr>
            <a:lvl8pPr algn="l" defTabSz="914400" eaLnBrk="1" hangingPunct="1" latinLnBrk="0" marL="3200400" rtl="0">
              <a:defRPr kern="1200" sz="1800">
                <a:solidFill>
                  <a:schemeClr val="tx1"/>
                </a:solidFill>
              </a:defRPr>
            </a:lvl8pPr>
            <a:lvl9pPr algn="l" defTabSz="914400" eaLnBrk="1" hangingPunct="1" latinLnBrk="0" marL="3657600" rtl="0">
              <a:defRPr kern="1200" sz="1800">
                <a:solidFill>
                  <a:schemeClr val="tx1"/>
                </a:solidFill>
              </a:defRPr>
            </a:lvl9pPr>
          </a:lstStyle>
          <a:p>
            <a:pPr>
              <a:spcBef>
                <a:spcPct val="0"/>
              </a:spcBef>
            </a:pPr>
            <a:r>
              <a:rPr altLang="zh-CN" lang="en-US" sz="1400">
                <a:solidFill>
                  <a:schemeClr val="accent6"/>
                </a:solidFill>
                <a:latin charset="-122" panose="020b0400000000000000" pitchFamily="34" typeface="思源黑体"/>
                <a:ea charset="-122" panose="020b0400000000000000" pitchFamily="34" typeface="思源黑体"/>
                <a:sym charset="-122" panose="020b0400000000000000" pitchFamily="34" typeface="思源黑体"/>
              </a:rPr>
              <a:t>Lorem ipsum dolor sit amet, sto libero</a:t>
            </a:r>
          </a:p>
        </p:txBody>
      </p:sp>
      <p:sp>
        <p:nvSpPr>
          <p:cNvPr id="41" name="矩形: 圆角 40">
            <a:extLst>
              <a:ext uri="{FF2B5EF4-FFF2-40B4-BE49-F238E27FC236}">
                <a16:creationId xmlns:a16="http://schemas.microsoft.com/office/drawing/2014/main" id="{C4FE4CCD-B451-4F3E-B7FA-B9D90609B6BE}"/>
              </a:ext>
            </a:extLst>
          </p:cNvPr>
          <p:cNvSpPr/>
          <p:nvPr/>
        </p:nvSpPr>
        <p:spPr>
          <a:xfrm rot="2700000">
            <a:off x="6540539" y="4148063"/>
            <a:ext cx="669314" cy="669314"/>
          </a:xfrm>
          <a:prstGeom prst="roundRect">
            <a:avLst>
              <a:gd fmla="val 10161" name="adj"/>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cxnSp>
        <p:nvCxnSpPr>
          <p:cNvPr id="42" name="直接连接符 41">
            <a:extLst>
              <a:ext uri="{FF2B5EF4-FFF2-40B4-BE49-F238E27FC236}">
                <a16:creationId xmlns:a16="http://schemas.microsoft.com/office/drawing/2014/main" id="{345AABD6-D3A0-4069-947A-1A27365BE8BA}"/>
              </a:ext>
            </a:extLst>
          </p:cNvPr>
          <p:cNvCxnSpPr/>
          <p:nvPr/>
        </p:nvCxnSpPr>
        <p:spPr>
          <a:xfrm flipH="1">
            <a:off x="6607335" y="4652560"/>
            <a:ext cx="659837" cy="594834"/>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43" name="ïŝļîḓê">
            <a:extLst>
              <a:ext uri="{FF2B5EF4-FFF2-40B4-BE49-F238E27FC236}">
                <a16:creationId xmlns:a16="http://schemas.microsoft.com/office/drawing/2014/main" id="{18B97768-1ABE-43FA-9342-BF708410A844}"/>
              </a:ext>
            </a:extLst>
          </p:cNvPr>
          <p:cNvSpPr/>
          <p:nvPr/>
        </p:nvSpPr>
        <p:spPr>
          <a:xfrm>
            <a:off x="6540539" y="4112874"/>
            <a:ext cx="793430" cy="664164"/>
          </a:xfrm>
          <a:prstGeom prst="rect">
            <a:avLst/>
          </a:prstGeom>
        </p:spPr>
        <p:txBody>
          <a:bodyPr anchor="ctr" anchorCtr="0" bIns="45720" lIns="91440" rIns="91440" tIns="45720" wrap="square">
            <a:normAutofit/>
          </a:bodyPr>
          <a:lstStyle/>
          <a:p>
            <a:pPr algn="ctr"/>
            <a:r>
              <a:rPr altLang="zh-CN" b="1" lang="en-US" sz="2800">
                <a:solidFill>
                  <a:schemeClr val="bg1"/>
                </a:solidFill>
                <a:latin charset="-122" panose="020b0400000000000000" pitchFamily="34" typeface="思源黑体"/>
                <a:ea charset="-122" panose="020b0400000000000000" pitchFamily="34" typeface="思源黑体"/>
                <a:sym charset="-122" panose="020b0400000000000000" pitchFamily="34" typeface="思源黑体"/>
              </a:rPr>
              <a:t>04.</a:t>
            </a:r>
          </a:p>
        </p:txBody>
      </p:sp>
      <p:sp>
        <p:nvSpPr>
          <p:cNvPr id="44" name="î$ľîḋé">
            <a:extLst>
              <a:ext uri="{FF2B5EF4-FFF2-40B4-BE49-F238E27FC236}">
                <a16:creationId xmlns:a16="http://schemas.microsoft.com/office/drawing/2014/main" id="{5D62BF54-98F1-423D-A9F6-B3D7AB19376D}"/>
              </a:ext>
            </a:extLst>
          </p:cNvPr>
          <p:cNvSpPr/>
          <p:nvPr/>
        </p:nvSpPr>
        <p:spPr bwMode="auto">
          <a:xfrm>
            <a:off x="7417908" y="3851739"/>
            <a:ext cx="3851275" cy="664164"/>
          </a:xfrm>
          <a:prstGeom prst="rect">
            <a:avLst/>
          </a:prstGeom>
          <a:noFill/>
          <a:ln w="3175">
            <a:noFill/>
          </a:ln>
        </p:spPr>
        <p:txBody>
          <a:bodyPr anchor="ctr" anchorCtr="0" bIns="45720" compatLnSpc="1" lIns="91440" numCol="1" rIns="91440" tIns="45720" vert="horz" wrap="square">
            <a:prstTxWarp prst="textNoShape">
              <a:avLst/>
            </a:prstTxWarp>
            <a:normAutofit/>
          </a:bodyPr>
          <a:lstStyle>
            <a:defPPr>
              <a:defRPr lang="zh-CN"/>
            </a:defPPr>
            <a:lvl1pPr algn="l" defTabSz="914400" eaLnBrk="1" hangingPunct="1" latinLnBrk="0" marL="0" rtl="0">
              <a:defRPr kern="1200" sz="1800">
                <a:solidFill>
                  <a:schemeClr val="tx1"/>
                </a:solidFill>
              </a:defRPr>
            </a:lvl1pPr>
            <a:lvl2pPr algn="l" defTabSz="914400" eaLnBrk="1" hangingPunct="1" latinLnBrk="0" marL="457200" rtl="0">
              <a:defRPr kern="1200" sz="1800">
                <a:solidFill>
                  <a:schemeClr val="tx1"/>
                </a:solidFill>
              </a:defRPr>
            </a:lvl2pPr>
            <a:lvl3pPr algn="l" defTabSz="914400" eaLnBrk="1" hangingPunct="1" latinLnBrk="0" marL="914400" rtl="0">
              <a:defRPr kern="1200" sz="1800">
                <a:solidFill>
                  <a:schemeClr val="tx1"/>
                </a:solidFill>
              </a:defRPr>
            </a:lvl3pPr>
            <a:lvl4pPr algn="l" defTabSz="914400" eaLnBrk="1" hangingPunct="1" latinLnBrk="0" marL="1371600" rtl="0">
              <a:defRPr kern="1200" sz="1800">
                <a:solidFill>
                  <a:schemeClr val="tx1"/>
                </a:solidFill>
              </a:defRPr>
            </a:lvl4pPr>
            <a:lvl5pPr algn="l" defTabSz="914400" eaLnBrk="1" hangingPunct="1" latinLnBrk="0" marL="1828800" rtl="0">
              <a:defRPr kern="1200" sz="1800">
                <a:solidFill>
                  <a:schemeClr val="tx1"/>
                </a:solidFill>
              </a:defRPr>
            </a:lvl5pPr>
            <a:lvl6pPr algn="l" defTabSz="914400" eaLnBrk="1" hangingPunct="1" latinLnBrk="0" marL="2286000" rtl="0">
              <a:defRPr kern="1200" sz="1800">
                <a:solidFill>
                  <a:schemeClr val="tx1"/>
                </a:solidFill>
              </a:defRPr>
            </a:lvl6pPr>
            <a:lvl7pPr algn="l" defTabSz="914400" eaLnBrk="1" hangingPunct="1" latinLnBrk="0" marL="2743200" rtl="0">
              <a:defRPr kern="1200" sz="1800">
                <a:solidFill>
                  <a:schemeClr val="tx1"/>
                </a:solidFill>
              </a:defRPr>
            </a:lvl7pPr>
            <a:lvl8pPr algn="l" defTabSz="914400" eaLnBrk="1" hangingPunct="1" latinLnBrk="0" marL="3200400" rtl="0">
              <a:defRPr kern="1200" sz="1800">
                <a:solidFill>
                  <a:schemeClr val="tx1"/>
                </a:solidFill>
              </a:defRPr>
            </a:lvl8pPr>
            <a:lvl9pPr algn="l" defTabSz="914400" eaLnBrk="1" hangingPunct="1" latinLnBrk="0" marL="3657600" rtl="0">
              <a:defRPr kern="1200" sz="1800">
                <a:solidFill>
                  <a:schemeClr val="tx1"/>
                </a:solidFill>
              </a:defRPr>
            </a:lvl9pPr>
          </a:lstStyle>
          <a:p>
            <a:pPr>
              <a:spcBef>
                <a:spcPct val="0"/>
              </a:spcBef>
            </a:pPr>
            <a:r>
              <a:rPr altLang="en-US" lang="zh-CN" sz="1400">
                <a:solidFill>
                  <a:schemeClr val="accent3"/>
                </a:solidFill>
                <a:latin charset="-122" panose="020b0400000000000000" pitchFamily="34" typeface="思源黑体"/>
                <a:ea charset="-122" panose="020b0400000000000000" pitchFamily="34" typeface="思源黑体"/>
                <a:sym charset="-122" panose="020b0400000000000000" pitchFamily="34" typeface="思源黑体"/>
              </a:rPr>
              <a:t>标题内容……</a:t>
            </a:r>
          </a:p>
        </p:txBody>
      </p:sp>
      <p:sp>
        <p:nvSpPr>
          <p:cNvPr id="45" name="íṡḷídê">
            <a:extLst>
              <a:ext uri="{FF2B5EF4-FFF2-40B4-BE49-F238E27FC236}">
                <a16:creationId xmlns:a16="http://schemas.microsoft.com/office/drawing/2014/main" id="{019428F6-A4E5-4C69-A7AE-647304917DB2}"/>
              </a:ext>
            </a:extLst>
          </p:cNvPr>
          <p:cNvSpPr/>
          <p:nvPr/>
        </p:nvSpPr>
        <p:spPr bwMode="auto">
          <a:xfrm>
            <a:off x="7417908" y="4219393"/>
            <a:ext cx="2510158" cy="664164"/>
          </a:xfrm>
          <a:prstGeom prst="rect">
            <a:avLst/>
          </a:prstGeom>
          <a:noFill/>
          <a:ln w="3175">
            <a:noFill/>
          </a:ln>
        </p:spPr>
        <p:txBody>
          <a:bodyPr anchor="ctr" anchorCtr="0" bIns="45720" compatLnSpc="1" lIns="91440" numCol="1" rIns="91440" tIns="45720" vert="horz" wrap="square">
            <a:prstTxWarp prst="textNoShape">
              <a:avLst/>
            </a:prstTxWarp>
            <a:normAutofit/>
          </a:bodyPr>
          <a:lstStyle>
            <a:defPPr>
              <a:defRPr lang="zh-CN"/>
            </a:defPPr>
            <a:lvl1pPr algn="l" defTabSz="914400" eaLnBrk="1" hangingPunct="1" latinLnBrk="0" marL="0" rtl="0">
              <a:defRPr kern="1200" sz="1800">
                <a:solidFill>
                  <a:schemeClr val="tx1"/>
                </a:solidFill>
              </a:defRPr>
            </a:lvl1pPr>
            <a:lvl2pPr algn="l" defTabSz="914400" eaLnBrk="1" hangingPunct="1" latinLnBrk="0" marL="457200" rtl="0">
              <a:defRPr kern="1200" sz="1800">
                <a:solidFill>
                  <a:schemeClr val="tx1"/>
                </a:solidFill>
              </a:defRPr>
            </a:lvl2pPr>
            <a:lvl3pPr algn="l" defTabSz="914400" eaLnBrk="1" hangingPunct="1" latinLnBrk="0" marL="914400" rtl="0">
              <a:defRPr kern="1200" sz="1800">
                <a:solidFill>
                  <a:schemeClr val="tx1"/>
                </a:solidFill>
              </a:defRPr>
            </a:lvl3pPr>
            <a:lvl4pPr algn="l" defTabSz="914400" eaLnBrk="1" hangingPunct="1" latinLnBrk="0" marL="1371600" rtl="0">
              <a:defRPr kern="1200" sz="1800">
                <a:solidFill>
                  <a:schemeClr val="tx1"/>
                </a:solidFill>
              </a:defRPr>
            </a:lvl4pPr>
            <a:lvl5pPr algn="l" defTabSz="914400" eaLnBrk="1" hangingPunct="1" latinLnBrk="0" marL="1828800" rtl="0">
              <a:defRPr kern="1200" sz="1800">
                <a:solidFill>
                  <a:schemeClr val="tx1"/>
                </a:solidFill>
              </a:defRPr>
            </a:lvl5pPr>
            <a:lvl6pPr algn="l" defTabSz="914400" eaLnBrk="1" hangingPunct="1" latinLnBrk="0" marL="2286000" rtl="0">
              <a:defRPr kern="1200" sz="1800">
                <a:solidFill>
                  <a:schemeClr val="tx1"/>
                </a:solidFill>
              </a:defRPr>
            </a:lvl6pPr>
            <a:lvl7pPr algn="l" defTabSz="914400" eaLnBrk="1" hangingPunct="1" latinLnBrk="0" marL="2743200" rtl="0">
              <a:defRPr kern="1200" sz="1800">
                <a:solidFill>
                  <a:schemeClr val="tx1"/>
                </a:solidFill>
              </a:defRPr>
            </a:lvl7pPr>
            <a:lvl8pPr algn="l" defTabSz="914400" eaLnBrk="1" hangingPunct="1" latinLnBrk="0" marL="3200400" rtl="0">
              <a:defRPr kern="1200" sz="1800">
                <a:solidFill>
                  <a:schemeClr val="tx1"/>
                </a:solidFill>
              </a:defRPr>
            </a:lvl8pPr>
            <a:lvl9pPr algn="l" defTabSz="914400" eaLnBrk="1" hangingPunct="1" latinLnBrk="0" marL="3657600" rtl="0">
              <a:defRPr kern="1200" sz="1800">
                <a:solidFill>
                  <a:schemeClr val="tx1"/>
                </a:solidFill>
              </a:defRPr>
            </a:lvl9pPr>
          </a:lstStyle>
          <a:p>
            <a:pPr>
              <a:spcBef>
                <a:spcPct val="0"/>
              </a:spcBef>
            </a:pPr>
            <a:r>
              <a:rPr altLang="zh-CN" lang="en-US" sz="1400">
                <a:solidFill>
                  <a:schemeClr val="accent6"/>
                </a:solidFill>
                <a:latin charset="-122" panose="020b0400000000000000" pitchFamily="34" typeface="思源黑体"/>
                <a:ea charset="-122" panose="020b0400000000000000" pitchFamily="34" typeface="思源黑体"/>
                <a:sym charset="-122" panose="020b0400000000000000" pitchFamily="34" typeface="思源黑体"/>
              </a:rPr>
              <a:t>Lorem ipsum dolor sit amet, sto libero</a:t>
            </a:r>
          </a:p>
        </p:txBody>
      </p:sp>
      <p:sp>
        <p:nvSpPr>
          <p:cNvPr id="50" name="išľïḋé">
            <a:extLst>
              <a:ext uri="{FF2B5EF4-FFF2-40B4-BE49-F238E27FC236}">
                <a16:creationId xmlns:a16="http://schemas.microsoft.com/office/drawing/2014/main" id="{E440133C-F6F2-4E4E-933C-53CCABC7A714}"/>
              </a:ext>
            </a:extLst>
          </p:cNvPr>
          <p:cNvSpPr txBox="1"/>
          <p:nvPr/>
        </p:nvSpPr>
        <p:spPr>
          <a:xfrm>
            <a:off x="4143832" y="881572"/>
            <a:ext cx="2623091" cy="518160"/>
          </a:xfrm>
          <a:prstGeom prst="rect">
            <a:avLst/>
          </a:prstGeom>
          <a:noFill/>
        </p:spPr>
        <p:txBody>
          <a:bodyPr rtlCol="0" wrap="square">
            <a:spAutoFit/>
          </a:bodyPr>
          <a:lstStyle/>
          <a:p>
            <a:pPr algn="r"/>
            <a:r>
              <a:rPr b="1" lang="tr-TR" sz="2800">
                <a:solidFill>
                  <a:schemeClr val="accent1"/>
                </a:solidFill>
                <a:cs typeface="+mn-ea"/>
                <a:sym typeface="+mn-lt"/>
              </a:rPr>
              <a:t>CONTENTS</a:t>
            </a:r>
          </a:p>
        </p:txBody>
      </p:sp>
      <p:sp>
        <p:nvSpPr>
          <p:cNvPr id="59" name="任意多边形: 形状 58">
            <a:extLst>
              <a:ext uri="{FF2B5EF4-FFF2-40B4-BE49-F238E27FC236}">
                <a16:creationId xmlns:a16="http://schemas.microsoft.com/office/drawing/2014/main" id="{9A4F2754-A2FD-47AA-8435-3D7673EF2E47}"/>
              </a:ext>
            </a:extLst>
          </p:cNvPr>
          <p:cNvSpPr/>
          <p:nvPr/>
        </p:nvSpPr>
        <p:spPr>
          <a:xfrm rot="5400000">
            <a:off x="6890790" y="834648"/>
            <a:ext cx="160138" cy="536919"/>
          </a:xfrm>
          <a:custGeom>
            <a:gdLst>
              <a:gd fmla="*/ 278285 w 319543" name="connsiteX0"/>
              <a:gd fmla="*/ 0 h 1071380" name="connsiteY0"/>
              <a:gd fmla="*/ 319543 w 319543" name="connsiteX1"/>
              <a:gd fmla="*/ 0 h 1071380" name="connsiteY1"/>
              <a:gd fmla="*/ 319543 w 319543" name="connsiteX2"/>
              <a:gd fmla="*/ 601405 h 1071380" name="connsiteY2"/>
              <a:gd fmla="*/ 0 w 319543" name="connsiteX3"/>
              <a:gd fmla="*/ 1071380 h 1071380" name="connsiteY3"/>
              <a:gd fmla="*/ 0 w 319543" name="connsiteX4"/>
              <a:gd fmla="*/ 409295 h 1071380"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1071380" w="319543">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60" name="任意多边形: 形状 59">
            <a:extLst>
              <a:ext uri="{FF2B5EF4-FFF2-40B4-BE49-F238E27FC236}">
                <a16:creationId xmlns:a16="http://schemas.microsoft.com/office/drawing/2014/main" id="{0E69DFF6-5BEE-49C7-93E1-C7DC1C162C92}"/>
              </a:ext>
            </a:extLst>
          </p:cNvPr>
          <p:cNvSpPr/>
          <p:nvPr/>
        </p:nvSpPr>
        <p:spPr>
          <a:xfrm rot="5400000">
            <a:off x="6374866" y="668346"/>
            <a:ext cx="160138" cy="536919"/>
          </a:xfrm>
          <a:custGeom>
            <a:gdLst>
              <a:gd fmla="*/ 278285 w 319543" name="connsiteX0"/>
              <a:gd fmla="*/ 0 h 1071380" name="connsiteY0"/>
              <a:gd fmla="*/ 319543 w 319543" name="connsiteX1"/>
              <a:gd fmla="*/ 0 h 1071380" name="connsiteY1"/>
              <a:gd fmla="*/ 319543 w 319543" name="connsiteX2"/>
              <a:gd fmla="*/ 601405 h 1071380" name="connsiteY2"/>
              <a:gd fmla="*/ 0 w 319543" name="connsiteX3"/>
              <a:gd fmla="*/ 1071380 h 1071380" name="connsiteY3"/>
              <a:gd fmla="*/ 0 w 319543" name="connsiteX4"/>
              <a:gd fmla="*/ 409295 h 1071380"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1071380" w="319543">
                <a:moveTo>
                  <a:pt x="278285" y="0"/>
                </a:moveTo>
                <a:lnTo>
                  <a:pt x="319543" y="0"/>
                </a:lnTo>
                <a:lnTo>
                  <a:pt x="319543" y="601405"/>
                </a:lnTo>
                <a:lnTo>
                  <a:pt x="0" y="1071380"/>
                </a:lnTo>
                <a:lnTo>
                  <a:pt x="0" y="409295"/>
                </a:lnTo>
                <a:close/>
              </a:path>
            </a:pathLst>
          </a:custGeom>
          <a:solidFill>
            <a:schemeClr val="accent2">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Tree>
    <p:extLst>
      <p:ext uri="{BB962C8B-B14F-4D97-AF65-F5344CB8AC3E}">
        <p14:creationId val="3105383880"/>
      </p:ext>
    </p:extLst>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afterEffect" presetClass="entr" presetID="10" presetSubtype="0">
                                  <p:stCondLst>
                                    <p:cond delay="0"/>
                                  </p:stCondLst>
                                  <p:childTnLst>
                                    <p:set>
                                      <p:cBhvr>
                                        <p:cTn dur="1" fill="hold" id="6">
                                          <p:stCondLst>
                                            <p:cond delay="0"/>
                                          </p:stCondLst>
                                        </p:cTn>
                                        <p:tgtEl>
                                          <p:spTgt spid="4"/>
                                        </p:tgtEl>
                                        <p:attrNameLst>
                                          <p:attrName>style.visibility</p:attrName>
                                        </p:attrNameLst>
                                      </p:cBhvr>
                                      <p:to>
                                        <p:strVal val="visible"/>
                                      </p:to>
                                    </p:set>
                                    <p:animEffect filter="fade" transition="in">
                                      <p:cBhvr>
                                        <p:cTn dur="500" id="7"/>
                                        <p:tgtEl>
                                          <p:spTgt spid="4"/>
                                        </p:tgtEl>
                                      </p:cBhvr>
                                    </p:animEffect>
                                  </p:childTnLst>
                                </p:cTn>
                              </p:par>
                            </p:childTnLst>
                          </p:cTn>
                        </p:par>
                        <p:par>
                          <p:cTn fill="hold" id="8" nodeType="afterGroup">
                            <p:stCondLst>
                              <p:cond delay="500"/>
                            </p:stCondLst>
                            <p:childTnLst>
                              <p:par>
                                <p:cTn fill="hold" id="9" nodeType="afterEffect" presetClass="entr" presetID="10" presetSubtype="0">
                                  <p:stCondLst>
                                    <p:cond delay="0"/>
                                  </p:stCondLst>
                                  <p:childTnLst>
                                    <p:set>
                                      <p:cBhvr>
                                        <p:cTn dur="1" fill="hold" id="10">
                                          <p:stCondLst>
                                            <p:cond delay="0"/>
                                          </p:stCondLst>
                                        </p:cTn>
                                        <p:tgtEl>
                                          <p:spTgt spid="22"/>
                                        </p:tgtEl>
                                        <p:attrNameLst>
                                          <p:attrName>style.visibility</p:attrName>
                                        </p:attrNameLst>
                                      </p:cBhvr>
                                      <p:to>
                                        <p:strVal val="visible"/>
                                      </p:to>
                                    </p:set>
                                    <p:animEffect filter="fade" transition="in">
                                      <p:cBhvr>
                                        <p:cTn dur="500" id="11"/>
                                        <p:tgtEl>
                                          <p:spTgt spid="22"/>
                                        </p:tgtEl>
                                      </p:cBhvr>
                                    </p:animEffect>
                                  </p:childTnLst>
                                </p:cTn>
                              </p:par>
                            </p:childTnLst>
                          </p:cTn>
                        </p:par>
                        <p:par>
                          <p:cTn fill="hold" id="12" nodeType="afterGroup">
                            <p:stCondLst>
                              <p:cond delay="1000"/>
                            </p:stCondLst>
                            <p:childTnLst>
                              <p:par>
                                <p:cTn fill="hold" grpId="0" id="13" nodeType="afterEffect" presetClass="entr" presetID="10" presetSubtype="0">
                                  <p:stCondLst>
                                    <p:cond delay="0"/>
                                  </p:stCondLst>
                                  <p:childTnLst>
                                    <p:set>
                                      <p:cBhvr>
                                        <p:cTn dur="1" fill="hold" id="14">
                                          <p:stCondLst>
                                            <p:cond delay="0"/>
                                          </p:stCondLst>
                                        </p:cTn>
                                        <p:tgtEl>
                                          <p:spTgt spid="23"/>
                                        </p:tgtEl>
                                        <p:attrNameLst>
                                          <p:attrName>style.visibility</p:attrName>
                                        </p:attrNameLst>
                                      </p:cBhvr>
                                      <p:to>
                                        <p:strVal val="visible"/>
                                      </p:to>
                                    </p:set>
                                    <p:animEffect filter="fade" transition="in">
                                      <p:cBhvr>
                                        <p:cTn dur="500" id="15"/>
                                        <p:tgtEl>
                                          <p:spTgt spid="23"/>
                                        </p:tgtEl>
                                      </p:cBhvr>
                                    </p:animEffect>
                                  </p:childTnLst>
                                </p:cTn>
                              </p:par>
                            </p:childTnLst>
                          </p:cTn>
                        </p:par>
                        <p:par>
                          <p:cTn fill="hold" id="16" nodeType="afterGroup">
                            <p:stCondLst>
                              <p:cond delay="1500"/>
                            </p:stCondLst>
                            <p:childTnLst>
                              <p:par>
                                <p:cTn fill="hold" grpId="0" id="17" nodeType="afterEffect" presetClass="entr" presetID="10" presetSubtype="0">
                                  <p:stCondLst>
                                    <p:cond delay="0"/>
                                  </p:stCondLst>
                                  <p:childTnLst>
                                    <p:set>
                                      <p:cBhvr>
                                        <p:cTn dur="1" fill="hold" id="18">
                                          <p:stCondLst>
                                            <p:cond delay="0"/>
                                          </p:stCondLst>
                                        </p:cTn>
                                        <p:tgtEl>
                                          <p:spTgt spid="24"/>
                                        </p:tgtEl>
                                        <p:attrNameLst>
                                          <p:attrName>style.visibility</p:attrName>
                                        </p:attrNameLst>
                                      </p:cBhvr>
                                      <p:to>
                                        <p:strVal val="visible"/>
                                      </p:to>
                                    </p:set>
                                    <p:animEffect filter="fade" transition="in">
                                      <p:cBhvr>
                                        <p:cTn dur="500" id="19"/>
                                        <p:tgtEl>
                                          <p:spTgt spid="24"/>
                                        </p:tgtEl>
                                      </p:cBhvr>
                                    </p:animEffect>
                                  </p:childTnLst>
                                </p:cTn>
                              </p:par>
                            </p:childTnLst>
                          </p:cTn>
                        </p:par>
                        <p:par>
                          <p:cTn fill="hold" id="20" nodeType="afterGroup">
                            <p:stCondLst>
                              <p:cond delay="2000"/>
                            </p:stCondLst>
                            <p:childTnLst>
                              <p:par>
                                <p:cTn fill="hold" grpId="0" id="21" nodeType="afterEffect" presetClass="entr" presetID="10" presetSubtype="0">
                                  <p:stCondLst>
                                    <p:cond delay="0"/>
                                  </p:stCondLst>
                                  <p:childTnLst>
                                    <p:set>
                                      <p:cBhvr>
                                        <p:cTn dur="1" fill="hold" id="22">
                                          <p:stCondLst>
                                            <p:cond delay="0"/>
                                          </p:stCondLst>
                                        </p:cTn>
                                        <p:tgtEl>
                                          <p:spTgt spid="25"/>
                                        </p:tgtEl>
                                        <p:attrNameLst>
                                          <p:attrName>style.visibility</p:attrName>
                                        </p:attrNameLst>
                                      </p:cBhvr>
                                      <p:to>
                                        <p:strVal val="visible"/>
                                      </p:to>
                                    </p:set>
                                    <p:animEffect filter="fade" transition="in">
                                      <p:cBhvr>
                                        <p:cTn dur="500" id="23"/>
                                        <p:tgtEl>
                                          <p:spTgt spid="25"/>
                                        </p:tgtEl>
                                      </p:cBhvr>
                                    </p:animEffect>
                                  </p:childTnLst>
                                </p:cTn>
                              </p:par>
                            </p:childTnLst>
                          </p:cTn>
                        </p:par>
                        <p:par>
                          <p:cTn fill="hold" id="24" nodeType="afterGroup">
                            <p:stCondLst>
                              <p:cond delay="2500"/>
                            </p:stCondLst>
                            <p:childTnLst>
                              <p:par>
                                <p:cTn fill="hold" grpId="0" id="25" nodeType="afterEffect" presetClass="entr" presetID="10" presetSubtype="0">
                                  <p:stCondLst>
                                    <p:cond delay="0"/>
                                  </p:stCondLst>
                                  <p:childTnLst>
                                    <p:set>
                                      <p:cBhvr>
                                        <p:cTn dur="1" fill="hold" id="26">
                                          <p:stCondLst>
                                            <p:cond delay="0"/>
                                          </p:stCondLst>
                                        </p:cTn>
                                        <p:tgtEl>
                                          <p:spTgt spid="31"/>
                                        </p:tgtEl>
                                        <p:attrNameLst>
                                          <p:attrName>style.visibility</p:attrName>
                                        </p:attrNameLst>
                                      </p:cBhvr>
                                      <p:to>
                                        <p:strVal val="visible"/>
                                      </p:to>
                                    </p:set>
                                    <p:animEffect filter="fade" transition="in">
                                      <p:cBhvr>
                                        <p:cTn dur="500" id="27"/>
                                        <p:tgtEl>
                                          <p:spTgt spid="31"/>
                                        </p:tgtEl>
                                      </p:cBhvr>
                                    </p:animEffect>
                                  </p:childTnLst>
                                </p:cTn>
                              </p:par>
                            </p:childTnLst>
                          </p:cTn>
                        </p:par>
                        <p:par>
                          <p:cTn fill="hold" id="28" nodeType="afterGroup">
                            <p:stCondLst>
                              <p:cond delay="3000"/>
                            </p:stCondLst>
                            <p:childTnLst>
                              <p:par>
                                <p:cTn fill="hold" id="29" nodeType="afterEffect" presetClass="entr" presetID="10" presetSubtype="0">
                                  <p:stCondLst>
                                    <p:cond delay="0"/>
                                  </p:stCondLst>
                                  <p:childTnLst>
                                    <p:set>
                                      <p:cBhvr>
                                        <p:cTn dur="1" fill="hold" id="30">
                                          <p:stCondLst>
                                            <p:cond delay="0"/>
                                          </p:stCondLst>
                                        </p:cTn>
                                        <p:tgtEl>
                                          <p:spTgt spid="32"/>
                                        </p:tgtEl>
                                        <p:attrNameLst>
                                          <p:attrName>style.visibility</p:attrName>
                                        </p:attrNameLst>
                                      </p:cBhvr>
                                      <p:to>
                                        <p:strVal val="visible"/>
                                      </p:to>
                                    </p:set>
                                    <p:animEffect filter="fade" transition="in">
                                      <p:cBhvr>
                                        <p:cTn dur="500" id="31"/>
                                        <p:tgtEl>
                                          <p:spTgt spid="32"/>
                                        </p:tgtEl>
                                      </p:cBhvr>
                                    </p:animEffect>
                                  </p:childTnLst>
                                </p:cTn>
                              </p:par>
                            </p:childTnLst>
                          </p:cTn>
                        </p:par>
                        <p:par>
                          <p:cTn fill="hold" id="32" nodeType="afterGroup">
                            <p:stCondLst>
                              <p:cond delay="3500"/>
                            </p:stCondLst>
                            <p:childTnLst>
                              <p:par>
                                <p:cTn fill="hold" grpId="0" id="33" nodeType="afterEffect" presetClass="entr" presetID="10" presetSubtype="0">
                                  <p:stCondLst>
                                    <p:cond delay="0"/>
                                  </p:stCondLst>
                                  <p:childTnLst>
                                    <p:set>
                                      <p:cBhvr>
                                        <p:cTn dur="1" fill="hold" id="34">
                                          <p:stCondLst>
                                            <p:cond delay="0"/>
                                          </p:stCondLst>
                                        </p:cTn>
                                        <p:tgtEl>
                                          <p:spTgt spid="33"/>
                                        </p:tgtEl>
                                        <p:attrNameLst>
                                          <p:attrName>style.visibility</p:attrName>
                                        </p:attrNameLst>
                                      </p:cBhvr>
                                      <p:to>
                                        <p:strVal val="visible"/>
                                      </p:to>
                                    </p:set>
                                    <p:animEffect filter="fade" transition="in">
                                      <p:cBhvr>
                                        <p:cTn dur="500" id="35"/>
                                        <p:tgtEl>
                                          <p:spTgt spid="33"/>
                                        </p:tgtEl>
                                      </p:cBhvr>
                                    </p:animEffect>
                                  </p:childTnLst>
                                </p:cTn>
                              </p:par>
                            </p:childTnLst>
                          </p:cTn>
                        </p:par>
                        <p:par>
                          <p:cTn fill="hold" id="36" nodeType="afterGroup">
                            <p:stCondLst>
                              <p:cond delay="4000"/>
                            </p:stCondLst>
                            <p:childTnLst>
                              <p:par>
                                <p:cTn fill="hold" grpId="0" id="37" nodeType="afterEffect" presetClass="entr" presetID="10" presetSubtype="0">
                                  <p:stCondLst>
                                    <p:cond delay="0"/>
                                  </p:stCondLst>
                                  <p:childTnLst>
                                    <p:set>
                                      <p:cBhvr>
                                        <p:cTn dur="1" fill="hold" id="38">
                                          <p:stCondLst>
                                            <p:cond delay="0"/>
                                          </p:stCondLst>
                                        </p:cTn>
                                        <p:tgtEl>
                                          <p:spTgt spid="34"/>
                                        </p:tgtEl>
                                        <p:attrNameLst>
                                          <p:attrName>style.visibility</p:attrName>
                                        </p:attrNameLst>
                                      </p:cBhvr>
                                      <p:to>
                                        <p:strVal val="visible"/>
                                      </p:to>
                                    </p:set>
                                    <p:animEffect filter="fade" transition="in">
                                      <p:cBhvr>
                                        <p:cTn dur="500" id="39"/>
                                        <p:tgtEl>
                                          <p:spTgt spid="34"/>
                                        </p:tgtEl>
                                      </p:cBhvr>
                                    </p:animEffect>
                                  </p:childTnLst>
                                </p:cTn>
                              </p:par>
                            </p:childTnLst>
                          </p:cTn>
                        </p:par>
                        <p:par>
                          <p:cTn fill="hold" id="40" nodeType="afterGroup">
                            <p:stCondLst>
                              <p:cond delay="4500"/>
                            </p:stCondLst>
                            <p:childTnLst>
                              <p:par>
                                <p:cTn fill="hold" grpId="0" id="41" nodeType="afterEffect" presetClass="entr" presetID="10" presetSubtype="0">
                                  <p:stCondLst>
                                    <p:cond delay="0"/>
                                  </p:stCondLst>
                                  <p:childTnLst>
                                    <p:set>
                                      <p:cBhvr>
                                        <p:cTn dur="1" fill="hold" id="42">
                                          <p:stCondLst>
                                            <p:cond delay="0"/>
                                          </p:stCondLst>
                                        </p:cTn>
                                        <p:tgtEl>
                                          <p:spTgt spid="35"/>
                                        </p:tgtEl>
                                        <p:attrNameLst>
                                          <p:attrName>style.visibility</p:attrName>
                                        </p:attrNameLst>
                                      </p:cBhvr>
                                      <p:to>
                                        <p:strVal val="visible"/>
                                      </p:to>
                                    </p:set>
                                    <p:animEffect filter="fade" transition="in">
                                      <p:cBhvr>
                                        <p:cTn dur="500" id="43"/>
                                        <p:tgtEl>
                                          <p:spTgt spid="35"/>
                                        </p:tgtEl>
                                      </p:cBhvr>
                                    </p:animEffect>
                                  </p:childTnLst>
                                </p:cTn>
                              </p:par>
                            </p:childTnLst>
                          </p:cTn>
                        </p:par>
                        <p:par>
                          <p:cTn fill="hold" id="44" nodeType="afterGroup">
                            <p:stCondLst>
                              <p:cond delay="5000"/>
                            </p:stCondLst>
                            <p:childTnLst>
                              <p:par>
                                <p:cTn fill="hold" grpId="0" id="45" nodeType="afterEffect" presetClass="entr" presetID="10" presetSubtype="0">
                                  <p:stCondLst>
                                    <p:cond delay="0"/>
                                  </p:stCondLst>
                                  <p:childTnLst>
                                    <p:set>
                                      <p:cBhvr>
                                        <p:cTn dur="1" fill="hold" id="46">
                                          <p:stCondLst>
                                            <p:cond delay="0"/>
                                          </p:stCondLst>
                                        </p:cTn>
                                        <p:tgtEl>
                                          <p:spTgt spid="36"/>
                                        </p:tgtEl>
                                        <p:attrNameLst>
                                          <p:attrName>style.visibility</p:attrName>
                                        </p:attrNameLst>
                                      </p:cBhvr>
                                      <p:to>
                                        <p:strVal val="visible"/>
                                      </p:to>
                                    </p:set>
                                    <p:animEffect filter="fade" transition="in">
                                      <p:cBhvr>
                                        <p:cTn dur="500" id="47"/>
                                        <p:tgtEl>
                                          <p:spTgt spid="36"/>
                                        </p:tgtEl>
                                      </p:cBhvr>
                                    </p:animEffect>
                                  </p:childTnLst>
                                </p:cTn>
                              </p:par>
                            </p:childTnLst>
                          </p:cTn>
                        </p:par>
                        <p:par>
                          <p:cTn fill="hold" id="48" nodeType="afterGroup">
                            <p:stCondLst>
                              <p:cond delay="5500"/>
                            </p:stCondLst>
                            <p:childTnLst>
                              <p:par>
                                <p:cTn fill="hold" id="49" nodeType="afterEffect" presetClass="entr" presetID="10" presetSubtype="0">
                                  <p:stCondLst>
                                    <p:cond delay="0"/>
                                  </p:stCondLst>
                                  <p:childTnLst>
                                    <p:set>
                                      <p:cBhvr>
                                        <p:cTn dur="1" fill="hold" id="50">
                                          <p:stCondLst>
                                            <p:cond delay="0"/>
                                          </p:stCondLst>
                                        </p:cTn>
                                        <p:tgtEl>
                                          <p:spTgt spid="37"/>
                                        </p:tgtEl>
                                        <p:attrNameLst>
                                          <p:attrName>style.visibility</p:attrName>
                                        </p:attrNameLst>
                                      </p:cBhvr>
                                      <p:to>
                                        <p:strVal val="visible"/>
                                      </p:to>
                                    </p:set>
                                    <p:animEffect filter="fade" transition="in">
                                      <p:cBhvr>
                                        <p:cTn dur="500" id="51"/>
                                        <p:tgtEl>
                                          <p:spTgt spid="37"/>
                                        </p:tgtEl>
                                      </p:cBhvr>
                                    </p:animEffect>
                                  </p:childTnLst>
                                </p:cTn>
                              </p:par>
                            </p:childTnLst>
                          </p:cTn>
                        </p:par>
                        <p:par>
                          <p:cTn fill="hold" id="52" nodeType="afterGroup">
                            <p:stCondLst>
                              <p:cond delay="6000"/>
                            </p:stCondLst>
                            <p:childTnLst>
                              <p:par>
                                <p:cTn fill="hold" grpId="0" id="53" nodeType="afterEffect" presetClass="entr" presetID="10" presetSubtype="0">
                                  <p:stCondLst>
                                    <p:cond delay="0"/>
                                  </p:stCondLst>
                                  <p:childTnLst>
                                    <p:set>
                                      <p:cBhvr>
                                        <p:cTn dur="1" fill="hold" id="54">
                                          <p:stCondLst>
                                            <p:cond delay="0"/>
                                          </p:stCondLst>
                                        </p:cTn>
                                        <p:tgtEl>
                                          <p:spTgt spid="38"/>
                                        </p:tgtEl>
                                        <p:attrNameLst>
                                          <p:attrName>style.visibility</p:attrName>
                                        </p:attrNameLst>
                                      </p:cBhvr>
                                      <p:to>
                                        <p:strVal val="visible"/>
                                      </p:to>
                                    </p:set>
                                    <p:animEffect filter="fade" transition="in">
                                      <p:cBhvr>
                                        <p:cTn dur="500" id="55"/>
                                        <p:tgtEl>
                                          <p:spTgt spid="38"/>
                                        </p:tgtEl>
                                      </p:cBhvr>
                                    </p:animEffect>
                                  </p:childTnLst>
                                </p:cTn>
                              </p:par>
                            </p:childTnLst>
                          </p:cTn>
                        </p:par>
                        <p:par>
                          <p:cTn fill="hold" id="56" nodeType="afterGroup">
                            <p:stCondLst>
                              <p:cond delay="6500"/>
                            </p:stCondLst>
                            <p:childTnLst>
                              <p:par>
                                <p:cTn fill="hold" grpId="0" id="57" nodeType="afterEffect" presetClass="entr" presetID="10" presetSubtype="0">
                                  <p:stCondLst>
                                    <p:cond delay="0"/>
                                  </p:stCondLst>
                                  <p:childTnLst>
                                    <p:set>
                                      <p:cBhvr>
                                        <p:cTn dur="1" fill="hold" id="58">
                                          <p:stCondLst>
                                            <p:cond delay="0"/>
                                          </p:stCondLst>
                                        </p:cTn>
                                        <p:tgtEl>
                                          <p:spTgt spid="39"/>
                                        </p:tgtEl>
                                        <p:attrNameLst>
                                          <p:attrName>style.visibility</p:attrName>
                                        </p:attrNameLst>
                                      </p:cBhvr>
                                      <p:to>
                                        <p:strVal val="visible"/>
                                      </p:to>
                                    </p:set>
                                    <p:animEffect filter="fade" transition="in">
                                      <p:cBhvr>
                                        <p:cTn dur="500" id="59"/>
                                        <p:tgtEl>
                                          <p:spTgt spid="39"/>
                                        </p:tgtEl>
                                      </p:cBhvr>
                                    </p:animEffect>
                                  </p:childTnLst>
                                </p:cTn>
                              </p:par>
                            </p:childTnLst>
                          </p:cTn>
                        </p:par>
                        <p:par>
                          <p:cTn fill="hold" id="60" nodeType="afterGroup">
                            <p:stCondLst>
                              <p:cond delay="7000"/>
                            </p:stCondLst>
                            <p:childTnLst>
                              <p:par>
                                <p:cTn fill="hold" grpId="0" id="61" nodeType="afterEffect" presetClass="entr" presetID="10" presetSubtype="0">
                                  <p:stCondLst>
                                    <p:cond delay="0"/>
                                  </p:stCondLst>
                                  <p:childTnLst>
                                    <p:set>
                                      <p:cBhvr>
                                        <p:cTn dur="1" fill="hold" id="62">
                                          <p:stCondLst>
                                            <p:cond delay="0"/>
                                          </p:stCondLst>
                                        </p:cTn>
                                        <p:tgtEl>
                                          <p:spTgt spid="40"/>
                                        </p:tgtEl>
                                        <p:attrNameLst>
                                          <p:attrName>style.visibility</p:attrName>
                                        </p:attrNameLst>
                                      </p:cBhvr>
                                      <p:to>
                                        <p:strVal val="visible"/>
                                      </p:to>
                                    </p:set>
                                    <p:animEffect filter="fade" transition="in">
                                      <p:cBhvr>
                                        <p:cTn dur="500" id="63"/>
                                        <p:tgtEl>
                                          <p:spTgt spid="40"/>
                                        </p:tgtEl>
                                      </p:cBhvr>
                                    </p:animEffect>
                                  </p:childTnLst>
                                </p:cTn>
                              </p:par>
                            </p:childTnLst>
                          </p:cTn>
                        </p:par>
                        <p:par>
                          <p:cTn fill="hold" id="64" nodeType="afterGroup">
                            <p:stCondLst>
                              <p:cond delay="7500"/>
                            </p:stCondLst>
                            <p:childTnLst>
                              <p:par>
                                <p:cTn fill="hold" grpId="0" id="65" nodeType="afterEffect" presetClass="entr" presetID="10" presetSubtype="0">
                                  <p:stCondLst>
                                    <p:cond delay="0"/>
                                  </p:stCondLst>
                                  <p:childTnLst>
                                    <p:set>
                                      <p:cBhvr>
                                        <p:cTn dur="1" fill="hold" id="66">
                                          <p:stCondLst>
                                            <p:cond delay="0"/>
                                          </p:stCondLst>
                                        </p:cTn>
                                        <p:tgtEl>
                                          <p:spTgt spid="41"/>
                                        </p:tgtEl>
                                        <p:attrNameLst>
                                          <p:attrName>style.visibility</p:attrName>
                                        </p:attrNameLst>
                                      </p:cBhvr>
                                      <p:to>
                                        <p:strVal val="visible"/>
                                      </p:to>
                                    </p:set>
                                    <p:animEffect filter="fade" transition="in">
                                      <p:cBhvr>
                                        <p:cTn dur="500" id="67"/>
                                        <p:tgtEl>
                                          <p:spTgt spid="41"/>
                                        </p:tgtEl>
                                      </p:cBhvr>
                                    </p:animEffect>
                                  </p:childTnLst>
                                </p:cTn>
                              </p:par>
                            </p:childTnLst>
                          </p:cTn>
                        </p:par>
                        <p:par>
                          <p:cTn fill="hold" id="68" nodeType="afterGroup">
                            <p:stCondLst>
                              <p:cond delay="8000"/>
                            </p:stCondLst>
                            <p:childTnLst>
                              <p:par>
                                <p:cTn fill="hold" id="69" nodeType="afterEffect" presetClass="entr" presetID="10" presetSubtype="0">
                                  <p:stCondLst>
                                    <p:cond delay="0"/>
                                  </p:stCondLst>
                                  <p:childTnLst>
                                    <p:set>
                                      <p:cBhvr>
                                        <p:cTn dur="1" fill="hold" id="70">
                                          <p:stCondLst>
                                            <p:cond delay="0"/>
                                          </p:stCondLst>
                                        </p:cTn>
                                        <p:tgtEl>
                                          <p:spTgt spid="42"/>
                                        </p:tgtEl>
                                        <p:attrNameLst>
                                          <p:attrName>style.visibility</p:attrName>
                                        </p:attrNameLst>
                                      </p:cBhvr>
                                      <p:to>
                                        <p:strVal val="visible"/>
                                      </p:to>
                                    </p:set>
                                    <p:animEffect filter="fade" transition="in">
                                      <p:cBhvr>
                                        <p:cTn dur="500" id="71"/>
                                        <p:tgtEl>
                                          <p:spTgt spid="42"/>
                                        </p:tgtEl>
                                      </p:cBhvr>
                                    </p:animEffect>
                                  </p:childTnLst>
                                </p:cTn>
                              </p:par>
                            </p:childTnLst>
                          </p:cTn>
                        </p:par>
                        <p:par>
                          <p:cTn fill="hold" id="72" nodeType="afterGroup">
                            <p:stCondLst>
                              <p:cond delay="8500"/>
                            </p:stCondLst>
                            <p:childTnLst>
                              <p:par>
                                <p:cTn fill="hold" grpId="0" id="73" nodeType="afterEffect" presetClass="entr" presetID="10" presetSubtype="0">
                                  <p:stCondLst>
                                    <p:cond delay="0"/>
                                  </p:stCondLst>
                                  <p:childTnLst>
                                    <p:set>
                                      <p:cBhvr>
                                        <p:cTn dur="1" fill="hold" id="74">
                                          <p:stCondLst>
                                            <p:cond delay="0"/>
                                          </p:stCondLst>
                                        </p:cTn>
                                        <p:tgtEl>
                                          <p:spTgt spid="43"/>
                                        </p:tgtEl>
                                        <p:attrNameLst>
                                          <p:attrName>style.visibility</p:attrName>
                                        </p:attrNameLst>
                                      </p:cBhvr>
                                      <p:to>
                                        <p:strVal val="visible"/>
                                      </p:to>
                                    </p:set>
                                    <p:animEffect filter="fade" transition="in">
                                      <p:cBhvr>
                                        <p:cTn dur="500" id="75"/>
                                        <p:tgtEl>
                                          <p:spTgt spid="43"/>
                                        </p:tgtEl>
                                      </p:cBhvr>
                                    </p:animEffect>
                                  </p:childTnLst>
                                </p:cTn>
                              </p:par>
                            </p:childTnLst>
                          </p:cTn>
                        </p:par>
                        <p:par>
                          <p:cTn fill="hold" id="76" nodeType="afterGroup">
                            <p:stCondLst>
                              <p:cond delay="9000"/>
                            </p:stCondLst>
                            <p:childTnLst>
                              <p:par>
                                <p:cTn fill="hold" grpId="0" id="77" nodeType="afterEffect" presetClass="entr" presetID="10" presetSubtype="0">
                                  <p:stCondLst>
                                    <p:cond delay="0"/>
                                  </p:stCondLst>
                                  <p:childTnLst>
                                    <p:set>
                                      <p:cBhvr>
                                        <p:cTn dur="1" fill="hold" id="78">
                                          <p:stCondLst>
                                            <p:cond delay="0"/>
                                          </p:stCondLst>
                                        </p:cTn>
                                        <p:tgtEl>
                                          <p:spTgt spid="44"/>
                                        </p:tgtEl>
                                        <p:attrNameLst>
                                          <p:attrName>style.visibility</p:attrName>
                                        </p:attrNameLst>
                                      </p:cBhvr>
                                      <p:to>
                                        <p:strVal val="visible"/>
                                      </p:to>
                                    </p:set>
                                    <p:animEffect filter="fade" transition="in">
                                      <p:cBhvr>
                                        <p:cTn dur="500" id="79"/>
                                        <p:tgtEl>
                                          <p:spTgt spid="44"/>
                                        </p:tgtEl>
                                      </p:cBhvr>
                                    </p:animEffect>
                                  </p:childTnLst>
                                </p:cTn>
                              </p:par>
                            </p:childTnLst>
                          </p:cTn>
                        </p:par>
                        <p:par>
                          <p:cTn fill="hold" id="80" nodeType="afterGroup">
                            <p:stCondLst>
                              <p:cond delay="9500"/>
                            </p:stCondLst>
                            <p:childTnLst>
                              <p:par>
                                <p:cTn fill="hold" grpId="0" id="81" nodeType="afterEffect" presetClass="entr" presetID="10" presetSubtype="0">
                                  <p:stCondLst>
                                    <p:cond delay="0"/>
                                  </p:stCondLst>
                                  <p:childTnLst>
                                    <p:set>
                                      <p:cBhvr>
                                        <p:cTn dur="1" fill="hold" id="82">
                                          <p:stCondLst>
                                            <p:cond delay="0"/>
                                          </p:stCondLst>
                                        </p:cTn>
                                        <p:tgtEl>
                                          <p:spTgt spid="45"/>
                                        </p:tgtEl>
                                        <p:attrNameLst>
                                          <p:attrName>style.visibility</p:attrName>
                                        </p:attrNameLst>
                                      </p:cBhvr>
                                      <p:to>
                                        <p:strVal val="visible"/>
                                      </p:to>
                                    </p:set>
                                    <p:animEffect filter="fade" transition="in">
                                      <p:cBhvr>
                                        <p:cTn dur="500" id="83"/>
                                        <p:tgtEl>
                                          <p:spTgt spid="45"/>
                                        </p:tgtEl>
                                      </p:cBhvr>
                                    </p:animEffect>
                                  </p:childTnLst>
                                </p:cTn>
                              </p:par>
                            </p:childTnLst>
                          </p:cTn>
                        </p:par>
                      </p:childTnLst>
                    </p:cTn>
                  </p:par>
                  <p:par>
                    <p:cTn fill="hold" id="84" nodeType="clickPar">
                      <p:stCondLst>
                        <p:cond delay="indefinite"/>
                        <p:cond delay="0" evt="onBegin">
                          <p:tn val="83"/>
                        </p:cond>
                      </p:stCondLst>
                      <p:childTnLst>
                        <p:par>
                          <p:cTn fill="hold" id="85" nodeType="afterGroup">
                            <p:stCondLst>
                              <p:cond delay="0"/>
                            </p:stCondLst>
                            <p:childTnLst>
                              <p:par>
                                <p:cTn fill="hold" grpId="0" id="86" nodeType="clickEffect" presetClass="entr" presetID="2" presetSubtype="8">
                                  <p:stCondLst>
                                    <p:cond delay="0"/>
                                  </p:stCondLst>
                                  <p:childTnLst>
                                    <p:set>
                                      <p:cBhvr>
                                        <p:cTn dur="1" fill="hold" id="87">
                                          <p:stCondLst>
                                            <p:cond delay="0"/>
                                          </p:stCondLst>
                                        </p:cTn>
                                        <p:tgtEl>
                                          <p:spTgt spid="50"/>
                                        </p:tgtEl>
                                        <p:attrNameLst>
                                          <p:attrName>style.visibility</p:attrName>
                                        </p:attrNameLst>
                                      </p:cBhvr>
                                      <p:to>
                                        <p:strVal val="visible"/>
                                      </p:to>
                                    </p:set>
                                    <p:anim calcmode="lin" valueType="num">
                                      <p:cBhvr additive="base">
                                        <p:cTn dur="500" fill="hold" id="88"/>
                                        <p:tgtEl>
                                          <p:spTgt spid="50"/>
                                        </p:tgtEl>
                                        <p:attrNameLst>
                                          <p:attrName>ppt_x</p:attrName>
                                        </p:attrNameLst>
                                      </p:cBhvr>
                                      <p:tavLst>
                                        <p:tav tm="0">
                                          <p:val>
                                            <p:strVal val="0-#ppt_w/2"/>
                                          </p:val>
                                        </p:tav>
                                        <p:tav tm="100000">
                                          <p:val>
                                            <p:strVal val="#ppt_x"/>
                                          </p:val>
                                        </p:tav>
                                      </p:tavLst>
                                    </p:anim>
                                    <p:anim calcmode="lin" valueType="num">
                                      <p:cBhvr additive="base">
                                        <p:cTn dur="500" fill="hold" id="89"/>
                                        <p:tgtEl>
                                          <p:spTgt spid="50"/>
                                        </p:tgtEl>
                                        <p:attrNameLst>
                                          <p:attrName>ppt_y</p:attrName>
                                        </p:attrNameLst>
                                      </p:cBhvr>
                                      <p:tavLst>
                                        <p:tav tm="0">
                                          <p:val>
                                            <p:strVal val="#ppt_y"/>
                                          </p:val>
                                        </p:tav>
                                        <p:tav tm="100000">
                                          <p:val>
                                            <p:strVal val="#ppt_y"/>
                                          </p:val>
                                        </p:tav>
                                      </p:tavLst>
                                    </p:anim>
                                  </p:childTnLst>
                                </p:cTn>
                              </p:par>
                            </p:childTnLst>
                          </p:cTn>
                        </p:par>
                      </p:childTnLst>
                    </p:cTn>
                  </p:par>
                  <p:par>
                    <p:cTn fill="hold" id="90" nodeType="clickPar">
                      <p:stCondLst>
                        <p:cond delay="indefinite"/>
                        <p:cond delay="0" evt="onBegin">
                          <p:tn val="89"/>
                        </p:cond>
                      </p:stCondLst>
                      <p:childTnLst>
                        <p:par>
                          <p:cTn fill="hold" id="91" nodeType="afterGroup">
                            <p:stCondLst>
                              <p:cond delay="0"/>
                            </p:stCondLst>
                            <p:childTnLst>
                              <p:par>
                                <p:cTn fill="hold" id="92" nodeType="clickEffect" presetClass="entr" presetID="22" presetSubtype="8">
                                  <p:stCondLst>
                                    <p:cond delay="0"/>
                                  </p:stCondLst>
                                  <p:childTnLst>
                                    <p:set>
                                      <p:cBhvr>
                                        <p:cTn dur="1" fill="hold" id="93">
                                          <p:stCondLst>
                                            <p:cond delay="0"/>
                                          </p:stCondLst>
                                        </p:cTn>
                                        <p:tgtEl>
                                          <p:spTgt spid="6"/>
                                        </p:tgtEl>
                                        <p:attrNameLst>
                                          <p:attrName>style.visibility</p:attrName>
                                        </p:attrNameLst>
                                      </p:cBhvr>
                                      <p:to>
                                        <p:strVal val="visible"/>
                                      </p:to>
                                    </p:set>
                                    <p:animEffect filter="wipe(left)" transition="in">
                                      <p:cBhvr>
                                        <p:cTn dur="500" id="94"/>
                                        <p:tgtEl>
                                          <p:spTgt spid="6"/>
                                        </p:tgtEl>
                                      </p:cBhvr>
                                    </p:animEffect>
                                  </p:childTnLst>
                                </p:cTn>
                              </p:par>
                            </p:childTnLst>
                          </p:cTn>
                        </p:par>
                        <p:par>
                          <p:cTn fill="hold" id="95" nodeType="afterGroup">
                            <p:stCondLst>
                              <p:cond delay="500"/>
                            </p:stCondLst>
                            <p:childTnLst>
                              <p:par>
                                <p:cTn fill="hold" grpId="0" id="96" nodeType="afterEffect" presetClass="entr" presetID="22" presetSubtype="8">
                                  <p:stCondLst>
                                    <p:cond delay="0"/>
                                  </p:stCondLst>
                                  <p:childTnLst>
                                    <p:set>
                                      <p:cBhvr>
                                        <p:cTn dur="1" fill="hold" id="97">
                                          <p:stCondLst>
                                            <p:cond delay="0"/>
                                          </p:stCondLst>
                                        </p:cTn>
                                        <p:tgtEl>
                                          <p:spTgt spid="59"/>
                                        </p:tgtEl>
                                        <p:attrNameLst>
                                          <p:attrName>style.visibility</p:attrName>
                                        </p:attrNameLst>
                                      </p:cBhvr>
                                      <p:to>
                                        <p:strVal val="visible"/>
                                      </p:to>
                                    </p:set>
                                    <p:animEffect filter="wipe(left)" transition="in">
                                      <p:cBhvr>
                                        <p:cTn dur="500" id="98"/>
                                        <p:tgtEl>
                                          <p:spTgt spid="59"/>
                                        </p:tgtEl>
                                      </p:cBhvr>
                                    </p:animEffect>
                                  </p:childTnLst>
                                </p:cTn>
                              </p:par>
                            </p:childTnLst>
                          </p:cTn>
                        </p:par>
                        <p:par>
                          <p:cTn fill="hold" id="99" nodeType="afterGroup">
                            <p:stCondLst>
                              <p:cond delay="1000"/>
                            </p:stCondLst>
                            <p:childTnLst>
                              <p:par>
                                <p:cTn fill="hold" grpId="0" id="100" nodeType="afterEffect" presetClass="entr" presetID="22" presetSubtype="8">
                                  <p:stCondLst>
                                    <p:cond delay="0"/>
                                  </p:stCondLst>
                                  <p:childTnLst>
                                    <p:set>
                                      <p:cBhvr>
                                        <p:cTn dur="1" fill="hold" id="101">
                                          <p:stCondLst>
                                            <p:cond delay="0"/>
                                          </p:stCondLst>
                                        </p:cTn>
                                        <p:tgtEl>
                                          <p:spTgt spid="60"/>
                                        </p:tgtEl>
                                        <p:attrNameLst>
                                          <p:attrName>style.visibility</p:attrName>
                                        </p:attrNameLst>
                                      </p:cBhvr>
                                      <p:to>
                                        <p:strVal val="visible"/>
                                      </p:to>
                                    </p:set>
                                    <p:animEffect filter="wipe(left)" transition="in">
                                      <p:cBhvr>
                                        <p:cTn dur="500" id="102"/>
                                        <p:tgtEl>
                                          <p:spTgt spid="60"/>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4"/>
      <p:bldP grpId="0" spid="23"/>
      <p:bldP grpId="0" spid="24"/>
      <p:bldP grpId="0" spid="25"/>
      <p:bldP grpId="0" spid="31"/>
      <p:bldP grpId="0" spid="33"/>
      <p:bldP grpId="0" spid="34"/>
      <p:bldP grpId="0" spid="35"/>
      <p:bldP grpId="0" spid="36"/>
      <p:bldP grpId="0" spid="38"/>
      <p:bldP grpId="0" spid="39"/>
      <p:bldP grpId="0" spid="40"/>
      <p:bldP grpId="0" spid="41"/>
      <p:bldP grpId="0" spid="43"/>
      <p:bldP grpId="0" spid="44"/>
      <p:bldP grpId="0" spid="45"/>
      <p:bldP grpId="0" spid="50"/>
      <p:bldP grpId="0" spid="59"/>
      <p:bldP grpId="0" spid="60"/>
    </p:bldLst>
  </p:timing>
</p:sld>
</file>

<file path=ppt/slides/slide20.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7" name="Rectangle 6"/>
          <p:cNvSpPr/>
          <p:nvPr/>
        </p:nvSpPr>
        <p:spPr>
          <a:xfrm>
            <a:off x="1242775" y="3246326"/>
            <a:ext cx="3427925" cy="1943100"/>
          </a:xfrm>
          <a:prstGeom prst="rect">
            <a:avLst/>
          </a:prstGeom>
        </p:spPr>
        <p:txBody>
          <a:bodyPr wrap="square">
            <a:spAutoFit/>
          </a:bodyPr>
          <a:lstStyle/>
          <a:p>
            <a:pPr>
              <a:lnSpc>
                <a:spcPct val="150000"/>
              </a:lnSpc>
            </a:pPr>
            <a:r>
              <a:rPr b="1" i="0" lang="id-ID" sz="900">
                <a:solidFill>
                  <a:schemeClr val="bg2"/>
                </a:solidFill>
                <a:effectLst/>
                <a:latin charset="-122" panose="020b0400000000000000" pitchFamily="34" typeface="思源黑体"/>
                <a:ea charset="-122" panose="020b0400000000000000" pitchFamily="34" typeface="思源黑体"/>
                <a:cs charset="0" panose="020f0502020204030203" pitchFamily="34" typeface="Lato"/>
                <a:sym charset="-122" panose="020b0400000000000000" pitchFamily="34" typeface="思源黑体"/>
              </a:rPr>
              <a:t>Lorem ipsum dolor sit amet, lacus nulla ac netus nibh aliquet, porttitor ligula justo libero vivamus porttitor dolor, conubia mollit. Sapien nam suspendisse, tincidunt eget ante tincidunt, eros in auctor fringilla praesent at diam. In et quam est eget mi. Pellentesque nunc orci eu enim, </a:t>
            </a:r>
          </a:p>
          <a:p>
            <a:pPr>
              <a:lnSpc>
                <a:spcPct val="150000"/>
              </a:lnSpc>
            </a:pPr>
            <a:r>
              <a:rPr b="1" i="0" lang="id-ID" sz="900">
                <a:solidFill>
                  <a:schemeClr val="bg2"/>
                </a:solidFill>
                <a:effectLst/>
                <a:latin charset="-122" panose="020b0400000000000000" pitchFamily="34" typeface="思源黑体"/>
                <a:ea charset="-122" panose="020b0400000000000000" pitchFamily="34" typeface="思源黑体"/>
                <a:cs charset="0" panose="020f0502020204030203" pitchFamily="34" typeface="Lato"/>
                <a:sym charset="-122" panose="020b0400000000000000" pitchFamily="34" typeface="思源黑体"/>
              </a:rPr>
              <a:t>eget in fringilla vitae, et eros praesent dolor porttitor. Lacinia lectus nonummy, Lorem ipsum dolor sit amet, lacus nulla ac netus nibh aliquet, </a:t>
            </a:r>
          </a:p>
        </p:txBody>
      </p:sp>
      <p:sp>
        <p:nvSpPr>
          <p:cNvPr id="8" name="Subtitle 2"/>
          <p:cNvSpPr txBox="1"/>
          <p:nvPr/>
        </p:nvSpPr>
        <p:spPr>
          <a:xfrm>
            <a:off x="1282100" y="2003522"/>
            <a:ext cx="3783386" cy="746383"/>
          </a:xfrm>
          <a:prstGeom prst="rect">
            <a:avLst/>
          </a:prstGeom>
        </p:spPr>
        <p:txBody>
          <a:bodyPr>
            <a:noAutofit/>
          </a:bodyPr>
          <a:lstStyle>
            <a:lvl1pPr algn="l" defTabSz="914400" eaLnBrk="1" hangingPunct="1" indent="-228600" latinLnBrk="0" marL="228600" rtl="0">
              <a:lnSpc>
                <a:spcPct val="90000"/>
              </a:lnSpc>
              <a:spcBef>
                <a:spcPts val="1000"/>
              </a:spcBef>
              <a:buFont charset="0" panose="020b0604020202020204" pitchFamily="34" typeface="Arial"/>
              <a:buChar char="•"/>
              <a:defRPr kern="1200" sz="2800">
                <a:solidFill>
                  <a:schemeClr val="tx1"/>
                </a:solidFill>
                <a:latin typeface="+mn-lt"/>
                <a:ea typeface="+mn-ea"/>
                <a:cs typeface="+mn-cs"/>
              </a:defRPr>
            </a:lvl1pPr>
            <a:lvl2pPr algn="l" defTabSz="914400" eaLnBrk="1" hangingPunct="1" indent="-228600" latinLnBrk="0" marL="685800" rtl="0">
              <a:lnSpc>
                <a:spcPct val="90000"/>
              </a:lnSpc>
              <a:spcBef>
                <a:spcPts val="500"/>
              </a:spcBef>
              <a:buFont charset="0" panose="020b0604020202020204" pitchFamily="34" typeface="Arial"/>
              <a:buChar char="•"/>
              <a:defRPr kern="1200" sz="2400">
                <a:solidFill>
                  <a:schemeClr val="tx1"/>
                </a:solidFill>
                <a:latin typeface="+mn-lt"/>
                <a:ea typeface="+mn-ea"/>
                <a:cs typeface="+mn-cs"/>
              </a:defRPr>
            </a:lvl2pPr>
            <a:lvl3pPr algn="l" defTabSz="914400" eaLnBrk="1" hangingPunct="1" indent="-228600" latinLnBrk="0" marL="1143000" rtl="0">
              <a:lnSpc>
                <a:spcPct val="90000"/>
              </a:lnSpc>
              <a:spcBef>
                <a:spcPts val="500"/>
              </a:spcBef>
              <a:buFont charset="0" panose="020b0604020202020204" pitchFamily="34" typeface="Arial"/>
              <a:buChar char="•"/>
              <a:defRPr kern="1200" sz="2000">
                <a:solidFill>
                  <a:schemeClr val="tx1"/>
                </a:solidFill>
                <a:latin typeface="+mn-lt"/>
                <a:ea typeface="+mn-ea"/>
                <a:cs typeface="+mn-cs"/>
              </a:defRPr>
            </a:lvl3pPr>
            <a:lvl4pPr algn="l" defTabSz="914400" eaLnBrk="1" hangingPunct="1" indent="-228600" latinLnBrk="0" marL="16002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4pPr>
            <a:lvl5pPr algn="l" defTabSz="914400" eaLnBrk="1" hangingPunct="1" indent="-228600" latinLnBrk="0" marL="20574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5pPr>
            <a:lvl6pPr algn="l" defTabSz="914400" eaLnBrk="1" hangingPunct="1" indent="-228600" latinLnBrk="0" marL="25146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6pPr>
            <a:lvl7pPr algn="l" defTabSz="914400" eaLnBrk="1" hangingPunct="1" indent="-228600" latinLnBrk="0" marL="29718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7pPr>
            <a:lvl8pPr algn="l" defTabSz="914400" eaLnBrk="1" hangingPunct="1" indent="-228600" latinLnBrk="0" marL="34290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8pPr>
            <a:lvl9pPr algn="l" defTabSz="914400" eaLnBrk="1" hangingPunct="1" indent="-228600" latinLnBrk="0" marL="38862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9pPr>
          </a:lstStyle>
          <a:p>
            <a:pPr indent="0" marL="0">
              <a:buNone/>
            </a:pPr>
            <a:r>
              <a:rPr b="1" lang="id-ID" sz="4000">
                <a:solidFill>
                  <a:schemeClr val="accent1"/>
                </a:solidFill>
                <a:latin charset="-122" panose="020b0400000000000000" pitchFamily="34" typeface="思源黑体"/>
                <a:ea charset="-122" panose="020b0400000000000000" pitchFamily="34" typeface="思源黑体"/>
                <a:cs charset="0" panose="020f0502020204030203" pitchFamily="34" typeface="Lato Medium"/>
                <a:sym charset="-122" panose="020b0400000000000000" pitchFamily="34" typeface="思源黑体"/>
              </a:rPr>
              <a:t>YOU CAN SAY</a:t>
            </a:r>
          </a:p>
        </p:txBody>
      </p:sp>
      <p:sp>
        <p:nvSpPr>
          <p:cNvPr id="9" name="Subtitle 2"/>
          <p:cNvSpPr txBox="1"/>
          <p:nvPr/>
        </p:nvSpPr>
        <p:spPr>
          <a:xfrm>
            <a:off x="1282099" y="2521305"/>
            <a:ext cx="3187843" cy="746383"/>
          </a:xfrm>
          <a:prstGeom prst="rect">
            <a:avLst/>
          </a:prstGeom>
        </p:spPr>
        <p:txBody>
          <a:bodyPr>
            <a:noAutofit/>
          </a:bodyPr>
          <a:lstStyle>
            <a:lvl1pPr algn="l" defTabSz="914400" eaLnBrk="1" hangingPunct="1" indent="-228600" latinLnBrk="0" marL="228600" rtl="0">
              <a:lnSpc>
                <a:spcPct val="90000"/>
              </a:lnSpc>
              <a:spcBef>
                <a:spcPts val="1000"/>
              </a:spcBef>
              <a:buFont charset="0" panose="020b0604020202020204" pitchFamily="34" typeface="Arial"/>
              <a:buChar char="•"/>
              <a:defRPr kern="1200" sz="2800">
                <a:solidFill>
                  <a:schemeClr val="tx1"/>
                </a:solidFill>
                <a:latin typeface="+mn-lt"/>
                <a:ea typeface="+mn-ea"/>
                <a:cs typeface="+mn-cs"/>
              </a:defRPr>
            </a:lvl1pPr>
            <a:lvl2pPr algn="l" defTabSz="914400" eaLnBrk="1" hangingPunct="1" indent="-228600" latinLnBrk="0" marL="685800" rtl="0">
              <a:lnSpc>
                <a:spcPct val="90000"/>
              </a:lnSpc>
              <a:spcBef>
                <a:spcPts val="500"/>
              </a:spcBef>
              <a:buFont charset="0" panose="020b0604020202020204" pitchFamily="34" typeface="Arial"/>
              <a:buChar char="•"/>
              <a:defRPr kern="1200" sz="2400">
                <a:solidFill>
                  <a:schemeClr val="tx1"/>
                </a:solidFill>
                <a:latin typeface="+mn-lt"/>
                <a:ea typeface="+mn-ea"/>
                <a:cs typeface="+mn-cs"/>
              </a:defRPr>
            </a:lvl2pPr>
            <a:lvl3pPr algn="l" defTabSz="914400" eaLnBrk="1" hangingPunct="1" indent="-228600" latinLnBrk="0" marL="1143000" rtl="0">
              <a:lnSpc>
                <a:spcPct val="90000"/>
              </a:lnSpc>
              <a:spcBef>
                <a:spcPts val="500"/>
              </a:spcBef>
              <a:buFont charset="0" panose="020b0604020202020204" pitchFamily="34" typeface="Arial"/>
              <a:buChar char="•"/>
              <a:defRPr kern="1200" sz="2000">
                <a:solidFill>
                  <a:schemeClr val="tx1"/>
                </a:solidFill>
                <a:latin typeface="+mn-lt"/>
                <a:ea typeface="+mn-ea"/>
                <a:cs typeface="+mn-cs"/>
              </a:defRPr>
            </a:lvl3pPr>
            <a:lvl4pPr algn="l" defTabSz="914400" eaLnBrk="1" hangingPunct="1" indent="-228600" latinLnBrk="0" marL="16002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4pPr>
            <a:lvl5pPr algn="l" defTabSz="914400" eaLnBrk="1" hangingPunct="1" indent="-228600" latinLnBrk="0" marL="20574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5pPr>
            <a:lvl6pPr algn="l" defTabSz="914400" eaLnBrk="1" hangingPunct="1" indent="-228600" latinLnBrk="0" marL="25146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6pPr>
            <a:lvl7pPr algn="l" defTabSz="914400" eaLnBrk="1" hangingPunct="1" indent="-228600" latinLnBrk="0" marL="29718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7pPr>
            <a:lvl8pPr algn="l" defTabSz="914400" eaLnBrk="1" hangingPunct="1" indent="-228600" latinLnBrk="0" marL="34290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8pPr>
            <a:lvl9pPr algn="l" defTabSz="914400" eaLnBrk="1" hangingPunct="1" indent="-228600" latinLnBrk="0" marL="38862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9pPr>
          </a:lstStyle>
          <a:p>
            <a:pPr indent="0" marL="0">
              <a:buNone/>
            </a:pPr>
            <a:r>
              <a:rPr b="1" lang="id-ID" sz="4000">
                <a:solidFill>
                  <a:schemeClr val="accent1"/>
                </a:solidFill>
                <a:latin charset="-122" panose="020b0400000000000000" pitchFamily="34" typeface="思源黑体"/>
                <a:ea charset="-122" panose="020b0400000000000000" pitchFamily="34" typeface="思源黑体"/>
                <a:cs charset="0" panose="020f0502020204030203" pitchFamily="34" typeface="Lato Medium"/>
                <a:sym charset="-122" panose="020b0400000000000000" pitchFamily="34" typeface="思源黑体"/>
              </a:rPr>
              <a:t>SOMETHING</a:t>
            </a:r>
          </a:p>
        </p:txBody>
      </p:sp>
      <p:cxnSp>
        <p:nvCxnSpPr>
          <p:cNvPr id="10" name="Straight Connector 9"/>
          <p:cNvCxnSpPr/>
          <p:nvPr/>
        </p:nvCxnSpPr>
        <p:spPr>
          <a:xfrm>
            <a:off x="1160173" y="5377661"/>
            <a:ext cx="420965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 name="图片占位符 2">
            <a:extLst>
              <a:ext uri="{FF2B5EF4-FFF2-40B4-BE49-F238E27FC236}">
                <a16:creationId xmlns:a16="http://schemas.microsoft.com/office/drawing/2014/main" id="{C7C2EFC5-4DC0-403B-88AB-EC6E5C43EACB}"/>
              </a:ext>
            </a:extLst>
          </p:cNvPr>
          <p:cNvPicPr>
            <a:picLocks noChangeAspect="1" noGrp="1"/>
          </p:cNvPicPr>
          <p:nvPr>
            <p:ph idx="17" sz="quarter" type="pic"/>
          </p:nvPr>
        </p:nvPicPr>
        <p:blipFill>
          <a:blip r:embed="rId3">
            <a:extLst>
              <a:ext uri="{28A0092B-C50C-407E-A947-70E740481C1C}">
                <a14:useLocalDpi val="0"/>
              </a:ext>
            </a:extLst>
          </a:blip>
          <a:stretch>
            <a:fillRect/>
          </a:stretch>
        </p:blipFill>
        <p:spPr>
          <a:xfrm>
            <a:off x="5873175" y="1482444"/>
            <a:ext cx="3720769" cy="3929397"/>
          </a:xfrm>
        </p:spPr>
      </p:pic>
      <p:pic>
        <p:nvPicPr>
          <p:cNvPr id="6" name="图片占位符 5">
            <a:extLst>
              <a:ext uri="{FF2B5EF4-FFF2-40B4-BE49-F238E27FC236}">
                <a16:creationId xmlns:a16="http://schemas.microsoft.com/office/drawing/2014/main" id="{EFFDEEE0-C7EB-46E7-8B62-D7BBC8E4623D}"/>
              </a:ext>
            </a:extLst>
          </p:cNvPr>
          <p:cNvPicPr>
            <a:picLocks noChangeAspect="1" noGrp="1"/>
          </p:cNvPicPr>
          <p:nvPr>
            <p:ph idx="16" sz="quarter" type="pic"/>
          </p:nvPr>
        </p:nvPicPr>
        <p:blipFill>
          <a:blip r:embed="rId4">
            <a:extLst>
              <a:ext uri="{28A0092B-C50C-407E-A947-70E740481C1C}">
                <a14:useLocalDpi val="0"/>
              </a:ext>
            </a:extLst>
          </a:blip>
          <a:stretch>
            <a:fillRect/>
          </a:stretch>
        </p:blipFill>
        <p:spPr>
          <a:xfrm>
            <a:off x="5873174" y="331539"/>
            <a:ext cx="5690753" cy="6233019"/>
          </a:xfrm>
        </p:spPr>
      </p:pic>
      <p:grpSp>
        <p:nvGrpSpPr>
          <p:cNvPr id="12" name="组合 11">
            <a:extLst>
              <a:ext uri="{FF2B5EF4-FFF2-40B4-BE49-F238E27FC236}">
                <a16:creationId xmlns:a16="http://schemas.microsoft.com/office/drawing/2014/main" id="{74D429DF-4DD3-410B-8758-BF2338426B8C}"/>
              </a:ext>
            </a:extLst>
          </p:cNvPr>
          <p:cNvGrpSpPr/>
          <p:nvPr/>
        </p:nvGrpSpPr>
        <p:grpSpPr>
          <a:xfrm>
            <a:off x="1208876" y="369288"/>
            <a:ext cx="7658100" cy="735806"/>
            <a:chOff x="1208876" y="369288"/>
            <a:chExt cx="7658100" cy="735806"/>
          </a:xfrm>
        </p:grpSpPr>
        <p:sp>
          <p:nvSpPr>
            <p:cNvPr id="13" name="文本框 12">
              <a:extLst>
                <a:ext uri="{FF2B5EF4-FFF2-40B4-BE49-F238E27FC236}">
                  <a16:creationId xmlns:a16="http://schemas.microsoft.com/office/drawing/2014/main" id="{BA336218-934F-4807-BF3B-F8986667278D}"/>
                </a:ext>
              </a:extLst>
            </p:cNvPr>
            <p:cNvSpPr txBox="1"/>
            <p:nvPr/>
          </p:nvSpPr>
          <p:spPr>
            <a:xfrm>
              <a:off x="1208876" y="369288"/>
              <a:ext cx="7658100" cy="457200"/>
            </a:xfrm>
            <a:prstGeom prst="rect">
              <a:avLst/>
            </a:prstGeom>
            <a:noFill/>
          </p:spPr>
          <p:txBody>
            <a:bodyPr rtlCol="0" wrap="square">
              <a:spAutoFit/>
            </a:bodyPr>
            <a:lstStyle/>
            <a:p>
              <a:r>
                <a:rPr altLang="en-US" lang="zh-CN" sz="2400">
                  <a:gradFill>
                    <a:gsLst>
                      <a:gs pos="885">
                        <a:schemeClr val="accent1">
                          <a:alpha val="10000"/>
                        </a:schemeClr>
                      </a:gs>
                      <a:gs pos="75000">
                        <a:schemeClr val="accent1">
                          <a:alpha val="73000"/>
                        </a:schemeClr>
                      </a:gs>
                    </a:gsLst>
                    <a:lin ang="5400000" scaled="1"/>
                  </a:gradFill>
                  <a:latin charset="-122" panose="020b0400000000000000" pitchFamily="34" typeface="思源黑体"/>
                  <a:ea charset="-122" panose="020b0400000000000000" pitchFamily="34" typeface="思源黑体"/>
                  <a:sym charset="-122" panose="020b0400000000000000" pitchFamily="34" typeface="思源黑体"/>
                </a:rPr>
                <a:t>在此输入标题内容</a:t>
              </a:r>
            </a:p>
          </p:txBody>
        </p:sp>
        <p:sp>
          <p:nvSpPr>
            <p:cNvPr id="14" name="文本框 13">
              <a:extLst>
                <a:ext uri="{FF2B5EF4-FFF2-40B4-BE49-F238E27FC236}">
                  <a16:creationId xmlns:a16="http://schemas.microsoft.com/office/drawing/2014/main" id="{781C0069-3FDA-4B99-8A4F-2C3E665F9F24}"/>
                </a:ext>
              </a:extLst>
            </p:cNvPr>
            <p:cNvSpPr txBox="1"/>
            <p:nvPr/>
          </p:nvSpPr>
          <p:spPr>
            <a:xfrm>
              <a:off x="1208876" y="797317"/>
              <a:ext cx="7658100" cy="304800"/>
            </a:xfrm>
            <a:prstGeom prst="rect">
              <a:avLst/>
            </a:prstGeom>
            <a:noFill/>
          </p:spPr>
          <p:txBody>
            <a:bodyPr rtlCol="0" wrap="square">
              <a:spAutoFit/>
            </a:bodyPr>
            <a:lstStyle/>
            <a:p>
              <a:r>
                <a:rPr altLang="zh-CN" lang="en-US" sz="1400">
                  <a:solidFill>
                    <a:schemeClr val="bg2"/>
                  </a:solidFill>
                  <a:latin charset="-122" panose="020b0400000000000000" pitchFamily="34" typeface="思源黑体"/>
                  <a:ea charset="-122" panose="020b0400000000000000" pitchFamily="34" typeface="思源黑体"/>
                  <a:sym charset="-122" panose="020b0400000000000000" pitchFamily="34" typeface="思源黑体"/>
                </a:rPr>
                <a:t>Use "Title Only" Layout</a:t>
              </a:r>
            </a:p>
          </p:txBody>
        </p:sp>
      </p:grpSp>
      <p:grpSp>
        <p:nvGrpSpPr>
          <p:cNvPr id="20" name="组合 19">
            <a:extLst>
              <a:ext uri="{FF2B5EF4-FFF2-40B4-BE49-F238E27FC236}">
                <a16:creationId xmlns:a16="http://schemas.microsoft.com/office/drawing/2014/main" id="{9FC4E61C-419C-477F-9417-F5430E51F47F}"/>
              </a:ext>
            </a:extLst>
          </p:cNvPr>
          <p:cNvGrpSpPr/>
          <p:nvPr/>
        </p:nvGrpSpPr>
        <p:grpSpPr>
          <a:xfrm>
            <a:off x="538226" y="153800"/>
            <a:ext cx="811275" cy="1299746"/>
            <a:chOff x="538226" y="153800"/>
            <a:chExt cx="811275" cy="1299746"/>
          </a:xfrm>
        </p:grpSpPr>
        <p:sp>
          <p:nvSpPr>
            <p:cNvPr id="21" name="文本框 20">
              <a:extLst>
                <a:ext uri="{FF2B5EF4-FFF2-40B4-BE49-F238E27FC236}">
                  <a16:creationId xmlns:a16="http://schemas.microsoft.com/office/drawing/2014/main" id="{7EF38CC2-9D48-42C6-86EF-4D732F95DF68}"/>
                </a:ext>
              </a:extLst>
            </p:cNvPr>
            <p:cNvSpPr txBox="1"/>
            <p:nvPr/>
          </p:nvSpPr>
          <p:spPr>
            <a:xfrm>
              <a:off x="538226" y="153800"/>
              <a:ext cx="567647" cy="1097280"/>
            </a:xfrm>
            <a:prstGeom prst="rect">
              <a:avLst/>
            </a:prstGeom>
            <a:noFill/>
          </p:spPr>
          <p:txBody>
            <a:bodyPr rtlCol="0" wrap="square">
              <a:spAutoFit/>
            </a:bodyPr>
            <a:lstStyle>
              <a:defPPr>
                <a:defRPr lang="en-US"/>
              </a:defPPr>
              <a:lvl1pPr>
                <a:defRPr sz="8000">
                  <a:gradFill>
                    <a:gsLst>
                      <a:gs pos="36000">
                        <a:schemeClr val="bg1"/>
                      </a:gs>
                      <a:gs pos="100000">
                        <a:schemeClr val="tx1">
                          <a:lumMod val="50000"/>
                          <a:lumOff val="50000"/>
                        </a:schemeClr>
                      </a:gs>
                    </a:gsLst>
                    <a:lin ang="5400000" scaled="1"/>
                  </a:gradFill>
                  <a:latin charset="-122" panose="00000500000000000000" pitchFamily="2" typeface="字魂5号-无外润黑体"/>
                  <a:ea charset="-122" panose="00000500000000000000" pitchFamily="2" typeface="字魂5号-无外润黑体"/>
                </a:defRPr>
              </a:lvl1pPr>
            </a:lstStyle>
            <a:p>
              <a:r>
                <a:rPr altLang="zh-CN" lang="en-US" sz="6600">
                  <a:gradFill>
                    <a:gsLst>
                      <a:gs pos="36000">
                        <a:schemeClr val="bg1"/>
                      </a:gs>
                      <a:gs pos="70000">
                        <a:schemeClr val="tx1">
                          <a:lumMod val="50000"/>
                          <a:lumOff val="50000"/>
                          <a:alpha val="0"/>
                        </a:schemeClr>
                      </a:gs>
                    </a:gsLst>
                    <a:lin ang="5400000" scaled="1"/>
                  </a:gradFill>
                  <a:latin charset="-122" panose="020b0300000000000000" pitchFamily="34" typeface="思源黑体 CN Light"/>
                  <a:ea charset="-122" panose="00000500000000000000" pitchFamily="2" typeface="字魂54号-贤黑"/>
                  <a:sym charset="-122" panose="020b0400000000000000" pitchFamily="34" typeface="思源黑体"/>
                </a:rPr>
                <a:t>3</a:t>
              </a:r>
            </a:p>
          </p:txBody>
        </p:sp>
        <p:grpSp>
          <p:nvGrpSpPr>
            <p:cNvPr id="22" name="组合 21">
              <a:extLst>
                <a:ext uri="{FF2B5EF4-FFF2-40B4-BE49-F238E27FC236}">
                  <a16:creationId xmlns:a16="http://schemas.microsoft.com/office/drawing/2014/main" id="{E1C26442-C48A-404B-B953-2BB4CD79DCF9}"/>
                </a:ext>
              </a:extLst>
            </p:cNvPr>
            <p:cNvGrpSpPr/>
            <p:nvPr/>
          </p:nvGrpSpPr>
          <p:grpSpPr>
            <a:xfrm rot="1279383">
              <a:off x="538418" y="260428"/>
              <a:ext cx="811083" cy="1193118"/>
              <a:chOff x="5326021" y="1359499"/>
              <a:chExt cx="2273644" cy="3344573"/>
            </a:xfrm>
          </p:grpSpPr>
          <p:cxnSp>
            <p:nvCxnSpPr>
              <p:cNvPr id="23" name="直接连接符 22">
                <a:extLst>
                  <a:ext uri="{FF2B5EF4-FFF2-40B4-BE49-F238E27FC236}">
                    <a16:creationId xmlns:a16="http://schemas.microsoft.com/office/drawing/2014/main" id="{85C66CED-8F90-417C-AD67-58ED15101A4C}"/>
                  </a:ext>
                </a:extLst>
              </p:cNvPr>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4" name="任意多边形: 形状 23">
                <a:extLst>
                  <a:ext uri="{FF2B5EF4-FFF2-40B4-BE49-F238E27FC236}">
                    <a16:creationId xmlns:a16="http://schemas.microsoft.com/office/drawing/2014/main" id="{B684E272-08AC-4B9E-9E9F-5479BAA41AF5}"/>
                  </a:ext>
                </a:extLst>
              </p:cNvPr>
              <p:cNvSpPr/>
              <p:nvPr/>
            </p:nvSpPr>
            <p:spPr>
              <a:xfrm rot="2008142">
                <a:off x="5326021" y="3632692"/>
                <a:ext cx="319543" cy="1071380"/>
              </a:xfrm>
              <a:custGeom>
                <a:gdLst>
                  <a:gd fmla="*/ 278285 w 319543" name="connsiteX0"/>
                  <a:gd fmla="*/ 0 h 1071380" name="connsiteY0"/>
                  <a:gd fmla="*/ 319543 w 319543" name="connsiteX1"/>
                  <a:gd fmla="*/ 0 h 1071380" name="connsiteY1"/>
                  <a:gd fmla="*/ 319543 w 319543" name="connsiteX2"/>
                  <a:gd fmla="*/ 601405 h 1071380" name="connsiteY2"/>
                  <a:gd fmla="*/ 0 w 319543" name="connsiteX3"/>
                  <a:gd fmla="*/ 1071380 h 1071380" name="connsiteY3"/>
                  <a:gd fmla="*/ 0 w 319543" name="connsiteX4"/>
                  <a:gd fmla="*/ 409295 h 1071380"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1071380" w="319543">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400"/>
              </a:p>
            </p:txBody>
          </p:sp>
        </p:grpSp>
      </p:grpSp>
    </p:spTree>
    <p:extLst>
      <p:ext uri="{BB962C8B-B14F-4D97-AF65-F5344CB8AC3E}">
        <p14:creationId val="1992829622"/>
      </p:ext>
    </p:extLst>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afterEffect" presetClass="entr" presetID="10" presetSubtype="0">
                                  <p:stCondLst>
                                    <p:cond delay="0"/>
                                  </p:stCondLst>
                                  <p:childTnLst>
                                    <p:set>
                                      <p:cBhvr>
                                        <p:cTn dur="1" fill="hold" id="6">
                                          <p:stCondLst>
                                            <p:cond delay="0"/>
                                          </p:stCondLst>
                                        </p:cTn>
                                        <p:tgtEl>
                                          <p:spTgt spid="7"/>
                                        </p:tgtEl>
                                        <p:attrNameLst>
                                          <p:attrName>style.visibility</p:attrName>
                                        </p:attrNameLst>
                                      </p:cBhvr>
                                      <p:to>
                                        <p:strVal val="visible"/>
                                      </p:to>
                                    </p:set>
                                    <p:animEffect filter="fade" transition="in">
                                      <p:cBhvr>
                                        <p:cTn dur="500" id="7"/>
                                        <p:tgtEl>
                                          <p:spTgt spid="7"/>
                                        </p:tgtEl>
                                      </p:cBhvr>
                                    </p:animEffect>
                                  </p:childTnLst>
                                </p:cTn>
                              </p:par>
                            </p:childTnLst>
                          </p:cTn>
                        </p:par>
                        <p:par>
                          <p:cTn fill="hold" id="8" nodeType="afterGroup">
                            <p:stCondLst>
                              <p:cond delay="500"/>
                            </p:stCondLst>
                            <p:childTnLst>
                              <p:par>
                                <p:cTn fill="hold" grpId="0" id="9" nodeType="afterEffect" presetClass="entr" presetID="10" presetSubtype="0">
                                  <p:stCondLst>
                                    <p:cond delay="0"/>
                                  </p:stCondLst>
                                  <p:childTnLst>
                                    <p:set>
                                      <p:cBhvr>
                                        <p:cTn dur="1" fill="hold" id="10">
                                          <p:stCondLst>
                                            <p:cond delay="0"/>
                                          </p:stCondLst>
                                        </p:cTn>
                                        <p:tgtEl>
                                          <p:spTgt spid="8"/>
                                        </p:tgtEl>
                                        <p:attrNameLst>
                                          <p:attrName>style.visibility</p:attrName>
                                        </p:attrNameLst>
                                      </p:cBhvr>
                                      <p:to>
                                        <p:strVal val="visible"/>
                                      </p:to>
                                    </p:set>
                                    <p:animEffect filter="fade" transition="in">
                                      <p:cBhvr>
                                        <p:cTn dur="500" id="11"/>
                                        <p:tgtEl>
                                          <p:spTgt spid="8"/>
                                        </p:tgtEl>
                                      </p:cBhvr>
                                    </p:animEffect>
                                  </p:childTnLst>
                                </p:cTn>
                              </p:par>
                            </p:childTnLst>
                          </p:cTn>
                        </p:par>
                        <p:par>
                          <p:cTn fill="hold" id="12" nodeType="afterGroup">
                            <p:stCondLst>
                              <p:cond delay="1000"/>
                            </p:stCondLst>
                            <p:childTnLst>
                              <p:par>
                                <p:cTn fill="hold" grpId="0" id="13" nodeType="afterEffect" presetClass="entr" presetID="10" presetSubtype="0">
                                  <p:stCondLst>
                                    <p:cond delay="0"/>
                                  </p:stCondLst>
                                  <p:childTnLst>
                                    <p:set>
                                      <p:cBhvr>
                                        <p:cTn dur="1" fill="hold" id="14">
                                          <p:stCondLst>
                                            <p:cond delay="0"/>
                                          </p:stCondLst>
                                        </p:cTn>
                                        <p:tgtEl>
                                          <p:spTgt spid="9"/>
                                        </p:tgtEl>
                                        <p:attrNameLst>
                                          <p:attrName>style.visibility</p:attrName>
                                        </p:attrNameLst>
                                      </p:cBhvr>
                                      <p:to>
                                        <p:strVal val="visible"/>
                                      </p:to>
                                    </p:set>
                                    <p:animEffect filter="fade" transition="in">
                                      <p:cBhvr>
                                        <p:cTn dur="500" id="15"/>
                                        <p:tgtEl>
                                          <p:spTgt spid="9"/>
                                        </p:tgtEl>
                                      </p:cBhvr>
                                    </p:animEffect>
                                  </p:childTnLst>
                                </p:cTn>
                              </p:par>
                            </p:childTnLst>
                          </p:cTn>
                        </p:par>
                        <p:par>
                          <p:cTn fill="hold" id="16" nodeType="afterGroup">
                            <p:stCondLst>
                              <p:cond delay="1500"/>
                            </p:stCondLst>
                            <p:childTnLst>
                              <p:par>
                                <p:cTn fill="hold" id="17" nodeType="afterEffect" presetClass="entr" presetID="10" presetSubtype="0">
                                  <p:stCondLst>
                                    <p:cond delay="0"/>
                                  </p:stCondLst>
                                  <p:childTnLst>
                                    <p:set>
                                      <p:cBhvr>
                                        <p:cTn dur="1" fill="hold" id="18">
                                          <p:stCondLst>
                                            <p:cond delay="0"/>
                                          </p:stCondLst>
                                        </p:cTn>
                                        <p:tgtEl>
                                          <p:spTgt spid="10"/>
                                        </p:tgtEl>
                                        <p:attrNameLst>
                                          <p:attrName>style.visibility</p:attrName>
                                        </p:attrNameLst>
                                      </p:cBhvr>
                                      <p:to>
                                        <p:strVal val="visible"/>
                                      </p:to>
                                    </p:set>
                                    <p:animEffect filter="fade" transition="in">
                                      <p:cBhvr>
                                        <p:cTn dur="500" id="19"/>
                                        <p:tgtEl>
                                          <p:spTgt spid="10"/>
                                        </p:tgtEl>
                                      </p:cBhvr>
                                    </p:animEffect>
                                  </p:childTnLst>
                                </p:cTn>
                              </p:par>
                            </p:childTnLst>
                          </p:cTn>
                        </p:par>
                        <p:par>
                          <p:cTn fill="hold" id="20" nodeType="afterGroup">
                            <p:stCondLst>
                              <p:cond delay="2000"/>
                            </p:stCondLst>
                            <p:childTnLst>
                              <p:par>
                                <p:cTn fill="hold" id="21" nodeType="afterEffect" presetClass="entr" presetID="10" presetSubtype="0">
                                  <p:stCondLst>
                                    <p:cond delay="0"/>
                                  </p:stCondLst>
                                  <p:childTnLst>
                                    <p:set>
                                      <p:cBhvr>
                                        <p:cTn dur="1" fill="hold" id="22">
                                          <p:stCondLst>
                                            <p:cond delay="0"/>
                                          </p:stCondLst>
                                        </p:cTn>
                                        <p:tgtEl>
                                          <p:spTgt spid="3"/>
                                        </p:tgtEl>
                                        <p:attrNameLst>
                                          <p:attrName>style.visibility</p:attrName>
                                        </p:attrNameLst>
                                      </p:cBhvr>
                                      <p:to>
                                        <p:strVal val="visible"/>
                                      </p:to>
                                    </p:set>
                                    <p:animEffect filter="fade" transition="in">
                                      <p:cBhvr>
                                        <p:cTn dur="500" id="23"/>
                                        <p:tgtEl>
                                          <p:spTgt spid="3"/>
                                        </p:tgtEl>
                                      </p:cBhvr>
                                    </p:animEffect>
                                  </p:childTnLst>
                                </p:cTn>
                              </p:par>
                            </p:childTnLst>
                          </p:cTn>
                        </p:par>
                        <p:par>
                          <p:cTn fill="hold" id="24" nodeType="afterGroup">
                            <p:stCondLst>
                              <p:cond delay="2500"/>
                            </p:stCondLst>
                            <p:childTnLst>
                              <p:par>
                                <p:cTn fill="hold" id="25" nodeType="afterEffect" presetClass="entr" presetID="10" presetSubtype="0">
                                  <p:stCondLst>
                                    <p:cond delay="0"/>
                                  </p:stCondLst>
                                  <p:childTnLst>
                                    <p:set>
                                      <p:cBhvr>
                                        <p:cTn dur="1" fill="hold" id="26">
                                          <p:stCondLst>
                                            <p:cond delay="0"/>
                                          </p:stCondLst>
                                        </p:cTn>
                                        <p:tgtEl>
                                          <p:spTgt spid="6"/>
                                        </p:tgtEl>
                                        <p:attrNameLst>
                                          <p:attrName>style.visibility</p:attrName>
                                        </p:attrNameLst>
                                      </p:cBhvr>
                                      <p:to>
                                        <p:strVal val="visible"/>
                                      </p:to>
                                    </p:set>
                                    <p:animEffect filter="fade" transition="in">
                                      <p:cBhvr>
                                        <p:cTn dur="500" id="27"/>
                                        <p:tgtEl>
                                          <p:spTgt spid="6"/>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7"/>
      <p:bldP grpId="0" spid="8"/>
      <p:bldP grpId="0" spid="9"/>
    </p:bldLst>
  </p:timing>
</p:sld>
</file>

<file path=ppt/slides/slide21.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pic>
        <p:nvPicPr>
          <p:cNvPr id="3" name="图片占位符 2">
            <a:extLst>
              <a:ext uri="{FF2B5EF4-FFF2-40B4-BE49-F238E27FC236}">
                <a16:creationId xmlns:a16="http://schemas.microsoft.com/office/drawing/2014/main" id="{F9AC378A-C707-4A8B-8966-D4FE0154F90B}"/>
              </a:ext>
            </a:extLst>
          </p:cNvPr>
          <p:cNvPicPr>
            <a:picLocks noChangeAspect="1" noGrp="1"/>
          </p:cNvPicPr>
          <p:nvPr>
            <p:ph idx="10" sz="quarter" type="pic"/>
          </p:nvPr>
        </p:nvPicPr>
        <p:blipFill>
          <a:blip r:embed="rId3">
            <a:extLst>
              <a:ext uri="{28A0092B-C50C-407E-A947-70E740481C1C}">
                <a14:useLocalDpi val="0"/>
              </a:ext>
            </a:extLst>
          </a:blip>
          <a:stretch>
            <a:fillRect/>
          </a:stretch>
        </p:blipFill>
        <p:spPr>
          <a:xfrm>
            <a:off x="6313715" y="1770818"/>
            <a:ext cx="5196114" cy="3251050"/>
          </a:xfrm>
        </p:spPr>
      </p:pic>
      <p:sp>
        <p:nvSpPr>
          <p:cNvPr id="4" name="Rectangle 3"/>
          <p:cNvSpPr/>
          <p:nvPr/>
        </p:nvSpPr>
        <p:spPr>
          <a:xfrm>
            <a:off x="8911772" y="2917372"/>
            <a:ext cx="3154925" cy="28085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lang="en-US">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5" name="Rectangle 4"/>
          <p:cNvSpPr/>
          <p:nvPr/>
        </p:nvSpPr>
        <p:spPr>
          <a:xfrm>
            <a:off x="1391734" y="2941359"/>
            <a:ext cx="3987741" cy="1943100"/>
          </a:xfrm>
          <a:prstGeom prst="rect">
            <a:avLst/>
          </a:prstGeom>
        </p:spPr>
        <p:txBody>
          <a:bodyPr wrap="square">
            <a:spAutoFit/>
          </a:bodyPr>
          <a:lstStyle/>
          <a:p>
            <a:pPr>
              <a:lnSpc>
                <a:spcPct val="150000"/>
              </a:lnSpc>
            </a:pPr>
            <a:r>
              <a:rPr b="1" i="0" lang="id-ID" sz="900">
                <a:solidFill>
                  <a:schemeClr val="bg2"/>
                </a:solidFill>
                <a:effectLst/>
                <a:latin charset="-122" panose="020b0400000000000000" pitchFamily="34" typeface="思源黑体"/>
                <a:ea charset="-122" panose="020b0400000000000000" pitchFamily="34" typeface="思源黑体"/>
                <a:cs charset="0" panose="020f0502020204030203" pitchFamily="34" typeface="Lato"/>
                <a:sym charset="-122" panose="020b0400000000000000" pitchFamily="34" typeface="思源黑体"/>
              </a:rPr>
              <a:t>Lorem ipsum dolor sit amet, lacus nulla ac netus nibh aliquet, porttitor ligula justo libero vivamus porttitor dolor, conubia mollit. Sapien nam suspendisse, tincidunt eget ante tincidunt, eros in auctor fringilla praesent at diam. In et quam est eget mi. Pellentesque nunc orci eu enim, eget in fringilla vitae, et eros praesent dolor porttitor. Lacinia lectus nonummy, accumsan mauris in sed justo magnis, dictum justo lorem ac quis. A venenatis, velit integer vivamus facilisi feugiat a per, hac a sit, wisi non, wisi ultrices vel sit curae consequat. </a:t>
            </a:r>
          </a:p>
        </p:txBody>
      </p:sp>
      <p:sp>
        <p:nvSpPr>
          <p:cNvPr id="6" name="Subtitle 2"/>
          <p:cNvSpPr txBox="1"/>
          <p:nvPr/>
        </p:nvSpPr>
        <p:spPr>
          <a:xfrm>
            <a:off x="1391734" y="1770743"/>
            <a:ext cx="3381828" cy="621783"/>
          </a:xfrm>
          <a:prstGeom prst="rect">
            <a:avLst/>
          </a:prstGeom>
        </p:spPr>
        <p:txBody>
          <a:bodyPr>
            <a:noAutofit/>
          </a:bodyPr>
          <a:lstStyle>
            <a:lvl1pPr algn="l" defTabSz="914400" eaLnBrk="1" hangingPunct="1" indent="-228600" latinLnBrk="0" marL="228600" rtl="0">
              <a:lnSpc>
                <a:spcPct val="90000"/>
              </a:lnSpc>
              <a:spcBef>
                <a:spcPts val="1000"/>
              </a:spcBef>
              <a:buFont charset="0" panose="020b0604020202020204" pitchFamily="34" typeface="Arial"/>
              <a:buChar char="•"/>
              <a:defRPr kern="1200" sz="2800">
                <a:solidFill>
                  <a:schemeClr val="tx1"/>
                </a:solidFill>
                <a:latin typeface="+mn-lt"/>
                <a:ea typeface="+mn-ea"/>
                <a:cs typeface="+mn-cs"/>
              </a:defRPr>
            </a:lvl1pPr>
            <a:lvl2pPr algn="l" defTabSz="914400" eaLnBrk="1" hangingPunct="1" indent="-228600" latinLnBrk="0" marL="685800" rtl="0">
              <a:lnSpc>
                <a:spcPct val="90000"/>
              </a:lnSpc>
              <a:spcBef>
                <a:spcPts val="500"/>
              </a:spcBef>
              <a:buFont charset="0" panose="020b0604020202020204" pitchFamily="34" typeface="Arial"/>
              <a:buChar char="•"/>
              <a:defRPr kern="1200" sz="2400">
                <a:solidFill>
                  <a:schemeClr val="tx1"/>
                </a:solidFill>
                <a:latin typeface="+mn-lt"/>
                <a:ea typeface="+mn-ea"/>
                <a:cs typeface="+mn-cs"/>
              </a:defRPr>
            </a:lvl2pPr>
            <a:lvl3pPr algn="l" defTabSz="914400" eaLnBrk="1" hangingPunct="1" indent="-228600" latinLnBrk="0" marL="1143000" rtl="0">
              <a:lnSpc>
                <a:spcPct val="90000"/>
              </a:lnSpc>
              <a:spcBef>
                <a:spcPts val="500"/>
              </a:spcBef>
              <a:buFont charset="0" panose="020b0604020202020204" pitchFamily="34" typeface="Arial"/>
              <a:buChar char="•"/>
              <a:defRPr kern="1200" sz="2000">
                <a:solidFill>
                  <a:schemeClr val="tx1"/>
                </a:solidFill>
                <a:latin typeface="+mn-lt"/>
                <a:ea typeface="+mn-ea"/>
                <a:cs typeface="+mn-cs"/>
              </a:defRPr>
            </a:lvl3pPr>
            <a:lvl4pPr algn="l" defTabSz="914400" eaLnBrk="1" hangingPunct="1" indent="-228600" latinLnBrk="0" marL="16002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4pPr>
            <a:lvl5pPr algn="l" defTabSz="914400" eaLnBrk="1" hangingPunct="1" indent="-228600" latinLnBrk="0" marL="20574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5pPr>
            <a:lvl6pPr algn="l" defTabSz="914400" eaLnBrk="1" hangingPunct="1" indent="-228600" latinLnBrk="0" marL="25146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6pPr>
            <a:lvl7pPr algn="l" defTabSz="914400" eaLnBrk="1" hangingPunct="1" indent="-228600" latinLnBrk="0" marL="29718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7pPr>
            <a:lvl8pPr algn="l" defTabSz="914400" eaLnBrk="1" hangingPunct="1" indent="-228600" latinLnBrk="0" marL="34290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8pPr>
            <a:lvl9pPr algn="l" defTabSz="914400" eaLnBrk="1" hangingPunct="1" indent="-228600" latinLnBrk="0" marL="38862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9pPr>
          </a:lstStyle>
          <a:p>
            <a:pPr indent="0" marL="0">
              <a:buNone/>
            </a:pPr>
            <a:r>
              <a:rPr b="1" lang="id-ID" spc="300" sz="4000">
                <a:solidFill>
                  <a:schemeClr val="accent1"/>
                </a:solidFill>
                <a:latin charset="-122" panose="020b0400000000000000" pitchFamily="34" typeface="思源黑体"/>
                <a:ea charset="-122" panose="020b0400000000000000" pitchFamily="34" typeface="思源黑体"/>
                <a:cs charset="0" panose="020f0502020204030203" pitchFamily="34" typeface="Lato Medium"/>
                <a:sym charset="-122" panose="020b0400000000000000" pitchFamily="34" typeface="思源黑体"/>
              </a:rPr>
              <a:t>THE GALERRY</a:t>
            </a:r>
          </a:p>
        </p:txBody>
      </p:sp>
      <p:sp>
        <p:nvSpPr>
          <p:cNvPr id="7" name="Rectangle 6"/>
          <p:cNvSpPr/>
          <p:nvPr/>
        </p:nvSpPr>
        <p:spPr>
          <a:xfrm>
            <a:off x="0" y="5152572"/>
            <a:ext cx="8810171" cy="689428"/>
          </a:xfrm>
          <a:prstGeom prst="rect">
            <a:avLst/>
          </a:prstGeom>
          <a:solidFill>
            <a:schemeClr val="accent1">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lang="en-US">
              <a:latin charset="-122" panose="020b0400000000000000" pitchFamily="34" typeface="思源黑体"/>
              <a:ea charset="-122" panose="020b0400000000000000" pitchFamily="34" typeface="思源黑体"/>
              <a:sym charset="-122" panose="020b0400000000000000" pitchFamily="34" typeface="思源黑体"/>
            </a:endParaRPr>
          </a:p>
        </p:txBody>
      </p:sp>
      <p:cxnSp>
        <p:nvCxnSpPr>
          <p:cNvPr id="8" name="Straight Connector 7"/>
          <p:cNvCxnSpPr/>
          <p:nvPr/>
        </p:nvCxnSpPr>
        <p:spPr>
          <a:xfrm flipV="1">
            <a:off x="5936343" y="1509486"/>
            <a:ext cx="1436914" cy="1407887"/>
          </a:xfrm>
          <a:prstGeom prst="line">
            <a:avLst/>
          </a:prstGeom>
          <a:ln w="28575">
            <a:solidFill>
              <a:srgbClr val="040404"/>
            </a:solidFill>
          </a:ln>
        </p:spPr>
        <p:style>
          <a:lnRef idx="1">
            <a:schemeClr val="accent1"/>
          </a:lnRef>
          <a:fillRef idx="0">
            <a:schemeClr val="accent1"/>
          </a:fillRef>
          <a:effectRef idx="0">
            <a:schemeClr val="accent1"/>
          </a:effectRef>
          <a:fontRef idx="minor">
            <a:schemeClr val="tx1"/>
          </a:fontRef>
        </p:style>
      </p:cxnSp>
      <p:grpSp>
        <p:nvGrpSpPr>
          <p:cNvPr id="10" name="组合 9">
            <a:extLst>
              <a:ext uri="{FF2B5EF4-FFF2-40B4-BE49-F238E27FC236}">
                <a16:creationId xmlns:a16="http://schemas.microsoft.com/office/drawing/2014/main" id="{59539D6D-6037-4FB8-A8F0-01D1AA4E3D43}"/>
              </a:ext>
            </a:extLst>
          </p:cNvPr>
          <p:cNvGrpSpPr/>
          <p:nvPr/>
        </p:nvGrpSpPr>
        <p:grpSpPr>
          <a:xfrm>
            <a:off x="1208876" y="369288"/>
            <a:ext cx="7658100" cy="735806"/>
            <a:chOff x="1208876" y="369288"/>
            <a:chExt cx="7658100" cy="735806"/>
          </a:xfrm>
        </p:grpSpPr>
        <p:sp>
          <p:nvSpPr>
            <p:cNvPr id="11" name="文本框 10">
              <a:extLst>
                <a:ext uri="{FF2B5EF4-FFF2-40B4-BE49-F238E27FC236}">
                  <a16:creationId xmlns:a16="http://schemas.microsoft.com/office/drawing/2014/main" id="{302E6FC5-51A4-4E31-89F5-549B4E6161D4}"/>
                </a:ext>
              </a:extLst>
            </p:cNvPr>
            <p:cNvSpPr txBox="1"/>
            <p:nvPr/>
          </p:nvSpPr>
          <p:spPr>
            <a:xfrm>
              <a:off x="1208876" y="369288"/>
              <a:ext cx="7658100" cy="457200"/>
            </a:xfrm>
            <a:prstGeom prst="rect">
              <a:avLst/>
            </a:prstGeom>
            <a:noFill/>
          </p:spPr>
          <p:txBody>
            <a:bodyPr rtlCol="0" wrap="square">
              <a:spAutoFit/>
            </a:bodyPr>
            <a:lstStyle/>
            <a:p>
              <a:r>
                <a:rPr altLang="en-US" lang="zh-CN" sz="2400">
                  <a:gradFill>
                    <a:gsLst>
                      <a:gs pos="885">
                        <a:schemeClr val="accent1">
                          <a:alpha val="10000"/>
                        </a:schemeClr>
                      </a:gs>
                      <a:gs pos="75000">
                        <a:schemeClr val="accent1">
                          <a:alpha val="73000"/>
                        </a:schemeClr>
                      </a:gs>
                    </a:gsLst>
                    <a:lin ang="5400000" scaled="1"/>
                  </a:gradFill>
                  <a:latin charset="-122" panose="020b0400000000000000" pitchFamily="34" typeface="思源黑体"/>
                  <a:ea charset="-122" panose="020b0400000000000000" pitchFamily="34" typeface="思源黑体"/>
                  <a:sym charset="-122" panose="020b0400000000000000" pitchFamily="34" typeface="思源黑体"/>
                </a:rPr>
                <a:t>在此输入标题内容</a:t>
              </a:r>
            </a:p>
          </p:txBody>
        </p:sp>
        <p:sp>
          <p:nvSpPr>
            <p:cNvPr id="12" name="文本框 11">
              <a:extLst>
                <a:ext uri="{FF2B5EF4-FFF2-40B4-BE49-F238E27FC236}">
                  <a16:creationId xmlns:a16="http://schemas.microsoft.com/office/drawing/2014/main" id="{528E88A3-24F9-4541-823C-CC33A3A2307A}"/>
                </a:ext>
              </a:extLst>
            </p:cNvPr>
            <p:cNvSpPr txBox="1"/>
            <p:nvPr/>
          </p:nvSpPr>
          <p:spPr>
            <a:xfrm>
              <a:off x="1208876" y="797317"/>
              <a:ext cx="7658100" cy="304800"/>
            </a:xfrm>
            <a:prstGeom prst="rect">
              <a:avLst/>
            </a:prstGeom>
            <a:noFill/>
          </p:spPr>
          <p:txBody>
            <a:bodyPr rtlCol="0" wrap="square">
              <a:spAutoFit/>
            </a:bodyPr>
            <a:lstStyle/>
            <a:p>
              <a:r>
                <a:rPr altLang="zh-CN" lang="en-US" sz="1400">
                  <a:solidFill>
                    <a:schemeClr val="bg2"/>
                  </a:solidFill>
                  <a:latin charset="-122" panose="020b0400000000000000" pitchFamily="34" typeface="思源黑体"/>
                  <a:ea charset="-122" panose="020b0400000000000000" pitchFamily="34" typeface="思源黑体"/>
                  <a:sym charset="-122" panose="020b0400000000000000" pitchFamily="34" typeface="思源黑体"/>
                </a:rPr>
                <a:t>Use "Title Only" Layout</a:t>
              </a:r>
            </a:p>
          </p:txBody>
        </p:sp>
      </p:grpSp>
      <p:grpSp>
        <p:nvGrpSpPr>
          <p:cNvPr id="18" name="组合 17">
            <a:extLst>
              <a:ext uri="{FF2B5EF4-FFF2-40B4-BE49-F238E27FC236}">
                <a16:creationId xmlns:a16="http://schemas.microsoft.com/office/drawing/2014/main" id="{A205DF4F-7454-4038-AA39-8CAC68AD81BC}"/>
              </a:ext>
            </a:extLst>
          </p:cNvPr>
          <p:cNvGrpSpPr/>
          <p:nvPr/>
        </p:nvGrpSpPr>
        <p:grpSpPr>
          <a:xfrm>
            <a:off x="538226" y="153800"/>
            <a:ext cx="811275" cy="1299746"/>
            <a:chOff x="538226" y="153800"/>
            <a:chExt cx="811275" cy="1299746"/>
          </a:xfrm>
        </p:grpSpPr>
        <p:sp>
          <p:nvSpPr>
            <p:cNvPr id="19" name="文本框 18">
              <a:extLst>
                <a:ext uri="{FF2B5EF4-FFF2-40B4-BE49-F238E27FC236}">
                  <a16:creationId xmlns:a16="http://schemas.microsoft.com/office/drawing/2014/main" id="{4082839B-D502-4686-9E1D-F5CD1E90B383}"/>
                </a:ext>
              </a:extLst>
            </p:cNvPr>
            <p:cNvSpPr txBox="1"/>
            <p:nvPr/>
          </p:nvSpPr>
          <p:spPr>
            <a:xfrm>
              <a:off x="538226" y="153800"/>
              <a:ext cx="567647" cy="1097280"/>
            </a:xfrm>
            <a:prstGeom prst="rect">
              <a:avLst/>
            </a:prstGeom>
            <a:noFill/>
          </p:spPr>
          <p:txBody>
            <a:bodyPr rtlCol="0" wrap="square">
              <a:spAutoFit/>
            </a:bodyPr>
            <a:lstStyle>
              <a:defPPr>
                <a:defRPr lang="en-US"/>
              </a:defPPr>
              <a:lvl1pPr>
                <a:defRPr sz="8000">
                  <a:gradFill>
                    <a:gsLst>
                      <a:gs pos="36000">
                        <a:schemeClr val="bg1"/>
                      </a:gs>
                      <a:gs pos="100000">
                        <a:schemeClr val="tx1">
                          <a:lumMod val="50000"/>
                          <a:lumOff val="50000"/>
                        </a:schemeClr>
                      </a:gs>
                    </a:gsLst>
                    <a:lin ang="5400000" scaled="1"/>
                  </a:gradFill>
                  <a:latin charset="-122" panose="00000500000000000000" pitchFamily="2" typeface="字魂5号-无外润黑体"/>
                  <a:ea charset="-122" panose="00000500000000000000" pitchFamily="2" typeface="字魂5号-无外润黑体"/>
                </a:defRPr>
              </a:lvl1pPr>
            </a:lstStyle>
            <a:p>
              <a:r>
                <a:rPr altLang="zh-CN" lang="en-US" sz="6600">
                  <a:gradFill>
                    <a:gsLst>
                      <a:gs pos="36000">
                        <a:schemeClr val="bg1"/>
                      </a:gs>
                      <a:gs pos="70000">
                        <a:schemeClr val="tx1">
                          <a:lumMod val="50000"/>
                          <a:lumOff val="50000"/>
                          <a:alpha val="0"/>
                        </a:schemeClr>
                      </a:gs>
                    </a:gsLst>
                    <a:lin ang="5400000" scaled="1"/>
                  </a:gradFill>
                  <a:latin charset="-122" panose="020b0300000000000000" pitchFamily="34" typeface="思源黑体 CN Light"/>
                  <a:ea charset="-122" panose="00000500000000000000" pitchFamily="2" typeface="字魂54号-贤黑"/>
                  <a:sym charset="-122" panose="020b0400000000000000" pitchFamily="34" typeface="思源黑体"/>
                </a:rPr>
                <a:t>3</a:t>
              </a:r>
            </a:p>
          </p:txBody>
        </p:sp>
        <p:grpSp>
          <p:nvGrpSpPr>
            <p:cNvPr id="20" name="组合 19">
              <a:extLst>
                <a:ext uri="{FF2B5EF4-FFF2-40B4-BE49-F238E27FC236}">
                  <a16:creationId xmlns:a16="http://schemas.microsoft.com/office/drawing/2014/main" id="{D8C073FB-CB05-4EDB-881A-321269E4435D}"/>
                </a:ext>
              </a:extLst>
            </p:cNvPr>
            <p:cNvGrpSpPr/>
            <p:nvPr/>
          </p:nvGrpSpPr>
          <p:grpSpPr>
            <a:xfrm rot="1279383">
              <a:off x="538418" y="260428"/>
              <a:ext cx="811083" cy="1193118"/>
              <a:chOff x="5326021" y="1359499"/>
              <a:chExt cx="2273644" cy="3344573"/>
            </a:xfrm>
          </p:grpSpPr>
          <p:cxnSp>
            <p:nvCxnSpPr>
              <p:cNvPr id="21" name="直接连接符 20">
                <a:extLst>
                  <a:ext uri="{FF2B5EF4-FFF2-40B4-BE49-F238E27FC236}">
                    <a16:creationId xmlns:a16="http://schemas.microsoft.com/office/drawing/2014/main" id="{9D6D8223-C53D-44C4-98C4-E76A20F55AE2}"/>
                  </a:ext>
                </a:extLst>
              </p:cNvPr>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2" name="任意多边形: 形状 21">
                <a:extLst>
                  <a:ext uri="{FF2B5EF4-FFF2-40B4-BE49-F238E27FC236}">
                    <a16:creationId xmlns:a16="http://schemas.microsoft.com/office/drawing/2014/main" id="{66ACDDD6-7366-4596-8B84-29D125AAC0EA}"/>
                  </a:ext>
                </a:extLst>
              </p:cNvPr>
              <p:cNvSpPr/>
              <p:nvPr/>
            </p:nvSpPr>
            <p:spPr>
              <a:xfrm rot="2008142">
                <a:off x="5326021" y="3632692"/>
                <a:ext cx="319543" cy="1071380"/>
              </a:xfrm>
              <a:custGeom>
                <a:gdLst>
                  <a:gd fmla="*/ 278285 w 319543" name="connsiteX0"/>
                  <a:gd fmla="*/ 0 h 1071380" name="connsiteY0"/>
                  <a:gd fmla="*/ 319543 w 319543" name="connsiteX1"/>
                  <a:gd fmla="*/ 0 h 1071380" name="connsiteY1"/>
                  <a:gd fmla="*/ 319543 w 319543" name="connsiteX2"/>
                  <a:gd fmla="*/ 601405 h 1071380" name="connsiteY2"/>
                  <a:gd fmla="*/ 0 w 319543" name="connsiteX3"/>
                  <a:gd fmla="*/ 1071380 h 1071380" name="connsiteY3"/>
                  <a:gd fmla="*/ 0 w 319543" name="connsiteX4"/>
                  <a:gd fmla="*/ 409295 h 1071380"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1071380" w="319543">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400"/>
              </a:p>
            </p:txBody>
          </p:sp>
        </p:grpSp>
      </p:grpSp>
    </p:spTree>
    <p:extLst>
      <p:ext uri="{BB962C8B-B14F-4D97-AF65-F5344CB8AC3E}">
        <p14:creationId val="3227956725"/>
      </p:ext>
    </p:extLst>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10" presetSubtype="0">
                                  <p:stCondLst>
                                    <p:cond delay="0"/>
                                  </p:stCondLst>
                                  <p:childTnLst>
                                    <p:set>
                                      <p:cBhvr>
                                        <p:cTn dur="1" fill="hold" id="6">
                                          <p:stCondLst>
                                            <p:cond delay="0"/>
                                          </p:stCondLst>
                                        </p:cTn>
                                        <p:tgtEl>
                                          <p:spTgt spid="3"/>
                                        </p:tgtEl>
                                        <p:attrNameLst>
                                          <p:attrName>style.visibility</p:attrName>
                                        </p:attrNameLst>
                                      </p:cBhvr>
                                      <p:to>
                                        <p:strVal val="visible"/>
                                      </p:to>
                                    </p:set>
                                    <p:animEffect filter="fade" transition="in">
                                      <p:cBhvr>
                                        <p:cTn dur="500" id="7"/>
                                        <p:tgtEl>
                                          <p:spTgt spid="3"/>
                                        </p:tgtEl>
                                      </p:cBhvr>
                                    </p:animEffect>
                                  </p:childTnLst>
                                </p:cTn>
                              </p:par>
                            </p:childTnLst>
                          </p:cTn>
                        </p:par>
                        <p:par>
                          <p:cTn fill="hold" id="8" nodeType="afterGroup">
                            <p:stCondLst>
                              <p:cond delay="500"/>
                            </p:stCondLst>
                            <p:childTnLst>
                              <p:par>
                                <p:cTn fill="hold" grpId="0" id="9" nodeType="afterEffect" presetClass="entr" presetID="10" presetSubtype="0">
                                  <p:stCondLst>
                                    <p:cond delay="0"/>
                                  </p:stCondLst>
                                  <p:childTnLst>
                                    <p:set>
                                      <p:cBhvr>
                                        <p:cTn dur="1" fill="hold" id="10">
                                          <p:stCondLst>
                                            <p:cond delay="0"/>
                                          </p:stCondLst>
                                        </p:cTn>
                                        <p:tgtEl>
                                          <p:spTgt spid="4"/>
                                        </p:tgtEl>
                                        <p:attrNameLst>
                                          <p:attrName>style.visibility</p:attrName>
                                        </p:attrNameLst>
                                      </p:cBhvr>
                                      <p:to>
                                        <p:strVal val="visible"/>
                                      </p:to>
                                    </p:set>
                                    <p:animEffect filter="fade" transition="in">
                                      <p:cBhvr>
                                        <p:cTn dur="500" id="11"/>
                                        <p:tgtEl>
                                          <p:spTgt spid="4"/>
                                        </p:tgtEl>
                                      </p:cBhvr>
                                    </p:animEffect>
                                  </p:childTnLst>
                                </p:cTn>
                              </p:par>
                            </p:childTnLst>
                          </p:cTn>
                        </p:par>
                        <p:par>
                          <p:cTn fill="hold" id="12" nodeType="afterGroup">
                            <p:stCondLst>
                              <p:cond delay="1000"/>
                            </p:stCondLst>
                            <p:childTnLst>
                              <p:par>
                                <p:cTn fill="hold" grpId="0" id="13" nodeType="afterEffect" presetClass="entr" presetID="10" presetSubtype="0">
                                  <p:stCondLst>
                                    <p:cond delay="0"/>
                                  </p:stCondLst>
                                  <p:childTnLst>
                                    <p:set>
                                      <p:cBhvr>
                                        <p:cTn dur="1" fill="hold" id="14">
                                          <p:stCondLst>
                                            <p:cond delay="0"/>
                                          </p:stCondLst>
                                        </p:cTn>
                                        <p:tgtEl>
                                          <p:spTgt spid="5"/>
                                        </p:tgtEl>
                                        <p:attrNameLst>
                                          <p:attrName>style.visibility</p:attrName>
                                        </p:attrNameLst>
                                      </p:cBhvr>
                                      <p:to>
                                        <p:strVal val="visible"/>
                                      </p:to>
                                    </p:set>
                                    <p:animEffect filter="fade" transition="in">
                                      <p:cBhvr>
                                        <p:cTn dur="500" id="15"/>
                                        <p:tgtEl>
                                          <p:spTgt spid="5"/>
                                        </p:tgtEl>
                                      </p:cBhvr>
                                    </p:animEffect>
                                  </p:childTnLst>
                                </p:cTn>
                              </p:par>
                            </p:childTnLst>
                          </p:cTn>
                        </p:par>
                        <p:par>
                          <p:cTn fill="hold" id="16" nodeType="afterGroup">
                            <p:stCondLst>
                              <p:cond delay="1500"/>
                            </p:stCondLst>
                            <p:childTnLst>
                              <p:par>
                                <p:cTn fill="hold" grpId="0" id="17" nodeType="afterEffect" presetClass="entr" presetID="10" presetSubtype="0">
                                  <p:stCondLst>
                                    <p:cond delay="0"/>
                                  </p:stCondLst>
                                  <p:childTnLst>
                                    <p:set>
                                      <p:cBhvr>
                                        <p:cTn dur="1" fill="hold" id="18">
                                          <p:stCondLst>
                                            <p:cond delay="0"/>
                                          </p:stCondLst>
                                        </p:cTn>
                                        <p:tgtEl>
                                          <p:spTgt spid="6"/>
                                        </p:tgtEl>
                                        <p:attrNameLst>
                                          <p:attrName>style.visibility</p:attrName>
                                        </p:attrNameLst>
                                      </p:cBhvr>
                                      <p:to>
                                        <p:strVal val="visible"/>
                                      </p:to>
                                    </p:set>
                                    <p:animEffect filter="fade" transition="in">
                                      <p:cBhvr>
                                        <p:cTn dur="500" id="19"/>
                                        <p:tgtEl>
                                          <p:spTgt spid="6"/>
                                        </p:tgtEl>
                                      </p:cBhvr>
                                    </p:animEffect>
                                  </p:childTnLst>
                                </p:cTn>
                              </p:par>
                            </p:childTnLst>
                          </p:cTn>
                        </p:par>
                        <p:par>
                          <p:cTn fill="hold" id="20" nodeType="afterGroup">
                            <p:stCondLst>
                              <p:cond delay="2000"/>
                            </p:stCondLst>
                            <p:childTnLst>
                              <p:par>
                                <p:cTn fill="hold" grpId="0" id="21" nodeType="afterEffect" presetClass="entr" presetID="22" presetSubtype="8">
                                  <p:stCondLst>
                                    <p:cond delay="0"/>
                                  </p:stCondLst>
                                  <p:childTnLst>
                                    <p:set>
                                      <p:cBhvr>
                                        <p:cTn dur="1" fill="hold" id="22">
                                          <p:stCondLst>
                                            <p:cond delay="0"/>
                                          </p:stCondLst>
                                        </p:cTn>
                                        <p:tgtEl>
                                          <p:spTgt spid="7"/>
                                        </p:tgtEl>
                                        <p:attrNameLst>
                                          <p:attrName>style.visibility</p:attrName>
                                        </p:attrNameLst>
                                      </p:cBhvr>
                                      <p:to>
                                        <p:strVal val="visible"/>
                                      </p:to>
                                    </p:set>
                                    <p:animEffect filter="wipe(left)" transition="in">
                                      <p:cBhvr>
                                        <p:cTn dur="500" id="23"/>
                                        <p:tgtEl>
                                          <p:spTgt spid="7"/>
                                        </p:tgtEl>
                                      </p:cBhvr>
                                    </p:animEffect>
                                  </p:childTnLst>
                                </p:cTn>
                              </p:par>
                            </p:childTnLst>
                          </p:cTn>
                        </p:par>
                        <p:par>
                          <p:cTn fill="hold" id="24" nodeType="afterGroup">
                            <p:stCondLst>
                              <p:cond delay="2500"/>
                            </p:stCondLst>
                            <p:childTnLst>
                              <p:par>
                                <p:cTn fill="hold" id="25" nodeType="afterEffect" presetClass="entr" presetID="10" presetSubtype="0">
                                  <p:stCondLst>
                                    <p:cond delay="0"/>
                                  </p:stCondLst>
                                  <p:childTnLst>
                                    <p:set>
                                      <p:cBhvr>
                                        <p:cTn dur="1" fill="hold" id="26">
                                          <p:stCondLst>
                                            <p:cond delay="0"/>
                                          </p:stCondLst>
                                        </p:cTn>
                                        <p:tgtEl>
                                          <p:spTgt spid="8"/>
                                        </p:tgtEl>
                                        <p:attrNameLst>
                                          <p:attrName>style.visibility</p:attrName>
                                        </p:attrNameLst>
                                      </p:cBhvr>
                                      <p:to>
                                        <p:strVal val="visible"/>
                                      </p:to>
                                    </p:set>
                                    <p:animEffect filter="fade" transition="in">
                                      <p:cBhvr>
                                        <p:cTn dur="500" id="27"/>
                                        <p:tgtEl>
                                          <p:spTgt spid="8"/>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4"/>
      <p:bldP grpId="0" spid="5"/>
      <p:bldP grpId="0" spid="6"/>
      <p:bldP grpId="0" spid="7"/>
    </p:bldLst>
  </p:timing>
</p:sld>
</file>

<file path=ppt/slides/slide22.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4" name="Subtitle 2"/>
          <p:cNvSpPr txBox="1"/>
          <p:nvPr/>
        </p:nvSpPr>
        <p:spPr>
          <a:xfrm>
            <a:off x="6746133" y="2058794"/>
            <a:ext cx="2763576" cy="621783"/>
          </a:xfrm>
          <a:prstGeom prst="rect">
            <a:avLst/>
          </a:prstGeom>
        </p:spPr>
        <p:txBody>
          <a:bodyPr>
            <a:noAutofit/>
          </a:bodyPr>
          <a:lstStyle>
            <a:lvl1pPr algn="l" defTabSz="914400" eaLnBrk="1" hangingPunct="1" indent="-228600" latinLnBrk="0" marL="228600" rtl="0">
              <a:lnSpc>
                <a:spcPct val="90000"/>
              </a:lnSpc>
              <a:spcBef>
                <a:spcPts val="1000"/>
              </a:spcBef>
              <a:buFont charset="0" panose="020b0604020202020204" pitchFamily="34" typeface="Arial"/>
              <a:buChar char="•"/>
              <a:defRPr kern="1200" sz="2800">
                <a:solidFill>
                  <a:schemeClr val="tx1"/>
                </a:solidFill>
                <a:latin typeface="+mn-lt"/>
                <a:ea typeface="+mn-ea"/>
                <a:cs typeface="+mn-cs"/>
              </a:defRPr>
            </a:lvl1pPr>
            <a:lvl2pPr algn="l" defTabSz="914400" eaLnBrk="1" hangingPunct="1" indent="-228600" latinLnBrk="0" marL="685800" rtl="0">
              <a:lnSpc>
                <a:spcPct val="90000"/>
              </a:lnSpc>
              <a:spcBef>
                <a:spcPts val="500"/>
              </a:spcBef>
              <a:buFont charset="0" panose="020b0604020202020204" pitchFamily="34" typeface="Arial"/>
              <a:buChar char="•"/>
              <a:defRPr kern="1200" sz="2400">
                <a:solidFill>
                  <a:schemeClr val="tx1"/>
                </a:solidFill>
                <a:latin typeface="+mn-lt"/>
                <a:ea typeface="+mn-ea"/>
                <a:cs typeface="+mn-cs"/>
              </a:defRPr>
            </a:lvl2pPr>
            <a:lvl3pPr algn="l" defTabSz="914400" eaLnBrk="1" hangingPunct="1" indent="-228600" latinLnBrk="0" marL="1143000" rtl="0">
              <a:lnSpc>
                <a:spcPct val="90000"/>
              </a:lnSpc>
              <a:spcBef>
                <a:spcPts val="500"/>
              </a:spcBef>
              <a:buFont charset="0" panose="020b0604020202020204" pitchFamily="34" typeface="Arial"/>
              <a:buChar char="•"/>
              <a:defRPr kern="1200" sz="2000">
                <a:solidFill>
                  <a:schemeClr val="tx1"/>
                </a:solidFill>
                <a:latin typeface="+mn-lt"/>
                <a:ea typeface="+mn-ea"/>
                <a:cs typeface="+mn-cs"/>
              </a:defRPr>
            </a:lvl3pPr>
            <a:lvl4pPr algn="l" defTabSz="914400" eaLnBrk="1" hangingPunct="1" indent="-228600" latinLnBrk="0" marL="16002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4pPr>
            <a:lvl5pPr algn="l" defTabSz="914400" eaLnBrk="1" hangingPunct="1" indent="-228600" latinLnBrk="0" marL="20574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5pPr>
            <a:lvl6pPr algn="l" defTabSz="914400" eaLnBrk="1" hangingPunct="1" indent="-228600" latinLnBrk="0" marL="25146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6pPr>
            <a:lvl7pPr algn="l" defTabSz="914400" eaLnBrk="1" hangingPunct="1" indent="-228600" latinLnBrk="0" marL="29718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7pPr>
            <a:lvl8pPr algn="l" defTabSz="914400" eaLnBrk="1" hangingPunct="1" indent="-228600" latinLnBrk="0" marL="34290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8pPr>
            <a:lvl9pPr algn="l" defTabSz="914400" eaLnBrk="1" hangingPunct="1" indent="-228600" latinLnBrk="0" marL="38862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9pPr>
          </a:lstStyle>
          <a:p>
            <a:pPr algn="r" indent="0" marL="0">
              <a:buNone/>
            </a:pPr>
            <a:r>
              <a:rPr b="1" lang="id-ID" spc="300" sz="4000">
                <a:solidFill>
                  <a:schemeClr val="accent1"/>
                </a:solidFill>
                <a:latin charset="-122" panose="020b0400000000000000" pitchFamily="34" typeface="思源黑体"/>
                <a:ea charset="-122" panose="020b0400000000000000" pitchFamily="34" typeface="思源黑体"/>
                <a:cs charset="0" panose="020f0502020204030203" pitchFamily="34" typeface="Lato Medium"/>
                <a:sym charset="-122" panose="020b0400000000000000" pitchFamily="34" typeface="思源黑体"/>
              </a:rPr>
              <a:t>ONE PICTURE</a:t>
            </a:r>
          </a:p>
        </p:txBody>
      </p:sp>
      <p:sp>
        <p:nvSpPr>
          <p:cNvPr id="5" name="Rectangle 4"/>
          <p:cNvSpPr/>
          <p:nvPr/>
        </p:nvSpPr>
        <p:spPr>
          <a:xfrm>
            <a:off x="6183088" y="3230071"/>
            <a:ext cx="3381828" cy="1120140"/>
          </a:xfrm>
          <a:prstGeom prst="rect">
            <a:avLst/>
          </a:prstGeom>
        </p:spPr>
        <p:txBody>
          <a:bodyPr wrap="square">
            <a:spAutoFit/>
          </a:bodyPr>
          <a:lstStyle/>
          <a:p>
            <a:pPr algn="r">
              <a:lnSpc>
                <a:spcPct val="150000"/>
              </a:lnSpc>
            </a:pPr>
            <a:r>
              <a:rPr b="1" i="0" lang="id-ID" sz="900">
                <a:solidFill>
                  <a:schemeClr val="bg2"/>
                </a:solidFill>
                <a:effectLst/>
                <a:latin charset="-122" panose="020b0400000000000000" pitchFamily="34" typeface="思源黑体"/>
                <a:ea charset="-122" panose="020b0400000000000000" pitchFamily="34" typeface="思源黑体"/>
                <a:cs charset="0" panose="020f0502020204030203" pitchFamily="34" typeface="Lato"/>
                <a:sym charset="-122" panose="020b0400000000000000" pitchFamily="34" typeface="思源黑体"/>
              </a:rPr>
              <a:t>Lorem ipsum dolor sit amet, lacus nulla ac netus nibh aliquet, porttitor ligula justo libero vivamus porttitor dolor, conubia mollit. Sapien nam suspendisse, tincidunt eget ante tincidunt, eros in auctor fringilla praesent at diam. In et quam est eget mi. Pellentesque</a:t>
            </a:r>
          </a:p>
        </p:txBody>
      </p:sp>
      <p:sp>
        <p:nvSpPr>
          <p:cNvPr id="6" name="Subtitle 2"/>
          <p:cNvSpPr txBox="1"/>
          <p:nvPr/>
        </p:nvSpPr>
        <p:spPr>
          <a:xfrm>
            <a:off x="7802824" y="4655537"/>
            <a:ext cx="2049427" cy="380920"/>
          </a:xfrm>
          <a:prstGeom prst="rect">
            <a:avLst/>
          </a:prstGeom>
        </p:spPr>
        <p:txBody>
          <a:bodyPr bIns="45720" lIns="91440" rIns="91440" rtlCol="0" tIns="45720" vert="horz">
            <a:noAutofit/>
          </a:bodyPr>
          <a:lstStyle>
            <a:lvl1pPr algn="ctr" defTabSz="914400" eaLnBrk="1" hangingPunct="1" indent="0" latinLnBrk="0" marL="0" rtl="0">
              <a:lnSpc>
                <a:spcPct val="90000"/>
              </a:lnSpc>
              <a:spcBef>
                <a:spcPts val="1000"/>
              </a:spcBef>
              <a:buFont charset="0" panose="020b0604020202020204" pitchFamily="34" typeface="Arial"/>
              <a:buNone/>
              <a:defRPr kern="1200" sz="2400">
                <a:solidFill>
                  <a:schemeClr val="tx1"/>
                </a:solidFill>
                <a:latin typeface="+mn-lt"/>
                <a:ea typeface="+mn-ea"/>
                <a:cs typeface="+mn-cs"/>
              </a:defRPr>
            </a:lvl1pPr>
            <a:lvl2pPr algn="ctr" defTabSz="914400" eaLnBrk="1" hangingPunct="1" indent="0" latinLnBrk="0" marL="457200" rtl="0">
              <a:lnSpc>
                <a:spcPct val="90000"/>
              </a:lnSpc>
              <a:spcBef>
                <a:spcPts val="500"/>
              </a:spcBef>
              <a:buFont charset="0" panose="020b0604020202020204" pitchFamily="34" typeface="Arial"/>
              <a:buNone/>
              <a:defRPr kern="1200" sz="2000">
                <a:solidFill>
                  <a:schemeClr val="tx1"/>
                </a:solidFill>
                <a:latin typeface="+mn-lt"/>
                <a:ea typeface="+mn-ea"/>
                <a:cs typeface="+mn-cs"/>
              </a:defRPr>
            </a:lvl2pPr>
            <a:lvl3pPr algn="ctr" defTabSz="914400" eaLnBrk="1" hangingPunct="1" indent="0" latinLnBrk="0" marL="914400" rtl="0">
              <a:lnSpc>
                <a:spcPct val="90000"/>
              </a:lnSpc>
              <a:spcBef>
                <a:spcPts val="500"/>
              </a:spcBef>
              <a:buFont charset="0" panose="020b0604020202020204" pitchFamily="34" typeface="Arial"/>
              <a:buNone/>
              <a:defRPr kern="1200" sz="1800">
                <a:solidFill>
                  <a:schemeClr val="tx1"/>
                </a:solidFill>
                <a:latin typeface="+mn-lt"/>
                <a:ea typeface="+mn-ea"/>
                <a:cs typeface="+mn-cs"/>
              </a:defRPr>
            </a:lvl3pPr>
            <a:lvl4pPr algn="ctr" defTabSz="914400" eaLnBrk="1" hangingPunct="1" indent="0" latinLnBrk="0" marL="1371600" rtl="0">
              <a:lnSpc>
                <a:spcPct val="90000"/>
              </a:lnSpc>
              <a:spcBef>
                <a:spcPts val="500"/>
              </a:spcBef>
              <a:buFont charset="0" panose="020b0604020202020204" pitchFamily="34" typeface="Arial"/>
              <a:buNone/>
              <a:defRPr kern="1200" sz="1600">
                <a:solidFill>
                  <a:schemeClr val="tx1"/>
                </a:solidFill>
                <a:latin typeface="+mn-lt"/>
                <a:ea typeface="+mn-ea"/>
                <a:cs typeface="+mn-cs"/>
              </a:defRPr>
            </a:lvl4pPr>
            <a:lvl5pPr algn="ctr" defTabSz="914400" eaLnBrk="1" hangingPunct="1" indent="0" latinLnBrk="0" marL="1828800" rtl="0">
              <a:lnSpc>
                <a:spcPct val="90000"/>
              </a:lnSpc>
              <a:spcBef>
                <a:spcPts val="500"/>
              </a:spcBef>
              <a:buFont charset="0" panose="020b0604020202020204" pitchFamily="34" typeface="Arial"/>
              <a:buNone/>
              <a:defRPr kern="1200" sz="1600">
                <a:solidFill>
                  <a:schemeClr val="tx1"/>
                </a:solidFill>
                <a:latin typeface="+mn-lt"/>
                <a:ea typeface="+mn-ea"/>
                <a:cs typeface="+mn-cs"/>
              </a:defRPr>
            </a:lvl5pPr>
            <a:lvl6pPr algn="ctr" defTabSz="914400" eaLnBrk="1" hangingPunct="1" indent="0" latinLnBrk="0" marL="2286000" rtl="0">
              <a:lnSpc>
                <a:spcPct val="90000"/>
              </a:lnSpc>
              <a:spcBef>
                <a:spcPts val="500"/>
              </a:spcBef>
              <a:buFont charset="0" panose="020b0604020202020204" pitchFamily="34" typeface="Arial"/>
              <a:buNone/>
              <a:defRPr kern="1200" sz="1600">
                <a:solidFill>
                  <a:schemeClr val="tx1"/>
                </a:solidFill>
                <a:latin typeface="+mn-lt"/>
                <a:ea typeface="+mn-ea"/>
                <a:cs typeface="+mn-cs"/>
              </a:defRPr>
            </a:lvl6pPr>
            <a:lvl7pPr algn="ctr" defTabSz="914400" eaLnBrk="1" hangingPunct="1" indent="0" latinLnBrk="0" marL="2743200" rtl="0">
              <a:lnSpc>
                <a:spcPct val="90000"/>
              </a:lnSpc>
              <a:spcBef>
                <a:spcPts val="500"/>
              </a:spcBef>
              <a:buFont charset="0" panose="020b0604020202020204" pitchFamily="34" typeface="Arial"/>
              <a:buNone/>
              <a:defRPr kern="1200" sz="1600">
                <a:solidFill>
                  <a:schemeClr val="tx1"/>
                </a:solidFill>
                <a:latin typeface="+mn-lt"/>
                <a:ea typeface="+mn-ea"/>
                <a:cs typeface="+mn-cs"/>
              </a:defRPr>
            </a:lvl7pPr>
            <a:lvl8pPr algn="ctr" defTabSz="914400" eaLnBrk="1" hangingPunct="1" indent="0" latinLnBrk="0" marL="3200400" rtl="0">
              <a:lnSpc>
                <a:spcPct val="90000"/>
              </a:lnSpc>
              <a:spcBef>
                <a:spcPts val="500"/>
              </a:spcBef>
              <a:buFont charset="0" panose="020b0604020202020204" pitchFamily="34" typeface="Arial"/>
              <a:buNone/>
              <a:defRPr kern="1200" sz="1600">
                <a:solidFill>
                  <a:schemeClr val="tx1"/>
                </a:solidFill>
                <a:latin typeface="+mn-lt"/>
                <a:ea typeface="+mn-ea"/>
                <a:cs typeface="+mn-cs"/>
              </a:defRPr>
            </a:lvl8pPr>
            <a:lvl9pPr algn="ctr" defTabSz="914400" eaLnBrk="1" hangingPunct="1" indent="0" latinLnBrk="0" marL="3657600" rtl="0">
              <a:lnSpc>
                <a:spcPct val="90000"/>
              </a:lnSpc>
              <a:spcBef>
                <a:spcPts val="500"/>
              </a:spcBef>
              <a:buFont charset="0" panose="020b0604020202020204" pitchFamily="34" typeface="Arial"/>
              <a:buNone/>
              <a:defRPr kern="1200" sz="1600">
                <a:solidFill>
                  <a:schemeClr val="tx1"/>
                </a:solidFill>
                <a:latin typeface="+mn-lt"/>
                <a:ea typeface="+mn-ea"/>
                <a:cs typeface="+mn-cs"/>
              </a:defRPr>
            </a:lvl9pPr>
          </a:lstStyle>
          <a:p>
            <a:pPr algn="l">
              <a:lnSpc>
                <a:spcPct val="100000"/>
              </a:lnSpc>
            </a:pPr>
            <a:r>
              <a:rPr lang="id-ID" spc="300" sz="1800">
                <a:solidFill>
                  <a:schemeClr val="bg2"/>
                </a:solidFill>
                <a:latin charset="-122" panose="020b0400000000000000" pitchFamily="34" typeface="思源黑体"/>
                <a:ea charset="-122" panose="020b0400000000000000" pitchFamily="34" typeface="思源黑体"/>
                <a:cs charset="0" panose="020f0502020204030203" pitchFamily="34" typeface="Lato Heavy"/>
                <a:sym charset="-122" panose="020b0400000000000000" pitchFamily="34" typeface="思源黑体"/>
              </a:rPr>
              <a:t>LEARN MORE</a:t>
            </a:r>
          </a:p>
        </p:txBody>
      </p:sp>
      <p:cxnSp>
        <p:nvCxnSpPr>
          <p:cNvPr id="7" name="Straight Arrow Connector 6"/>
          <p:cNvCxnSpPr/>
          <p:nvPr/>
        </p:nvCxnSpPr>
        <p:spPr>
          <a:xfrm flipH="1">
            <a:off x="7165881" y="4838356"/>
            <a:ext cx="502277" cy="0"/>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7910287" y="5050971"/>
            <a:ext cx="827314"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9564915" y="2772229"/>
            <a:ext cx="1547166"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9666515" y="3410857"/>
            <a:ext cx="49348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11814629" y="0"/>
            <a:ext cx="377371"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lang="en-US">
              <a:latin charset="-122" panose="020b0400000000000000" pitchFamily="34" typeface="思源黑体"/>
              <a:ea charset="-122" panose="020b0400000000000000" pitchFamily="34" typeface="思源黑体"/>
              <a:sym charset="-122" panose="020b0400000000000000" pitchFamily="34" typeface="思源黑体"/>
            </a:endParaRPr>
          </a:p>
        </p:txBody>
      </p:sp>
      <p:pic>
        <p:nvPicPr>
          <p:cNvPr id="3" name="图片占位符 2">
            <a:extLst>
              <a:ext uri="{FF2B5EF4-FFF2-40B4-BE49-F238E27FC236}">
                <a16:creationId xmlns:a16="http://schemas.microsoft.com/office/drawing/2014/main" id="{EF560716-BD95-4648-9CF7-97BC85250287}"/>
              </a:ext>
            </a:extLst>
          </p:cNvPr>
          <p:cNvPicPr>
            <a:picLocks noChangeAspect="1" noGrp="1"/>
          </p:cNvPicPr>
          <p:nvPr>
            <p:ph idx="10" sz="quarter" type="pic"/>
          </p:nvPr>
        </p:nvPicPr>
        <p:blipFill>
          <a:blip r:embed="rId3">
            <a:extLst>
              <a:ext uri="{28A0092B-C50C-407E-A947-70E740481C1C}">
                <a14:useLocalDpi val="0"/>
              </a:ext>
            </a:extLst>
          </a:blip>
          <a:stretch>
            <a:fillRect/>
          </a:stretch>
        </p:blipFill>
        <p:spPr>
          <a:xfrm>
            <a:off x="0" y="3450"/>
            <a:ext cx="4262907" cy="6851100"/>
          </a:xfrm>
        </p:spPr>
      </p:pic>
    </p:spTree>
    <p:extLst>
      <p:ext uri="{BB962C8B-B14F-4D97-AF65-F5344CB8AC3E}">
        <p14:creationId val="1915393993"/>
      </p:ext>
    </p:extLst>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afterEffect" presetClass="entr" presetID="22" presetSubtype="8">
                                  <p:stCondLst>
                                    <p:cond delay="0"/>
                                  </p:stCondLst>
                                  <p:childTnLst>
                                    <p:set>
                                      <p:cBhvr>
                                        <p:cTn dur="1" fill="hold" id="6">
                                          <p:stCondLst>
                                            <p:cond delay="0"/>
                                          </p:stCondLst>
                                        </p:cTn>
                                        <p:tgtEl>
                                          <p:spTgt spid="4"/>
                                        </p:tgtEl>
                                        <p:attrNameLst>
                                          <p:attrName>style.visibility</p:attrName>
                                        </p:attrNameLst>
                                      </p:cBhvr>
                                      <p:to>
                                        <p:strVal val="visible"/>
                                      </p:to>
                                    </p:set>
                                    <p:animEffect filter="wipe(left)" transition="in">
                                      <p:cBhvr>
                                        <p:cTn dur="500" id="7"/>
                                        <p:tgtEl>
                                          <p:spTgt spid="4"/>
                                        </p:tgtEl>
                                      </p:cBhvr>
                                    </p:animEffect>
                                  </p:childTnLst>
                                </p:cTn>
                              </p:par>
                            </p:childTnLst>
                          </p:cTn>
                        </p:par>
                        <p:par>
                          <p:cTn fill="hold" id="8" nodeType="afterGroup">
                            <p:stCondLst>
                              <p:cond delay="500"/>
                            </p:stCondLst>
                            <p:childTnLst>
                              <p:par>
                                <p:cTn fill="hold" grpId="0" id="9" nodeType="afterEffect" presetClass="entr" presetID="22" presetSubtype="8">
                                  <p:stCondLst>
                                    <p:cond delay="0"/>
                                  </p:stCondLst>
                                  <p:childTnLst>
                                    <p:set>
                                      <p:cBhvr>
                                        <p:cTn dur="1" fill="hold" id="10">
                                          <p:stCondLst>
                                            <p:cond delay="0"/>
                                          </p:stCondLst>
                                        </p:cTn>
                                        <p:tgtEl>
                                          <p:spTgt spid="5"/>
                                        </p:tgtEl>
                                        <p:attrNameLst>
                                          <p:attrName>style.visibility</p:attrName>
                                        </p:attrNameLst>
                                      </p:cBhvr>
                                      <p:to>
                                        <p:strVal val="visible"/>
                                      </p:to>
                                    </p:set>
                                    <p:animEffect filter="wipe(left)" transition="in">
                                      <p:cBhvr>
                                        <p:cTn dur="500" id="11"/>
                                        <p:tgtEl>
                                          <p:spTgt spid="5"/>
                                        </p:tgtEl>
                                      </p:cBhvr>
                                    </p:animEffect>
                                  </p:childTnLst>
                                </p:cTn>
                              </p:par>
                            </p:childTnLst>
                          </p:cTn>
                        </p:par>
                        <p:par>
                          <p:cTn fill="hold" id="12" nodeType="afterGroup">
                            <p:stCondLst>
                              <p:cond delay="1000"/>
                            </p:stCondLst>
                            <p:childTnLst>
                              <p:par>
                                <p:cTn fill="hold" grpId="0" id="13" nodeType="afterEffect" presetClass="entr" presetID="22" presetSubtype="8">
                                  <p:stCondLst>
                                    <p:cond delay="0"/>
                                  </p:stCondLst>
                                  <p:childTnLst>
                                    <p:set>
                                      <p:cBhvr>
                                        <p:cTn dur="1" fill="hold" id="14">
                                          <p:stCondLst>
                                            <p:cond delay="0"/>
                                          </p:stCondLst>
                                        </p:cTn>
                                        <p:tgtEl>
                                          <p:spTgt spid="6"/>
                                        </p:tgtEl>
                                        <p:attrNameLst>
                                          <p:attrName>style.visibility</p:attrName>
                                        </p:attrNameLst>
                                      </p:cBhvr>
                                      <p:to>
                                        <p:strVal val="visible"/>
                                      </p:to>
                                    </p:set>
                                    <p:animEffect filter="wipe(left)" transition="in">
                                      <p:cBhvr>
                                        <p:cTn dur="500" id="15"/>
                                        <p:tgtEl>
                                          <p:spTgt spid="6"/>
                                        </p:tgtEl>
                                      </p:cBhvr>
                                    </p:animEffect>
                                  </p:childTnLst>
                                </p:cTn>
                              </p:par>
                            </p:childTnLst>
                          </p:cTn>
                        </p:par>
                        <p:par>
                          <p:cTn fill="hold" id="16" nodeType="afterGroup">
                            <p:stCondLst>
                              <p:cond delay="1500"/>
                            </p:stCondLst>
                            <p:childTnLst>
                              <p:par>
                                <p:cTn fill="hold" id="17" nodeType="afterEffect" presetClass="entr" presetID="22" presetSubtype="8">
                                  <p:stCondLst>
                                    <p:cond delay="0"/>
                                  </p:stCondLst>
                                  <p:childTnLst>
                                    <p:set>
                                      <p:cBhvr>
                                        <p:cTn dur="1" fill="hold" id="18">
                                          <p:stCondLst>
                                            <p:cond delay="0"/>
                                          </p:stCondLst>
                                        </p:cTn>
                                        <p:tgtEl>
                                          <p:spTgt spid="7"/>
                                        </p:tgtEl>
                                        <p:attrNameLst>
                                          <p:attrName>style.visibility</p:attrName>
                                        </p:attrNameLst>
                                      </p:cBhvr>
                                      <p:to>
                                        <p:strVal val="visible"/>
                                      </p:to>
                                    </p:set>
                                    <p:animEffect filter="wipe(left)" transition="in">
                                      <p:cBhvr>
                                        <p:cTn dur="500" id="19"/>
                                        <p:tgtEl>
                                          <p:spTgt spid="7"/>
                                        </p:tgtEl>
                                      </p:cBhvr>
                                    </p:animEffect>
                                  </p:childTnLst>
                                </p:cTn>
                              </p:par>
                            </p:childTnLst>
                          </p:cTn>
                        </p:par>
                        <p:par>
                          <p:cTn fill="hold" id="20" nodeType="afterGroup">
                            <p:stCondLst>
                              <p:cond delay="2000"/>
                            </p:stCondLst>
                            <p:childTnLst>
                              <p:par>
                                <p:cTn fill="hold" id="21" nodeType="afterEffect" presetClass="entr" presetID="22" presetSubtype="8">
                                  <p:stCondLst>
                                    <p:cond delay="0"/>
                                  </p:stCondLst>
                                  <p:childTnLst>
                                    <p:set>
                                      <p:cBhvr>
                                        <p:cTn dur="1" fill="hold" id="22">
                                          <p:stCondLst>
                                            <p:cond delay="0"/>
                                          </p:stCondLst>
                                        </p:cTn>
                                        <p:tgtEl>
                                          <p:spTgt spid="8"/>
                                        </p:tgtEl>
                                        <p:attrNameLst>
                                          <p:attrName>style.visibility</p:attrName>
                                        </p:attrNameLst>
                                      </p:cBhvr>
                                      <p:to>
                                        <p:strVal val="visible"/>
                                      </p:to>
                                    </p:set>
                                    <p:animEffect filter="wipe(left)" transition="in">
                                      <p:cBhvr>
                                        <p:cTn dur="500" id="23"/>
                                        <p:tgtEl>
                                          <p:spTgt spid="8"/>
                                        </p:tgtEl>
                                      </p:cBhvr>
                                    </p:animEffect>
                                  </p:childTnLst>
                                </p:cTn>
                              </p:par>
                            </p:childTnLst>
                          </p:cTn>
                        </p:par>
                        <p:par>
                          <p:cTn fill="hold" id="24" nodeType="afterGroup">
                            <p:stCondLst>
                              <p:cond delay="2500"/>
                            </p:stCondLst>
                            <p:childTnLst>
                              <p:par>
                                <p:cTn fill="hold" id="25" nodeType="afterEffect" presetClass="entr" presetID="22" presetSubtype="8">
                                  <p:stCondLst>
                                    <p:cond delay="0"/>
                                  </p:stCondLst>
                                  <p:childTnLst>
                                    <p:set>
                                      <p:cBhvr>
                                        <p:cTn dur="1" fill="hold" id="26">
                                          <p:stCondLst>
                                            <p:cond delay="0"/>
                                          </p:stCondLst>
                                        </p:cTn>
                                        <p:tgtEl>
                                          <p:spTgt spid="9"/>
                                        </p:tgtEl>
                                        <p:attrNameLst>
                                          <p:attrName>style.visibility</p:attrName>
                                        </p:attrNameLst>
                                      </p:cBhvr>
                                      <p:to>
                                        <p:strVal val="visible"/>
                                      </p:to>
                                    </p:set>
                                    <p:animEffect filter="wipe(left)" transition="in">
                                      <p:cBhvr>
                                        <p:cTn dur="500" id="27"/>
                                        <p:tgtEl>
                                          <p:spTgt spid="9"/>
                                        </p:tgtEl>
                                      </p:cBhvr>
                                    </p:animEffect>
                                  </p:childTnLst>
                                </p:cTn>
                              </p:par>
                            </p:childTnLst>
                          </p:cTn>
                        </p:par>
                        <p:par>
                          <p:cTn fill="hold" id="28" nodeType="afterGroup">
                            <p:stCondLst>
                              <p:cond delay="3000"/>
                            </p:stCondLst>
                            <p:childTnLst>
                              <p:par>
                                <p:cTn fill="hold" id="29" nodeType="afterEffect" presetClass="entr" presetID="22" presetSubtype="8">
                                  <p:stCondLst>
                                    <p:cond delay="0"/>
                                  </p:stCondLst>
                                  <p:childTnLst>
                                    <p:set>
                                      <p:cBhvr>
                                        <p:cTn dur="1" fill="hold" id="30">
                                          <p:stCondLst>
                                            <p:cond delay="0"/>
                                          </p:stCondLst>
                                        </p:cTn>
                                        <p:tgtEl>
                                          <p:spTgt spid="10"/>
                                        </p:tgtEl>
                                        <p:attrNameLst>
                                          <p:attrName>style.visibility</p:attrName>
                                        </p:attrNameLst>
                                      </p:cBhvr>
                                      <p:to>
                                        <p:strVal val="visible"/>
                                      </p:to>
                                    </p:set>
                                    <p:animEffect filter="wipe(left)" transition="in">
                                      <p:cBhvr>
                                        <p:cTn dur="500" id="31"/>
                                        <p:tgtEl>
                                          <p:spTgt spid="10"/>
                                        </p:tgtEl>
                                      </p:cBhvr>
                                    </p:animEffect>
                                  </p:childTnLst>
                                </p:cTn>
                              </p:par>
                            </p:childTnLst>
                          </p:cTn>
                        </p:par>
                        <p:par>
                          <p:cTn fill="hold" id="32" nodeType="afterGroup">
                            <p:stCondLst>
                              <p:cond delay="3500"/>
                            </p:stCondLst>
                            <p:childTnLst>
                              <p:par>
                                <p:cTn fill="hold" id="33" nodeType="afterEffect" presetClass="entr" presetID="42" presetSubtype="0">
                                  <p:stCondLst>
                                    <p:cond delay="0"/>
                                  </p:stCondLst>
                                  <p:childTnLst>
                                    <p:set>
                                      <p:cBhvr>
                                        <p:cTn dur="1" fill="hold" id="34">
                                          <p:stCondLst>
                                            <p:cond delay="0"/>
                                          </p:stCondLst>
                                        </p:cTn>
                                        <p:tgtEl>
                                          <p:spTgt spid="3"/>
                                        </p:tgtEl>
                                        <p:attrNameLst>
                                          <p:attrName>style.visibility</p:attrName>
                                        </p:attrNameLst>
                                      </p:cBhvr>
                                      <p:to>
                                        <p:strVal val="visible"/>
                                      </p:to>
                                    </p:set>
                                    <p:animEffect filter="fade" transition="in">
                                      <p:cBhvr>
                                        <p:cTn dur="1000" id="35"/>
                                        <p:tgtEl>
                                          <p:spTgt spid="3"/>
                                        </p:tgtEl>
                                      </p:cBhvr>
                                    </p:animEffect>
                                    <p:anim calcmode="lin" valueType="num">
                                      <p:cBhvr>
                                        <p:cTn dur="1000" fill="hold" id="36"/>
                                        <p:tgtEl>
                                          <p:spTgt spid="3"/>
                                        </p:tgtEl>
                                        <p:attrNameLst>
                                          <p:attrName>ppt_x</p:attrName>
                                        </p:attrNameLst>
                                      </p:cBhvr>
                                      <p:tavLst>
                                        <p:tav tm="0">
                                          <p:val>
                                            <p:strVal val="#ppt_x"/>
                                          </p:val>
                                        </p:tav>
                                        <p:tav tm="100000">
                                          <p:val>
                                            <p:strVal val="#ppt_x"/>
                                          </p:val>
                                        </p:tav>
                                      </p:tavLst>
                                    </p:anim>
                                    <p:anim calcmode="lin" valueType="num">
                                      <p:cBhvr>
                                        <p:cTn dur="1000" fill="hold" id="37"/>
                                        <p:tgtEl>
                                          <p:spTgt spid="3"/>
                                        </p:tgtEl>
                                        <p:attrNameLst>
                                          <p:attrName>ppt_y</p:attrName>
                                        </p:attrNameLst>
                                      </p:cBhvr>
                                      <p:tavLst>
                                        <p:tav tm="0">
                                          <p:val>
                                            <p:strVal val="#ppt_y+.1"/>
                                          </p:val>
                                        </p:tav>
                                        <p:tav tm="100000">
                                          <p:val>
                                            <p:strVal val="#ppt_y"/>
                                          </p:val>
                                        </p:tav>
                                      </p:tavLst>
                                    </p:anim>
                                  </p:childTnLst>
                                </p:cTn>
                              </p:par>
                            </p:childTnLst>
                          </p:cTn>
                        </p:par>
                        <p:par>
                          <p:cTn fill="hold" id="38" nodeType="afterGroup">
                            <p:stCondLst>
                              <p:cond delay="4500"/>
                            </p:stCondLst>
                            <p:childTnLst>
                              <p:par>
                                <p:cTn fill="hold" grpId="0" id="39" nodeType="afterEffect" presetClass="entr" presetID="42" presetSubtype="0">
                                  <p:stCondLst>
                                    <p:cond delay="0"/>
                                  </p:stCondLst>
                                  <p:childTnLst>
                                    <p:set>
                                      <p:cBhvr>
                                        <p:cTn dur="1" fill="hold" id="40">
                                          <p:stCondLst>
                                            <p:cond delay="0"/>
                                          </p:stCondLst>
                                        </p:cTn>
                                        <p:tgtEl>
                                          <p:spTgt spid="11"/>
                                        </p:tgtEl>
                                        <p:attrNameLst>
                                          <p:attrName>style.visibility</p:attrName>
                                        </p:attrNameLst>
                                      </p:cBhvr>
                                      <p:to>
                                        <p:strVal val="visible"/>
                                      </p:to>
                                    </p:set>
                                    <p:animEffect filter="fade" transition="in">
                                      <p:cBhvr>
                                        <p:cTn dur="1000" id="41"/>
                                        <p:tgtEl>
                                          <p:spTgt spid="11"/>
                                        </p:tgtEl>
                                      </p:cBhvr>
                                    </p:animEffect>
                                    <p:anim calcmode="lin" valueType="num">
                                      <p:cBhvr>
                                        <p:cTn dur="1000" fill="hold" id="42"/>
                                        <p:tgtEl>
                                          <p:spTgt spid="11"/>
                                        </p:tgtEl>
                                        <p:attrNameLst>
                                          <p:attrName>ppt_x</p:attrName>
                                        </p:attrNameLst>
                                      </p:cBhvr>
                                      <p:tavLst>
                                        <p:tav tm="0">
                                          <p:val>
                                            <p:strVal val="#ppt_x"/>
                                          </p:val>
                                        </p:tav>
                                        <p:tav tm="100000">
                                          <p:val>
                                            <p:strVal val="#ppt_x"/>
                                          </p:val>
                                        </p:tav>
                                      </p:tavLst>
                                    </p:anim>
                                    <p:anim calcmode="lin" valueType="num">
                                      <p:cBhvr>
                                        <p:cTn dur="1000" fill="hold" id="43"/>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4"/>
      <p:bldP grpId="0" spid="5"/>
      <p:bldP grpId="0" spid="6"/>
      <p:bldP grpId="0" spid="11"/>
    </p:bldLst>
  </p:timing>
</p:sld>
</file>

<file path=ppt/slides/slide23.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4" name="Rectangle 3"/>
          <p:cNvSpPr/>
          <p:nvPr/>
        </p:nvSpPr>
        <p:spPr>
          <a:xfrm>
            <a:off x="9782629" y="0"/>
            <a:ext cx="95794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lang="en-US">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5" name="Rectangle 4"/>
          <p:cNvSpPr/>
          <p:nvPr/>
        </p:nvSpPr>
        <p:spPr>
          <a:xfrm>
            <a:off x="990658" y="3540101"/>
            <a:ext cx="5431920" cy="1531620"/>
          </a:xfrm>
          <a:prstGeom prst="rect">
            <a:avLst/>
          </a:prstGeom>
        </p:spPr>
        <p:txBody>
          <a:bodyPr wrap="square">
            <a:spAutoFit/>
          </a:bodyPr>
          <a:lstStyle/>
          <a:p>
            <a:pPr>
              <a:lnSpc>
                <a:spcPct val="150000"/>
              </a:lnSpc>
            </a:pPr>
            <a:r>
              <a:rPr b="1" i="0" lang="id-ID" sz="900">
                <a:solidFill>
                  <a:schemeClr val="bg2"/>
                </a:solidFill>
                <a:effectLst/>
                <a:latin charset="-122" panose="020b0400000000000000" pitchFamily="34" typeface="思源黑体"/>
                <a:ea charset="-122" panose="020b0400000000000000" pitchFamily="34" typeface="思源黑体"/>
                <a:cs charset="0" panose="020f0502020204030203" pitchFamily="34" typeface="Lato"/>
                <a:sym charset="-122" panose="020b0400000000000000" pitchFamily="34" typeface="思源黑体"/>
              </a:rPr>
              <a:t>Lorem ipsum dolor sit amet, lacus nulla ac netus nibh aliquet, porttitor ligula justo libero vivamus porttitor dolor, conubia mollit. Sapien nam suspendisse, tincidunt eget ante tincidunt, eros in auctor fringilla praesent at diam. In et quam est eget mi. Pellentesque nunc orci eu enim, eget in fringilla vitae, et eros praesent dolor porttitor. Lacinia lectus nonummy, accumsan mauris in sed justo magnis, dictum justo lorem ac quis. A venenatis, velit integer vivamus facilisi feugiat a per, hac a sit, wisi non, wisi ultrices vel sit curae consequat. </a:t>
            </a:r>
          </a:p>
        </p:txBody>
      </p:sp>
      <p:sp>
        <p:nvSpPr>
          <p:cNvPr id="6" name="Subtitle 2"/>
          <p:cNvSpPr txBox="1"/>
          <p:nvPr/>
        </p:nvSpPr>
        <p:spPr>
          <a:xfrm>
            <a:off x="990658" y="2369485"/>
            <a:ext cx="3381828" cy="621783"/>
          </a:xfrm>
          <a:prstGeom prst="rect">
            <a:avLst/>
          </a:prstGeom>
        </p:spPr>
        <p:txBody>
          <a:bodyPr>
            <a:noAutofit/>
          </a:bodyPr>
          <a:lstStyle>
            <a:lvl1pPr algn="l" defTabSz="914400" eaLnBrk="1" hangingPunct="1" indent="-228600" latinLnBrk="0" marL="228600" rtl="0">
              <a:lnSpc>
                <a:spcPct val="90000"/>
              </a:lnSpc>
              <a:spcBef>
                <a:spcPts val="1000"/>
              </a:spcBef>
              <a:buFont charset="0" panose="020b0604020202020204" pitchFamily="34" typeface="Arial"/>
              <a:buChar char="•"/>
              <a:defRPr kern="1200" sz="2800">
                <a:solidFill>
                  <a:schemeClr val="tx1"/>
                </a:solidFill>
                <a:latin typeface="+mn-lt"/>
                <a:ea typeface="+mn-ea"/>
                <a:cs typeface="+mn-cs"/>
              </a:defRPr>
            </a:lvl1pPr>
            <a:lvl2pPr algn="l" defTabSz="914400" eaLnBrk="1" hangingPunct="1" indent="-228600" latinLnBrk="0" marL="685800" rtl="0">
              <a:lnSpc>
                <a:spcPct val="90000"/>
              </a:lnSpc>
              <a:spcBef>
                <a:spcPts val="500"/>
              </a:spcBef>
              <a:buFont charset="0" panose="020b0604020202020204" pitchFamily="34" typeface="Arial"/>
              <a:buChar char="•"/>
              <a:defRPr kern="1200" sz="2400">
                <a:solidFill>
                  <a:schemeClr val="tx1"/>
                </a:solidFill>
                <a:latin typeface="+mn-lt"/>
                <a:ea typeface="+mn-ea"/>
                <a:cs typeface="+mn-cs"/>
              </a:defRPr>
            </a:lvl2pPr>
            <a:lvl3pPr algn="l" defTabSz="914400" eaLnBrk="1" hangingPunct="1" indent="-228600" latinLnBrk="0" marL="1143000" rtl="0">
              <a:lnSpc>
                <a:spcPct val="90000"/>
              </a:lnSpc>
              <a:spcBef>
                <a:spcPts val="500"/>
              </a:spcBef>
              <a:buFont charset="0" panose="020b0604020202020204" pitchFamily="34" typeface="Arial"/>
              <a:buChar char="•"/>
              <a:defRPr kern="1200" sz="2000">
                <a:solidFill>
                  <a:schemeClr val="tx1"/>
                </a:solidFill>
                <a:latin typeface="+mn-lt"/>
                <a:ea typeface="+mn-ea"/>
                <a:cs typeface="+mn-cs"/>
              </a:defRPr>
            </a:lvl3pPr>
            <a:lvl4pPr algn="l" defTabSz="914400" eaLnBrk="1" hangingPunct="1" indent="-228600" latinLnBrk="0" marL="16002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4pPr>
            <a:lvl5pPr algn="l" defTabSz="914400" eaLnBrk="1" hangingPunct="1" indent="-228600" latinLnBrk="0" marL="20574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5pPr>
            <a:lvl6pPr algn="l" defTabSz="914400" eaLnBrk="1" hangingPunct="1" indent="-228600" latinLnBrk="0" marL="25146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6pPr>
            <a:lvl7pPr algn="l" defTabSz="914400" eaLnBrk="1" hangingPunct="1" indent="-228600" latinLnBrk="0" marL="29718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7pPr>
            <a:lvl8pPr algn="l" defTabSz="914400" eaLnBrk="1" hangingPunct="1" indent="-228600" latinLnBrk="0" marL="34290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8pPr>
            <a:lvl9pPr algn="l" defTabSz="914400" eaLnBrk="1" hangingPunct="1" indent="-228600" latinLnBrk="0" marL="38862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9pPr>
          </a:lstStyle>
          <a:p>
            <a:pPr indent="0" marL="0">
              <a:buNone/>
            </a:pPr>
            <a:r>
              <a:rPr b="1" lang="id-ID" spc="300" sz="4000">
                <a:solidFill>
                  <a:schemeClr val="accent1"/>
                </a:solidFill>
                <a:latin charset="-122" panose="020b0400000000000000" pitchFamily="34" typeface="思源黑体"/>
                <a:ea charset="-122" panose="020b0400000000000000" pitchFamily="34" typeface="思源黑体"/>
                <a:cs charset="0" panose="020f0502020204030203" pitchFamily="34" typeface="Lato Medium"/>
                <a:sym charset="-122" panose="020b0400000000000000" pitchFamily="34" typeface="思源黑体"/>
              </a:rPr>
              <a:t>THE GALERRY</a:t>
            </a:r>
          </a:p>
        </p:txBody>
      </p:sp>
      <p:sp>
        <p:nvSpPr>
          <p:cNvPr id="7" name="Rectangle 6"/>
          <p:cNvSpPr/>
          <p:nvPr/>
        </p:nvSpPr>
        <p:spPr>
          <a:xfrm>
            <a:off x="410087" y="2496457"/>
            <a:ext cx="580571" cy="9289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lang="en-US">
              <a:latin charset="-122" panose="020b0400000000000000" pitchFamily="34" typeface="思源黑体"/>
              <a:ea charset="-122" panose="020b0400000000000000" pitchFamily="34" typeface="思源黑体"/>
              <a:sym charset="-122" panose="020b0400000000000000" pitchFamily="34" typeface="思源黑体"/>
            </a:endParaRPr>
          </a:p>
        </p:txBody>
      </p:sp>
      <p:cxnSp>
        <p:nvCxnSpPr>
          <p:cNvPr id="8" name="Straight Connector 7"/>
          <p:cNvCxnSpPr/>
          <p:nvPr/>
        </p:nvCxnSpPr>
        <p:spPr>
          <a:xfrm>
            <a:off x="990658" y="5080001"/>
            <a:ext cx="591814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pic>
        <p:nvPicPr>
          <p:cNvPr id="3" name="图片占位符 2">
            <a:extLst>
              <a:ext uri="{FF2B5EF4-FFF2-40B4-BE49-F238E27FC236}">
                <a16:creationId xmlns:a16="http://schemas.microsoft.com/office/drawing/2014/main" id="{15FC795A-0ACB-4A0A-9983-B8F07F51C5ED}"/>
              </a:ext>
            </a:extLst>
          </p:cNvPr>
          <p:cNvPicPr>
            <a:picLocks noChangeAspect="1" noGrp="1"/>
          </p:cNvPicPr>
          <p:nvPr>
            <p:ph idx="10" sz="quarter" type="pic"/>
          </p:nvPr>
        </p:nvPicPr>
        <p:blipFill>
          <a:blip r:embed="rId3">
            <a:extLst>
              <a:ext uri="{28A0092B-C50C-407E-A947-70E740481C1C}">
                <a14:useLocalDpi val="0"/>
              </a:ext>
            </a:extLst>
          </a:blip>
          <a:stretch>
            <a:fillRect/>
          </a:stretch>
        </p:blipFill>
        <p:spPr>
          <a:xfrm>
            <a:off x="7417801" y="1117601"/>
            <a:ext cx="3539483" cy="4644571"/>
          </a:xfrm>
        </p:spPr>
      </p:pic>
      <p:grpSp>
        <p:nvGrpSpPr>
          <p:cNvPr id="10" name="组合 9">
            <a:extLst>
              <a:ext uri="{FF2B5EF4-FFF2-40B4-BE49-F238E27FC236}">
                <a16:creationId xmlns:a16="http://schemas.microsoft.com/office/drawing/2014/main" id="{9D153D93-FECF-4CC9-BCB0-CDA30D88B245}"/>
              </a:ext>
            </a:extLst>
          </p:cNvPr>
          <p:cNvGrpSpPr/>
          <p:nvPr/>
        </p:nvGrpSpPr>
        <p:grpSpPr>
          <a:xfrm>
            <a:off x="1208876" y="369288"/>
            <a:ext cx="7658100" cy="735806"/>
            <a:chOff x="1208876" y="369288"/>
            <a:chExt cx="7658100" cy="735806"/>
          </a:xfrm>
        </p:grpSpPr>
        <p:sp>
          <p:nvSpPr>
            <p:cNvPr id="11" name="文本框 10">
              <a:extLst>
                <a:ext uri="{FF2B5EF4-FFF2-40B4-BE49-F238E27FC236}">
                  <a16:creationId xmlns:a16="http://schemas.microsoft.com/office/drawing/2014/main" id="{9F4FFBD8-4946-4156-AF0A-8387D5429418}"/>
                </a:ext>
              </a:extLst>
            </p:cNvPr>
            <p:cNvSpPr txBox="1"/>
            <p:nvPr/>
          </p:nvSpPr>
          <p:spPr>
            <a:xfrm>
              <a:off x="1208876" y="369288"/>
              <a:ext cx="7658100" cy="457200"/>
            </a:xfrm>
            <a:prstGeom prst="rect">
              <a:avLst/>
            </a:prstGeom>
            <a:noFill/>
          </p:spPr>
          <p:txBody>
            <a:bodyPr rtlCol="0" wrap="square">
              <a:spAutoFit/>
            </a:bodyPr>
            <a:lstStyle/>
            <a:p>
              <a:r>
                <a:rPr altLang="en-US" lang="zh-CN" sz="2400">
                  <a:gradFill>
                    <a:gsLst>
                      <a:gs pos="885">
                        <a:schemeClr val="accent1">
                          <a:alpha val="10000"/>
                        </a:schemeClr>
                      </a:gs>
                      <a:gs pos="75000">
                        <a:schemeClr val="accent1">
                          <a:alpha val="73000"/>
                        </a:schemeClr>
                      </a:gs>
                    </a:gsLst>
                    <a:lin ang="5400000" scaled="1"/>
                  </a:gradFill>
                  <a:latin charset="-122" panose="020b0400000000000000" pitchFamily="34" typeface="思源黑体"/>
                  <a:ea charset="-122" panose="020b0400000000000000" pitchFamily="34" typeface="思源黑体"/>
                  <a:sym charset="-122" panose="020b0400000000000000" pitchFamily="34" typeface="思源黑体"/>
                </a:rPr>
                <a:t>在此输入标题内容</a:t>
              </a:r>
            </a:p>
          </p:txBody>
        </p:sp>
        <p:sp>
          <p:nvSpPr>
            <p:cNvPr id="12" name="文本框 11">
              <a:extLst>
                <a:ext uri="{FF2B5EF4-FFF2-40B4-BE49-F238E27FC236}">
                  <a16:creationId xmlns:a16="http://schemas.microsoft.com/office/drawing/2014/main" id="{AEF4C37D-C456-4BEF-B595-46E416816AB8}"/>
                </a:ext>
              </a:extLst>
            </p:cNvPr>
            <p:cNvSpPr txBox="1"/>
            <p:nvPr/>
          </p:nvSpPr>
          <p:spPr>
            <a:xfrm>
              <a:off x="1208876" y="797317"/>
              <a:ext cx="7658100" cy="304800"/>
            </a:xfrm>
            <a:prstGeom prst="rect">
              <a:avLst/>
            </a:prstGeom>
            <a:noFill/>
          </p:spPr>
          <p:txBody>
            <a:bodyPr rtlCol="0" wrap="square">
              <a:spAutoFit/>
            </a:bodyPr>
            <a:lstStyle/>
            <a:p>
              <a:r>
                <a:rPr altLang="zh-CN" lang="en-US" sz="1400">
                  <a:solidFill>
                    <a:schemeClr val="bg2"/>
                  </a:solidFill>
                  <a:latin charset="-122" panose="020b0400000000000000" pitchFamily="34" typeface="思源黑体"/>
                  <a:ea charset="-122" panose="020b0400000000000000" pitchFamily="34" typeface="思源黑体"/>
                  <a:sym charset="-122" panose="020b0400000000000000" pitchFamily="34" typeface="思源黑体"/>
                </a:rPr>
                <a:t>Use "Title Only" Layout</a:t>
              </a:r>
            </a:p>
          </p:txBody>
        </p:sp>
      </p:grpSp>
      <p:grpSp>
        <p:nvGrpSpPr>
          <p:cNvPr id="18" name="组合 17">
            <a:extLst>
              <a:ext uri="{FF2B5EF4-FFF2-40B4-BE49-F238E27FC236}">
                <a16:creationId xmlns:a16="http://schemas.microsoft.com/office/drawing/2014/main" id="{2D5B6E85-09D4-44BD-8DE1-B839A791C279}"/>
              </a:ext>
            </a:extLst>
          </p:cNvPr>
          <p:cNvGrpSpPr/>
          <p:nvPr/>
        </p:nvGrpSpPr>
        <p:grpSpPr>
          <a:xfrm>
            <a:off x="538226" y="153800"/>
            <a:ext cx="811275" cy="1299746"/>
            <a:chOff x="538226" y="153800"/>
            <a:chExt cx="811275" cy="1299746"/>
          </a:xfrm>
        </p:grpSpPr>
        <p:sp>
          <p:nvSpPr>
            <p:cNvPr id="19" name="文本框 18">
              <a:extLst>
                <a:ext uri="{FF2B5EF4-FFF2-40B4-BE49-F238E27FC236}">
                  <a16:creationId xmlns:a16="http://schemas.microsoft.com/office/drawing/2014/main" id="{AC6C7407-2DA6-4EA3-8E59-36BB5834FB57}"/>
                </a:ext>
              </a:extLst>
            </p:cNvPr>
            <p:cNvSpPr txBox="1"/>
            <p:nvPr/>
          </p:nvSpPr>
          <p:spPr>
            <a:xfrm>
              <a:off x="538226" y="153800"/>
              <a:ext cx="567647" cy="1097280"/>
            </a:xfrm>
            <a:prstGeom prst="rect">
              <a:avLst/>
            </a:prstGeom>
            <a:noFill/>
          </p:spPr>
          <p:txBody>
            <a:bodyPr rtlCol="0" wrap="square">
              <a:spAutoFit/>
            </a:bodyPr>
            <a:lstStyle>
              <a:defPPr>
                <a:defRPr lang="en-US"/>
              </a:defPPr>
              <a:lvl1pPr>
                <a:defRPr sz="8000">
                  <a:gradFill>
                    <a:gsLst>
                      <a:gs pos="36000">
                        <a:schemeClr val="bg1"/>
                      </a:gs>
                      <a:gs pos="100000">
                        <a:schemeClr val="tx1">
                          <a:lumMod val="50000"/>
                          <a:lumOff val="50000"/>
                        </a:schemeClr>
                      </a:gs>
                    </a:gsLst>
                    <a:lin ang="5400000" scaled="1"/>
                  </a:gradFill>
                  <a:latin charset="-122" panose="00000500000000000000" pitchFamily="2" typeface="字魂5号-无外润黑体"/>
                  <a:ea charset="-122" panose="00000500000000000000" pitchFamily="2" typeface="字魂5号-无外润黑体"/>
                </a:defRPr>
              </a:lvl1pPr>
            </a:lstStyle>
            <a:p>
              <a:r>
                <a:rPr altLang="zh-CN" lang="en-US" sz="6600">
                  <a:gradFill>
                    <a:gsLst>
                      <a:gs pos="36000">
                        <a:schemeClr val="bg1"/>
                      </a:gs>
                      <a:gs pos="70000">
                        <a:schemeClr val="tx1">
                          <a:lumMod val="50000"/>
                          <a:lumOff val="50000"/>
                          <a:alpha val="0"/>
                        </a:schemeClr>
                      </a:gs>
                    </a:gsLst>
                    <a:lin ang="5400000" scaled="1"/>
                  </a:gradFill>
                  <a:latin charset="-122" panose="020b0300000000000000" pitchFamily="34" typeface="思源黑体 CN Light"/>
                  <a:ea charset="-122" panose="00000500000000000000" pitchFamily="2" typeface="字魂54号-贤黑"/>
                  <a:sym charset="-122" panose="020b0400000000000000" pitchFamily="34" typeface="思源黑体"/>
                </a:rPr>
                <a:t>3</a:t>
              </a:r>
            </a:p>
          </p:txBody>
        </p:sp>
        <p:grpSp>
          <p:nvGrpSpPr>
            <p:cNvPr id="20" name="组合 19">
              <a:extLst>
                <a:ext uri="{FF2B5EF4-FFF2-40B4-BE49-F238E27FC236}">
                  <a16:creationId xmlns:a16="http://schemas.microsoft.com/office/drawing/2014/main" id="{E2F098F5-EF32-48E3-9992-C62CF2272A31}"/>
                </a:ext>
              </a:extLst>
            </p:cNvPr>
            <p:cNvGrpSpPr/>
            <p:nvPr/>
          </p:nvGrpSpPr>
          <p:grpSpPr>
            <a:xfrm rot="1279383">
              <a:off x="538418" y="260428"/>
              <a:ext cx="811083" cy="1193118"/>
              <a:chOff x="5326021" y="1359499"/>
              <a:chExt cx="2273644" cy="3344573"/>
            </a:xfrm>
          </p:grpSpPr>
          <p:cxnSp>
            <p:nvCxnSpPr>
              <p:cNvPr id="21" name="直接连接符 20">
                <a:extLst>
                  <a:ext uri="{FF2B5EF4-FFF2-40B4-BE49-F238E27FC236}">
                    <a16:creationId xmlns:a16="http://schemas.microsoft.com/office/drawing/2014/main" id="{66ECF591-42F6-49C9-8E49-A466B5D00986}"/>
                  </a:ext>
                </a:extLst>
              </p:cNvPr>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2" name="任意多边形: 形状 21">
                <a:extLst>
                  <a:ext uri="{FF2B5EF4-FFF2-40B4-BE49-F238E27FC236}">
                    <a16:creationId xmlns:a16="http://schemas.microsoft.com/office/drawing/2014/main" id="{8DF8AF72-F562-4DBA-8BF1-0C53CDE838BA}"/>
                  </a:ext>
                </a:extLst>
              </p:cNvPr>
              <p:cNvSpPr/>
              <p:nvPr/>
            </p:nvSpPr>
            <p:spPr>
              <a:xfrm rot="2008142">
                <a:off x="5326021" y="3632692"/>
                <a:ext cx="319543" cy="1071380"/>
              </a:xfrm>
              <a:custGeom>
                <a:gdLst>
                  <a:gd fmla="*/ 278285 w 319543" name="connsiteX0"/>
                  <a:gd fmla="*/ 0 h 1071380" name="connsiteY0"/>
                  <a:gd fmla="*/ 319543 w 319543" name="connsiteX1"/>
                  <a:gd fmla="*/ 0 h 1071380" name="connsiteY1"/>
                  <a:gd fmla="*/ 319543 w 319543" name="connsiteX2"/>
                  <a:gd fmla="*/ 601405 h 1071380" name="connsiteY2"/>
                  <a:gd fmla="*/ 0 w 319543" name="connsiteX3"/>
                  <a:gd fmla="*/ 1071380 h 1071380" name="connsiteY3"/>
                  <a:gd fmla="*/ 0 w 319543" name="connsiteX4"/>
                  <a:gd fmla="*/ 409295 h 1071380"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1071380" w="319543">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400"/>
              </a:p>
            </p:txBody>
          </p:sp>
        </p:grpSp>
      </p:grpSp>
    </p:spTree>
    <p:extLst>
      <p:ext uri="{BB962C8B-B14F-4D97-AF65-F5344CB8AC3E}">
        <p14:creationId val="1090760566"/>
      </p:ext>
    </p:extLst>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afterEffect" presetClass="entr" presetID="22" presetSubtype="4">
                                  <p:stCondLst>
                                    <p:cond delay="0"/>
                                  </p:stCondLst>
                                  <p:childTnLst>
                                    <p:set>
                                      <p:cBhvr>
                                        <p:cTn dur="1" fill="hold" id="6">
                                          <p:stCondLst>
                                            <p:cond delay="0"/>
                                          </p:stCondLst>
                                        </p:cTn>
                                        <p:tgtEl>
                                          <p:spTgt spid="4"/>
                                        </p:tgtEl>
                                        <p:attrNameLst>
                                          <p:attrName>style.visibility</p:attrName>
                                        </p:attrNameLst>
                                      </p:cBhvr>
                                      <p:to>
                                        <p:strVal val="visible"/>
                                      </p:to>
                                    </p:set>
                                    <p:animEffect filter="wipe(down)" transition="in">
                                      <p:cBhvr>
                                        <p:cTn dur="500" id="7"/>
                                        <p:tgtEl>
                                          <p:spTgt spid="4"/>
                                        </p:tgtEl>
                                      </p:cBhvr>
                                    </p:animEffect>
                                  </p:childTnLst>
                                </p:cTn>
                              </p:par>
                            </p:childTnLst>
                          </p:cTn>
                        </p:par>
                        <p:par>
                          <p:cTn fill="hold" id="8" nodeType="afterGroup">
                            <p:stCondLst>
                              <p:cond delay="500"/>
                            </p:stCondLst>
                            <p:childTnLst>
                              <p:par>
                                <p:cTn fill="hold" id="9" nodeType="afterEffect" presetClass="entr" presetID="42" presetSubtype="0">
                                  <p:stCondLst>
                                    <p:cond delay="0"/>
                                  </p:stCondLst>
                                  <p:childTnLst>
                                    <p:set>
                                      <p:cBhvr>
                                        <p:cTn dur="1" fill="hold" id="10">
                                          <p:stCondLst>
                                            <p:cond delay="0"/>
                                          </p:stCondLst>
                                        </p:cTn>
                                        <p:tgtEl>
                                          <p:spTgt spid="3"/>
                                        </p:tgtEl>
                                        <p:attrNameLst>
                                          <p:attrName>style.visibility</p:attrName>
                                        </p:attrNameLst>
                                      </p:cBhvr>
                                      <p:to>
                                        <p:strVal val="visible"/>
                                      </p:to>
                                    </p:set>
                                    <p:animEffect filter="fade" transition="in">
                                      <p:cBhvr>
                                        <p:cTn dur="1000" id="11"/>
                                        <p:tgtEl>
                                          <p:spTgt spid="3"/>
                                        </p:tgtEl>
                                      </p:cBhvr>
                                    </p:animEffect>
                                    <p:anim calcmode="lin" valueType="num">
                                      <p:cBhvr>
                                        <p:cTn dur="1000" fill="hold" id="12"/>
                                        <p:tgtEl>
                                          <p:spTgt spid="3"/>
                                        </p:tgtEl>
                                        <p:attrNameLst>
                                          <p:attrName>ppt_x</p:attrName>
                                        </p:attrNameLst>
                                      </p:cBhvr>
                                      <p:tavLst>
                                        <p:tav tm="0">
                                          <p:val>
                                            <p:strVal val="#ppt_x"/>
                                          </p:val>
                                        </p:tav>
                                        <p:tav tm="100000">
                                          <p:val>
                                            <p:strVal val="#ppt_x"/>
                                          </p:val>
                                        </p:tav>
                                      </p:tavLst>
                                    </p:anim>
                                    <p:anim calcmode="lin" valueType="num">
                                      <p:cBhvr>
                                        <p:cTn dur="1000" fill="hold" id="13"/>
                                        <p:tgtEl>
                                          <p:spTgt spid="3"/>
                                        </p:tgtEl>
                                        <p:attrNameLst>
                                          <p:attrName>ppt_y</p:attrName>
                                        </p:attrNameLst>
                                      </p:cBhvr>
                                      <p:tavLst>
                                        <p:tav tm="0">
                                          <p:val>
                                            <p:strVal val="#ppt_y+.1"/>
                                          </p:val>
                                        </p:tav>
                                        <p:tav tm="100000">
                                          <p:val>
                                            <p:strVal val="#ppt_y"/>
                                          </p:val>
                                        </p:tav>
                                      </p:tavLst>
                                    </p:anim>
                                  </p:childTnLst>
                                </p:cTn>
                              </p:par>
                            </p:childTnLst>
                          </p:cTn>
                        </p:par>
                        <p:par>
                          <p:cTn fill="hold" id="14" nodeType="afterGroup">
                            <p:stCondLst>
                              <p:cond delay="1500"/>
                            </p:stCondLst>
                            <p:childTnLst>
                              <p:par>
                                <p:cTn fill="hold" grpId="0" id="15" nodeType="afterEffect" presetClass="entr" presetID="42" presetSubtype="0">
                                  <p:stCondLst>
                                    <p:cond delay="0"/>
                                  </p:stCondLst>
                                  <p:childTnLst>
                                    <p:set>
                                      <p:cBhvr>
                                        <p:cTn dur="1" fill="hold" id="16">
                                          <p:stCondLst>
                                            <p:cond delay="0"/>
                                          </p:stCondLst>
                                        </p:cTn>
                                        <p:tgtEl>
                                          <p:spTgt spid="5"/>
                                        </p:tgtEl>
                                        <p:attrNameLst>
                                          <p:attrName>style.visibility</p:attrName>
                                        </p:attrNameLst>
                                      </p:cBhvr>
                                      <p:to>
                                        <p:strVal val="visible"/>
                                      </p:to>
                                    </p:set>
                                    <p:animEffect filter="fade" transition="in">
                                      <p:cBhvr>
                                        <p:cTn dur="1000" id="17"/>
                                        <p:tgtEl>
                                          <p:spTgt spid="5"/>
                                        </p:tgtEl>
                                      </p:cBhvr>
                                    </p:animEffect>
                                    <p:anim calcmode="lin" valueType="num">
                                      <p:cBhvr>
                                        <p:cTn dur="1000" fill="hold" id="18"/>
                                        <p:tgtEl>
                                          <p:spTgt spid="5"/>
                                        </p:tgtEl>
                                        <p:attrNameLst>
                                          <p:attrName>ppt_x</p:attrName>
                                        </p:attrNameLst>
                                      </p:cBhvr>
                                      <p:tavLst>
                                        <p:tav tm="0">
                                          <p:val>
                                            <p:strVal val="#ppt_x"/>
                                          </p:val>
                                        </p:tav>
                                        <p:tav tm="100000">
                                          <p:val>
                                            <p:strVal val="#ppt_x"/>
                                          </p:val>
                                        </p:tav>
                                      </p:tavLst>
                                    </p:anim>
                                    <p:anim calcmode="lin" valueType="num">
                                      <p:cBhvr>
                                        <p:cTn dur="1000" fill="hold" id="19"/>
                                        <p:tgtEl>
                                          <p:spTgt spid="5"/>
                                        </p:tgtEl>
                                        <p:attrNameLst>
                                          <p:attrName>ppt_y</p:attrName>
                                        </p:attrNameLst>
                                      </p:cBhvr>
                                      <p:tavLst>
                                        <p:tav tm="0">
                                          <p:val>
                                            <p:strVal val="#ppt_y+.1"/>
                                          </p:val>
                                        </p:tav>
                                        <p:tav tm="100000">
                                          <p:val>
                                            <p:strVal val="#ppt_y"/>
                                          </p:val>
                                        </p:tav>
                                      </p:tavLst>
                                    </p:anim>
                                  </p:childTnLst>
                                </p:cTn>
                              </p:par>
                            </p:childTnLst>
                          </p:cTn>
                        </p:par>
                        <p:par>
                          <p:cTn fill="hold" id="20" nodeType="afterGroup">
                            <p:stCondLst>
                              <p:cond delay="2500"/>
                            </p:stCondLst>
                            <p:childTnLst>
                              <p:par>
                                <p:cTn fill="hold" grpId="0" id="21" nodeType="afterEffect" presetClass="entr" presetID="42" presetSubtype="0">
                                  <p:stCondLst>
                                    <p:cond delay="0"/>
                                  </p:stCondLst>
                                  <p:childTnLst>
                                    <p:set>
                                      <p:cBhvr>
                                        <p:cTn dur="1" fill="hold" id="22">
                                          <p:stCondLst>
                                            <p:cond delay="0"/>
                                          </p:stCondLst>
                                        </p:cTn>
                                        <p:tgtEl>
                                          <p:spTgt spid="6"/>
                                        </p:tgtEl>
                                        <p:attrNameLst>
                                          <p:attrName>style.visibility</p:attrName>
                                        </p:attrNameLst>
                                      </p:cBhvr>
                                      <p:to>
                                        <p:strVal val="visible"/>
                                      </p:to>
                                    </p:set>
                                    <p:animEffect filter="fade" transition="in">
                                      <p:cBhvr>
                                        <p:cTn dur="1000" id="23"/>
                                        <p:tgtEl>
                                          <p:spTgt spid="6"/>
                                        </p:tgtEl>
                                      </p:cBhvr>
                                    </p:animEffect>
                                    <p:anim calcmode="lin" valueType="num">
                                      <p:cBhvr>
                                        <p:cTn dur="1000" fill="hold" id="24"/>
                                        <p:tgtEl>
                                          <p:spTgt spid="6"/>
                                        </p:tgtEl>
                                        <p:attrNameLst>
                                          <p:attrName>ppt_x</p:attrName>
                                        </p:attrNameLst>
                                      </p:cBhvr>
                                      <p:tavLst>
                                        <p:tav tm="0">
                                          <p:val>
                                            <p:strVal val="#ppt_x"/>
                                          </p:val>
                                        </p:tav>
                                        <p:tav tm="100000">
                                          <p:val>
                                            <p:strVal val="#ppt_x"/>
                                          </p:val>
                                        </p:tav>
                                      </p:tavLst>
                                    </p:anim>
                                    <p:anim calcmode="lin" valueType="num">
                                      <p:cBhvr>
                                        <p:cTn dur="1000" fill="hold" id="25"/>
                                        <p:tgtEl>
                                          <p:spTgt spid="6"/>
                                        </p:tgtEl>
                                        <p:attrNameLst>
                                          <p:attrName>ppt_y</p:attrName>
                                        </p:attrNameLst>
                                      </p:cBhvr>
                                      <p:tavLst>
                                        <p:tav tm="0">
                                          <p:val>
                                            <p:strVal val="#ppt_y+.1"/>
                                          </p:val>
                                        </p:tav>
                                        <p:tav tm="100000">
                                          <p:val>
                                            <p:strVal val="#ppt_y"/>
                                          </p:val>
                                        </p:tav>
                                      </p:tavLst>
                                    </p:anim>
                                  </p:childTnLst>
                                </p:cTn>
                              </p:par>
                            </p:childTnLst>
                          </p:cTn>
                        </p:par>
                        <p:par>
                          <p:cTn fill="hold" id="26" nodeType="afterGroup">
                            <p:stCondLst>
                              <p:cond delay="3500"/>
                            </p:stCondLst>
                            <p:childTnLst>
                              <p:par>
                                <p:cTn fill="hold" grpId="0" id="27" nodeType="afterEffect" presetClass="entr" presetID="42" presetSubtype="0">
                                  <p:stCondLst>
                                    <p:cond delay="0"/>
                                  </p:stCondLst>
                                  <p:childTnLst>
                                    <p:set>
                                      <p:cBhvr>
                                        <p:cTn dur="1" fill="hold" id="28">
                                          <p:stCondLst>
                                            <p:cond delay="0"/>
                                          </p:stCondLst>
                                        </p:cTn>
                                        <p:tgtEl>
                                          <p:spTgt spid="7"/>
                                        </p:tgtEl>
                                        <p:attrNameLst>
                                          <p:attrName>style.visibility</p:attrName>
                                        </p:attrNameLst>
                                      </p:cBhvr>
                                      <p:to>
                                        <p:strVal val="visible"/>
                                      </p:to>
                                    </p:set>
                                    <p:animEffect filter="fade" transition="in">
                                      <p:cBhvr>
                                        <p:cTn dur="1000" id="29"/>
                                        <p:tgtEl>
                                          <p:spTgt spid="7"/>
                                        </p:tgtEl>
                                      </p:cBhvr>
                                    </p:animEffect>
                                    <p:anim calcmode="lin" valueType="num">
                                      <p:cBhvr>
                                        <p:cTn dur="1000" fill="hold" id="30"/>
                                        <p:tgtEl>
                                          <p:spTgt spid="7"/>
                                        </p:tgtEl>
                                        <p:attrNameLst>
                                          <p:attrName>ppt_x</p:attrName>
                                        </p:attrNameLst>
                                      </p:cBhvr>
                                      <p:tavLst>
                                        <p:tav tm="0">
                                          <p:val>
                                            <p:strVal val="#ppt_x"/>
                                          </p:val>
                                        </p:tav>
                                        <p:tav tm="100000">
                                          <p:val>
                                            <p:strVal val="#ppt_x"/>
                                          </p:val>
                                        </p:tav>
                                      </p:tavLst>
                                    </p:anim>
                                    <p:anim calcmode="lin" valueType="num">
                                      <p:cBhvr>
                                        <p:cTn dur="1000" fill="hold" id="31"/>
                                        <p:tgtEl>
                                          <p:spTgt spid="7"/>
                                        </p:tgtEl>
                                        <p:attrNameLst>
                                          <p:attrName>ppt_y</p:attrName>
                                        </p:attrNameLst>
                                      </p:cBhvr>
                                      <p:tavLst>
                                        <p:tav tm="0">
                                          <p:val>
                                            <p:strVal val="#ppt_y+.1"/>
                                          </p:val>
                                        </p:tav>
                                        <p:tav tm="100000">
                                          <p:val>
                                            <p:strVal val="#ppt_y"/>
                                          </p:val>
                                        </p:tav>
                                      </p:tavLst>
                                    </p:anim>
                                  </p:childTnLst>
                                </p:cTn>
                              </p:par>
                            </p:childTnLst>
                          </p:cTn>
                        </p:par>
                        <p:par>
                          <p:cTn fill="hold" id="32" nodeType="afterGroup">
                            <p:stCondLst>
                              <p:cond delay="4500"/>
                            </p:stCondLst>
                            <p:childTnLst>
                              <p:par>
                                <p:cTn fill="hold" id="33" nodeType="afterEffect" presetClass="entr" presetID="42" presetSubtype="0">
                                  <p:stCondLst>
                                    <p:cond delay="0"/>
                                  </p:stCondLst>
                                  <p:childTnLst>
                                    <p:set>
                                      <p:cBhvr>
                                        <p:cTn dur="1" fill="hold" id="34">
                                          <p:stCondLst>
                                            <p:cond delay="0"/>
                                          </p:stCondLst>
                                        </p:cTn>
                                        <p:tgtEl>
                                          <p:spTgt spid="8"/>
                                        </p:tgtEl>
                                        <p:attrNameLst>
                                          <p:attrName>style.visibility</p:attrName>
                                        </p:attrNameLst>
                                      </p:cBhvr>
                                      <p:to>
                                        <p:strVal val="visible"/>
                                      </p:to>
                                    </p:set>
                                    <p:animEffect filter="fade" transition="in">
                                      <p:cBhvr>
                                        <p:cTn dur="1000" id="35"/>
                                        <p:tgtEl>
                                          <p:spTgt spid="8"/>
                                        </p:tgtEl>
                                      </p:cBhvr>
                                    </p:animEffect>
                                    <p:anim calcmode="lin" valueType="num">
                                      <p:cBhvr>
                                        <p:cTn dur="1000" fill="hold" id="36"/>
                                        <p:tgtEl>
                                          <p:spTgt spid="8"/>
                                        </p:tgtEl>
                                        <p:attrNameLst>
                                          <p:attrName>ppt_x</p:attrName>
                                        </p:attrNameLst>
                                      </p:cBhvr>
                                      <p:tavLst>
                                        <p:tav tm="0">
                                          <p:val>
                                            <p:strVal val="#ppt_x"/>
                                          </p:val>
                                        </p:tav>
                                        <p:tav tm="100000">
                                          <p:val>
                                            <p:strVal val="#ppt_x"/>
                                          </p:val>
                                        </p:tav>
                                      </p:tavLst>
                                    </p:anim>
                                    <p:anim calcmode="lin" valueType="num">
                                      <p:cBhvr>
                                        <p:cTn dur="1000" fill="hold" id="37"/>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4"/>
      <p:bldP grpId="0" spid="5"/>
      <p:bldP grpId="0" spid="6"/>
      <p:bldP grpId="0" spid="7"/>
    </p:bldLst>
  </p:timing>
</p:sld>
</file>

<file path=ppt/slides/slide24.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6" name="组合 5">
            <a:extLst>
              <a:ext uri="{FF2B5EF4-FFF2-40B4-BE49-F238E27FC236}">
                <a16:creationId xmlns:a16="http://schemas.microsoft.com/office/drawing/2014/main" id="{C7E1D828-5F41-4DA9-AC58-5FBFB7FE7C24}"/>
              </a:ext>
            </a:extLst>
          </p:cNvPr>
          <p:cNvGrpSpPr/>
          <p:nvPr/>
        </p:nvGrpSpPr>
        <p:grpSpPr>
          <a:xfrm>
            <a:off x="4375390" y="2716310"/>
            <a:ext cx="3441221" cy="1425380"/>
            <a:chOff x="4424426" y="2629359"/>
            <a:chExt cx="3441221" cy="1425380"/>
          </a:xfrm>
        </p:grpSpPr>
        <p:sp>
          <p:nvSpPr>
            <p:cNvPr id="7" name="文本框 6">
              <a:extLst>
                <a:ext uri="{FF2B5EF4-FFF2-40B4-BE49-F238E27FC236}">
                  <a16:creationId xmlns:a16="http://schemas.microsoft.com/office/drawing/2014/main" id="{20676BED-01AF-46BA-B194-2C8ABB2755B1}"/>
                </a:ext>
              </a:extLst>
            </p:cNvPr>
            <p:cNvSpPr txBox="1"/>
            <p:nvPr/>
          </p:nvSpPr>
          <p:spPr>
            <a:xfrm>
              <a:off x="4502531" y="2629359"/>
              <a:ext cx="3168650" cy="914400"/>
            </a:xfrm>
            <a:prstGeom prst="rect">
              <a:avLst/>
            </a:prstGeom>
            <a:noFill/>
          </p:spPr>
          <p:txBody>
            <a:bodyPr rtlCol="0" wrap="square">
              <a:spAutoFit/>
            </a:bodyPr>
            <a:lstStyle/>
            <a:p>
              <a:pPr algn="ctr"/>
              <a:r>
                <a:rPr altLang="zh-CN" b="1" lang="en-US" sz="5400">
                  <a:solidFill>
                    <a:schemeClr val="accent1"/>
                  </a:solidFill>
                  <a:latin charset="-122" panose="020b0400000000000000" pitchFamily="34" typeface="思源黑体"/>
                  <a:ea charset="-122" panose="020b0400000000000000" pitchFamily="34" typeface="思源黑体"/>
                  <a:sym charset="-122" panose="020b0400000000000000" pitchFamily="34" typeface="思源黑体"/>
                </a:rPr>
                <a:t>THANKS</a:t>
              </a:r>
            </a:p>
          </p:txBody>
        </p:sp>
        <p:sp>
          <p:nvSpPr>
            <p:cNvPr id="8" name="文本框 7">
              <a:extLst>
                <a:ext uri="{FF2B5EF4-FFF2-40B4-BE49-F238E27FC236}">
                  <a16:creationId xmlns:a16="http://schemas.microsoft.com/office/drawing/2014/main" id="{A6E7BE15-5AE8-4BB3-A011-022C449C1F19}"/>
                </a:ext>
              </a:extLst>
            </p:cNvPr>
            <p:cNvSpPr txBox="1"/>
            <p:nvPr/>
          </p:nvSpPr>
          <p:spPr>
            <a:xfrm>
              <a:off x="4424426" y="3531519"/>
              <a:ext cx="3441221" cy="518160"/>
            </a:xfrm>
            <a:prstGeom prst="rect">
              <a:avLst/>
            </a:prstGeom>
            <a:noFill/>
          </p:spPr>
          <p:txBody>
            <a:bodyPr rtlCol="0" wrap="square">
              <a:spAutoFit/>
            </a:bodyPr>
            <a:lstStyle/>
            <a:p>
              <a:pPr algn="ctr"/>
              <a:r>
                <a:rPr altLang="zh-CN" lang="en-US" sz="2800">
                  <a:solidFill>
                    <a:schemeClr val="bg2"/>
                  </a:solidFill>
                  <a:latin charset="-122" panose="020b0400000000000000" pitchFamily="34" typeface="思源黑体"/>
                  <a:ea charset="-122" panose="020b0400000000000000" pitchFamily="34" typeface="思源黑体"/>
                  <a:cs charset="-122" panose="020b0304030504040204" pitchFamily="34" typeface="Microsoft JhengHei UI Light"/>
                  <a:sym charset="-122" panose="020b0400000000000000" pitchFamily="34" typeface="思源黑体"/>
                </a:rPr>
                <a:t>For Your Watching</a:t>
              </a:r>
            </a:p>
          </p:txBody>
        </p:sp>
      </p:grpSp>
      <p:cxnSp>
        <p:nvCxnSpPr>
          <p:cNvPr id="13" name="直接连接符 12">
            <a:extLst>
              <a:ext uri="{FF2B5EF4-FFF2-40B4-BE49-F238E27FC236}">
                <a16:creationId xmlns:a16="http://schemas.microsoft.com/office/drawing/2014/main" id="{261DA413-12C7-4544-8FC1-25502CE26EB9}"/>
              </a:ext>
            </a:extLst>
          </p:cNvPr>
          <p:cNvCxnSpPr/>
          <p:nvPr/>
        </p:nvCxnSpPr>
        <p:spPr>
          <a:xfrm flipH="1">
            <a:off x="9372952" y="2303261"/>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8F808374-CF3D-48E7-AA64-13F49B926D68}"/>
              </a:ext>
            </a:extLst>
          </p:cNvPr>
          <p:cNvCxnSpPr/>
          <p:nvPr/>
        </p:nvCxnSpPr>
        <p:spPr>
          <a:xfrm flipH="1">
            <a:off x="9859367" y="1015703"/>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5" name="直接连接符 14">
            <a:extLst>
              <a:ext uri="{FF2B5EF4-FFF2-40B4-BE49-F238E27FC236}">
                <a16:creationId xmlns:a16="http://schemas.microsoft.com/office/drawing/2014/main" id="{96EDEB2B-9C83-45D9-B122-F1C0E3024516}"/>
              </a:ext>
            </a:extLst>
          </p:cNvPr>
          <p:cNvCxnSpPr/>
          <p:nvPr/>
        </p:nvCxnSpPr>
        <p:spPr>
          <a:xfrm flipH="1">
            <a:off x="8571974" y="1871208"/>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直接连接符 15">
            <a:extLst>
              <a:ext uri="{FF2B5EF4-FFF2-40B4-BE49-F238E27FC236}">
                <a16:creationId xmlns:a16="http://schemas.microsoft.com/office/drawing/2014/main" id="{DB5A6959-7646-49B8-B807-C982BADB1E2F}"/>
              </a:ext>
            </a:extLst>
          </p:cNvPr>
          <p:cNvCxnSpPr/>
          <p:nvPr/>
        </p:nvCxnSpPr>
        <p:spPr>
          <a:xfrm flipH="1">
            <a:off x="9482350" y="3693485"/>
            <a:ext cx="2066499" cy="3212500"/>
          </a:xfrm>
          <a:prstGeom prst="line">
            <a:avLst/>
          </a:prstGeom>
          <a:ln>
            <a:gradFill>
              <a:gsLst>
                <a:gs pos="885">
                  <a:schemeClr val="tx1"/>
                </a:gs>
                <a:gs pos="59000">
                  <a:schemeClr val="accent1">
                    <a:lumMod val="5000"/>
                    <a:lumOff val="95000"/>
                    <a:alpha val="10000"/>
                  </a:schemeClr>
                </a:gs>
                <a:gs pos="100000">
                  <a:schemeClr val="tx1"/>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任意多边形: 形状 16">
            <a:extLst>
              <a:ext uri="{FF2B5EF4-FFF2-40B4-BE49-F238E27FC236}">
                <a16:creationId xmlns:a16="http://schemas.microsoft.com/office/drawing/2014/main" id="{9EFDCA94-52F7-4B04-9A55-F16A986CA4B9}"/>
              </a:ext>
            </a:extLst>
          </p:cNvPr>
          <p:cNvSpPr/>
          <p:nvPr/>
        </p:nvSpPr>
        <p:spPr>
          <a:xfrm rot="2008142">
            <a:off x="9426391" y="2544303"/>
            <a:ext cx="319543" cy="1071380"/>
          </a:xfrm>
          <a:custGeom>
            <a:gdLst>
              <a:gd fmla="*/ 278285 w 319543" name="connsiteX0"/>
              <a:gd fmla="*/ 0 h 1071380" name="connsiteY0"/>
              <a:gd fmla="*/ 319543 w 319543" name="connsiteX1"/>
              <a:gd fmla="*/ 0 h 1071380" name="connsiteY1"/>
              <a:gd fmla="*/ 319543 w 319543" name="connsiteX2"/>
              <a:gd fmla="*/ 601405 h 1071380" name="connsiteY2"/>
              <a:gd fmla="*/ 0 w 319543" name="connsiteX3"/>
              <a:gd fmla="*/ 1071380 h 1071380" name="connsiteY3"/>
              <a:gd fmla="*/ 0 w 319543" name="connsiteX4"/>
              <a:gd fmla="*/ 409295 h 1071380"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1071380" w="319543">
                <a:moveTo>
                  <a:pt x="278285" y="0"/>
                </a:moveTo>
                <a:lnTo>
                  <a:pt x="319543" y="0"/>
                </a:lnTo>
                <a:lnTo>
                  <a:pt x="319543" y="601405"/>
                </a:lnTo>
                <a:lnTo>
                  <a:pt x="0" y="1071380"/>
                </a:lnTo>
                <a:lnTo>
                  <a:pt x="0" y="409295"/>
                </a:lnTo>
                <a:close/>
              </a:path>
            </a:pathLst>
          </a:custGeom>
          <a:solidFill>
            <a:schemeClr val="bg2">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8" name="任意多边形: 形状 17">
            <a:extLst>
              <a:ext uri="{FF2B5EF4-FFF2-40B4-BE49-F238E27FC236}">
                <a16:creationId xmlns:a16="http://schemas.microsoft.com/office/drawing/2014/main" id="{C35AB510-D700-4262-AC8E-BBB78C6A28F4}"/>
              </a:ext>
            </a:extLst>
          </p:cNvPr>
          <p:cNvSpPr/>
          <p:nvPr/>
        </p:nvSpPr>
        <p:spPr>
          <a:xfrm rot="2008142">
            <a:off x="9652222" y="3288896"/>
            <a:ext cx="319543" cy="1071380"/>
          </a:xfrm>
          <a:custGeom>
            <a:gdLst>
              <a:gd fmla="*/ 278285 w 319543" name="connsiteX0"/>
              <a:gd fmla="*/ 0 h 1071380" name="connsiteY0"/>
              <a:gd fmla="*/ 319543 w 319543" name="connsiteX1"/>
              <a:gd fmla="*/ 0 h 1071380" name="connsiteY1"/>
              <a:gd fmla="*/ 319543 w 319543" name="connsiteX2"/>
              <a:gd fmla="*/ 601405 h 1071380" name="connsiteY2"/>
              <a:gd fmla="*/ 0 w 319543" name="connsiteX3"/>
              <a:gd fmla="*/ 1071380 h 1071380" name="connsiteY3"/>
              <a:gd fmla="*/ 0 w 319543" name="connsiteX4"/>
              <a:gd fmla="*/ 409295 h 1071380"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1071380" w="319543">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9" name="任意多边形: 形状 18">
            <a:extLst>
              <a:ext uri="{FF2B5EF4-FFF2-40B4-BE49-F238E27FC236}">
                <a16:creationId xmlns:a16="http://schemas.microsoft.com/office/drawing/2014/main" id="{8EE486F8-8367-49C7-9689-0E57DA73A445}"/>
              </a:ext>
            </a:extLst>
          </p:cNvPr>
          <p:cNvSpPr/>
          <p:nvPr/>
        </p:nvSpPr>
        <p:spPr>
          <a:xfrm rot="2008142">
            <a:off x="11028339" y="2250510"/>
            <a:ext cx="193348" cy="648266"/>
          </a:xfrm>
          <a:custGeom>
            <a:gdLst>
              <a:gd fmla="*/ 278285 w 319543" name="connsiteX0"/>
              <a:gd fmla="*/ 0 h 1071380" name="connsiteY0"/>
              <a:gd fmla="*/ 319543 w 319543" name="connsiteX1"/>
              <a:gd fmla="*/ 0 h 1071380" name="connsiteY1"/>
              <a:gd fmla="*/ 319543 w 319543" name="connsiteX2"/>
              <a:gd fmla="*/ 601405 h 1071380" name="connsiteY2"/>
              <a:gd fmla="*/ 0 w 319543" name="connsiteX3"/>
              <a:gd fmla="*/ 1071380 h 1071380" name="connsiteY3"/>
              <a:gd fmla="*/ 0 w 319543" name="connsiteX4"/>
              <a:gd fmla="*/ 409295 h 1071380"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1071380" w="319543">
                <a:moveTo>
                  <a:pt x="278285" y="0"/>
                </a:moveTo>
                <a:lnTo>
                  <a:pt x="319543" y="0"/>
                </a:lnTo>
                <a:lnTo>
                  <a:pt x="319543" y="601405"/>
                </a:lnTo>
                <a:lnTo>
                  <a:pt x="0" y="1071380"/>
                </a:lnTo>
                <a:lnTo>
                  <a:pt x="0" y="409295"/>
                </a:ln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Tree>
    <p:extLst>
      <p:ext uri="{BB962C8B-B14F-4D97-AF65-F5344CB8AC3E}">
        <p14:creationId val="712862182"/>
      </p:ext>
    </p:extLst>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2" presetSubtype="8">
                                  <p:stCondLst>
                                    <p:cond delay="0"/>
                                  </p:stCondLst>
                                  <p:childTnLst>
                                    <p:set>
                                      <p:cBhvr>
                                        <p:cTn dur="1" fill="hold" id="6">
                                          <p:stCondLst>
                                            <p:cond delay="0"/>
                                          </p:stCondLst>
                                        </p:cTn>
                                        <p:tgtEl>
                                          <p:spTgt spid="13"/>
                                        </p:tgtEl>
                                        <p:attrNameLst>
                                          <p:attrName>style.visibility</p:attrName>
                                        </p:attrNameLst>
                                      </p:cBhvr>
                                      <p:to>
                                        <p:strVal val="visible"/>
                                      </p:to>
                                    </p:set>
                                    <p:animEffect filter="wipe(left)" transition="in">
                                      <p:cBhvr>
                                        <p:cTn dur="500" id="7"/>
                                        <p:tgtEl>
                                          <p:spTgt spid="13"/>
                                        </p:tgtEl>
                                      </p:cBhvr>
                                    </p:animEffect>
                                  </p:childTnLst>
                                </p:cTn>
                              </p:par>
                            </p:childTnLst>
                          </p:cTn>
                        </p:par>
                        <p:par>
                          <p:cTn fill="hold" id="8" nodeType="afterGroup">
                            <p:stCondLst>
                              <p:cond delay="500"/>
                            </p:stCondLst>
                            <p:childTnLst>
                              <p:par>
                                <p:cTn fill="hold" id="9" nodeType="afterEffect" presetClass="entr" presetID="22" presetSubtype="8">
                                  <p:stCondLst>
                                    <p:cond delay="0"/>
                                  </p:stCondLst>
                                  <p:childTnLst>
                                    <p:set>
                                      <p:cBhvr>
                                        <p:cTn dur="1" fill="hold" id="10">
                                          <p:stCondLst>
                                            <p:cond delay="0"/>
                                          </p:stCondLst>
                                        </p:cTn>
                                        <p:tgtEl>
                                          <p:spTgt spid="14"/>
                                        </p:tgtEl>
                                        <p:attrNameLst>
                                          <p:attrName>style.visibility</p:attrName>
                                        </p:attrNameLst>
                                      </p:cBhvr>
                                      <p:to>
                                        <p:strVal val="visible"/>
                                      </p:to>
                                    </p:set>
                                    <p:animEffect filter="wipe(left)" transition="in">
                                      <p:cBhvr>
                                        <p:cTn dur="500" id="11"/>
                                        <p:tgtEl>
                                          <p:spTgt spid="14"/>
                                        </p:tgtEl>
                                      </p:cBhvr>
                                    </p:animEffect>
                                  </p:childTnLst>
                                </p:cTn>
                              </p:par>
                            </p:childTnLst>
                          </p:cTn>
                        </p:par>
                        <p:par>
                          <p:cTn fill="hold" id="12" nodeType="afterGroup">
                            <p:stCondLst>
                              <p:cond delay="1000"/>
                            </p:stCondLst>
                            <p:childTnLst>
                              <p:par>
                                <p:cTn fill="hold" id="13" nodeType="afterEffect" presetClass="entr" presetID="22" presetSubtype="8">
                                  <p:stCondLst>
                                    <p:cond delay="0"/>
                                  </p:stCondLst>
                                  <p:childTnLst>
                                    <p:set>
                                      <p:cBhvr>
                                        <p:cTn dur="1" fill="hold" id="14">
                                          <p:stCondLst>
                                            <p:cond delay="0"/>
                                          </p:stCondLst>
                                        </p:cTn>
                                        <p:tgtEl>
                                          <p:spTgt spid="15"/>
                                        </p:tgtEl>
                                        <p:attrNameLst>
                                          <p:attrName>style.visibility</p:attrName>
                                        </p:attrNameLst>
                                      </p:cBhvr>
                                      <p:to>
                                        <p:strVal val="visible"/>
                                      </p:to>
                                    </p:set>
                                    <p:animEffect filter="wipe(left)" transition="in">
                                      <p:cBhvr>
                                        <p:cTn dur="500" id="15"/>
                                        <p:tgtEl>
                                          <p:spTgt spid="15"/>
                                        </p:tgtEl>
                                      </p:cBhvr>
                                    </p:animEffect>
                                  </p:childTnLst>
                                </p:cTn>
                              </p:par>
                            </p:childTnLst>
                          </p:cTn>
                        </p:par>
                        <p:par>
                          <p:cTn fill="hold" id="16" nodeType="afterGroup">
                            <p:stCondLst>
                              <p:cond delay="1500"/>
                            </p:stCondLst>
                            <p:childTnLst>
                              <p:par>
                                <p:cTn fill="hold" id="17" nodeType="afterEffect" presetClass="entr" presetID="22" presetSubtype="8">
                                  <p:stCondLst>
                                    <p:cond delay="0"/>
                                  </p:stCondLst>
                                  <p:childTnLst>
                                    <p:set>
                                      <p:cBhvr>
                                        <p:cTn dur="1" fill="hold" id="18">
                                          <p:stCondLst>
                                            <p:cond delay="0"/>
                                          </p:stCondLst>
                                        </p:cTn>
                                        <p:tgtEl>
                                          <p:spTgt spid="16"/>
                                        </p:tgtEl>
                                        <p:attrNameLst>
                                          <p:attrName>style.visibility</p:attrName>
                                        </p:attrNameLst>
                                      </p:cBhvr>
                                      <p:to>
                                        <p:strVal val="visible"/>
                                      </p:to>
                                    </p:set>
                                    <p:animEffect filter="wipe(left)" transition="in">
                                      <p:cBhvr>
                                        <p:cTn dur="500" id="19"/>
                                        <p:tgtEl>
                                          <p:spTgt spid="16"/>
                                        </p:tgtEl>
                                      </p:cBhvr>
                                    </p:animEffect>
                                  </p:childTnLst>
                                </p:cTn>
                              </p:par>
                            </p:childTnLst>
                          </p:cTn>
                        </p:par>
                        <p:par>
                          <p:cTn fill="hold" id="20" nodeType="afterGroup">
                            <p:stCondLst>
                              <p:cond delay="2000"/>
                            </p:stCondLst>
                            <p:childTnLst>
                              <p:par>
                                <p:cTn fill="hold" grpId="0" id="21" nodeType="afterEffect" presetClass="entr" presetID="22" presetSubtype="8">
                                  <p:stCondLst>
                                    <p:cond delay="0"/>
                                  </p:stCondLst>
                                  <p:childTnLst>
                                    <p:set>
                                      <p:cBhvr>
                                        <p:cTn dur="1" fill="hold" id="22">
                                          <p:stCondLst>
                                            <p:cond delay="0"/>
                                          </p:stCondLst>
                                        </p:cTn>
                                        <p:tgtEl>
                                          <p:spTgt spid="17"/>
                                        </p:tgtEl>
                                        <p:attrNameLst>
                                          <p:attrName>style.visibility</p:attrName>
                                        </p:attrNameLst>
                                      </p:cBhvr>
                                      <p:to>
                                        <p:strVal val="visible"/>
                                      </p:to>
                                    </p:set>
                                    <p:animEffect filter="wipe(left)" transition="in">
                                      <p:cBhvr>
                                        <p:cTn dur="500" id="23"/>
                                        <p:tgtEl>
                                          <p:spTgt spid="17"/>
                                        </p:tgtEl>
                                      </p:cBhvr>
                                    </p:animEffect>
                                  </p:childTnLst>
                                </p:cTn>
                              </p:par>
                            </p:childTnLst>
                          </p:cTn>
                        </p:par>
                        <p:par>
                          <p:cTn fill="hold" id="24" nodeType="afterGroup">
                            <p:stCondLst>
                              <p:cond delay="2500"/>
                            </p:stCondLst>
                            <p:childTnLst>
                              <p:par>
                                <p:cTn fill="hold" grpId="0" id="25" nodeType="afterEffect" presetClass="entr" presetID="22" presetSubtype="8">
                                  <p:stCondLst>
                                    <p:cond delay="0"/>
                                  </p:stCondLst>
                                  <p:childTnLst>
                                    <p:set>
                                      <p:cBhvr>
                                        <p:cTn dur="1" fill="hold" id="26">
                                          <p:stCondLst>
                                            <p:cond delay="0"/>
                                          </p:stCondLst>
                                        </p:cTn>
                                        <p:tgtEl>
                                          <p:spTgt spid="18"/>
                                        </p:tgtEl>
                                        <p:attrNameLst>
                                          <p:attrName>style.visibility</p:attrName>
                                        </p:attrNameLst>
                                      </p:cBhvr>
                                      <p:to>
                                        <p:strVal val="visible"/>
                                      </p:to>
                                    </p:set>
                                    <p:animEffect filter="wipe(left)" transition="in">
                                      <p:cBhvr>
                                        <p:cTn dur="500" id="27"/>
                                        <p:tgtEl>
                                          <p:spTgt spid="18"/>
                                        </p:tgtEl>
                                      </p:cBhvr>
                                    </p:animEffect>
                                  </p:childTnLst>
                                </p:cTn>
                              </p:par>
                            </p:childTnLst>
                          </p:cTn>
                        </p:par>
                        <p:par>
                          <p:cTn fill="hold" id="28" nodeType="afterGroup">
                            <p:stCondLst>
                              <p:cond delay="3000"/>
                            </p:stCondLst>
                            <p:childTnLst>
                              <p:par>
                                <p:cTn fill="hold" grpId="0" id="29" nodeType="afterEffect" presetClass="entr" presetID="22" presetSubtype="8">
                                  <p:stCondLst>
                                    <p:cond delay="0"/>
                                  </p:stCondLst>
                                  <p:childTnLst>
                                    <p:set>
                                      <p:cBhvr>
                                        <p:cTn dur="1" fill="hold" id="30">
                                          <p:stCondLst>
                                            <p:cond delay="0"/>
                                          </p:stCondLst>
                                        </p:cTn>
                                        <p:tgtEl>
                                          <p:spTgt spid="19"/>
                                        </p:tgtEl>
                                        <p:attrNameLst>
                                          <p:attrName>style.visibility</p:attrName>
                                        </p:attrNameLst>
                                      </p:cBhvr>
                                      <p:to>
                                        <p:strVal val="visible"/>
                                      </p:to>
                                    </p:set>
                                    <p:animEffect filter="wipe(left)" transition="in">
                                      <p:cBhvr>
                                        <p:cTn dur="500" id="31"/>
                                        <p:tgtEl>
                                          <p:spTgt spid="19"/>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7"/>
      <p:bldP grpId="0" spid="18"/>
      <p:bldP grpId="0" spid="19"/>
    </p:bldLst>
  </p:timing>
</p:sld>
</file>

<file path=ppt/slides/slide25.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3" name="任意多边形 2"/>
          <p:cNvSpPr/>
          <p:nvPr/>
        </p:nvSpPr>
        <p:spPr>
          <a:xfrm>
            <a:off x="2242517" y="2946258"/>
            <a:ext cx="596900" cy="656791"/>
          </a:xfrm>
          <a:custGeom>
            <a:gdLst>
              <a:gd name="connsiteX0" fmla="*/ 0 w 576448"/>
              <a:gd name="connsiteY0" fmla="*/ 0 h 576263"/>
              <a:gd name="connsiteX1" fmla="*/ 575933 w 576448"/>
              <a:gd name="connsiteY1" fmla="*/ 576263 h 576263"/>
              <a:gd name="connsiteX2" fmla="*/ 576263 w 576448"/>
              <a:gd name="connsiteY2" fmla="*/ 0 h 576263"/>
              <a:gd name="connsiteX3" fmla="*/ 0 w 576448"/>
              <a:gd name="connsiteY3" fmla="*/ 0 h 576263"/>
            </a:gdLst>
            <a:cxnLst>
              <a:cxn ang="0">
                <a:pos x="connsiteX0" y="connsiteY0"/>
              </a:cxn>
              <a:cxn ang="0">
                <a:pos x="connsiteX1" y="connsiteY1"/>
              </a:cxn>
              <a:cxn ang="0">
                <a:pos x="connsiteX2" y="connsiteY2"/>
              </a:cxn>
              <a:cxn ang="0">
                <a:pos x="connsiteX3" y="connsiteY3"/>
              </a:cxn>
            </a:cxnLst>
            <a:rect l="l" t="t" r="r" b="b"/>
            <a:pathLst>
              <a:path w="576448" h="576263">
                <a:moveTo>
                  <a:pt x="0" y="0"/>
                </a:moveTo>
                <a:lnTo>
                  <a:pt x="575933" y="576263"/>
                </a:lnTo>
                <a:cubicBezTo>
                  <a:pt x="577576" y="384175"/>
                  <a:pt x="574620" y="192088"/>
                  <a:pt x="576263" y="0"/>
                </a:cubicBezTo>
                <a:lnTo>
                  <a:pt x="0" y="0"/>
                </a:lnTo>
                <a:close/>
              </a:path>
            </a:pathLst>
          </a:custGeom>
          <a:solidFill>
            <a:srgbClr val="61942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zh-CN" altLang="en-US">
              <a:solidFill>
                <a:prstClr val="white"/>
              </a:solidFill>
            </a:endParaRPr>
          </a:p>
        </p:txBody>
      </p:sp>
      <p:sp>
        <p:nvSpPr>
          <p:cNvPr id="4" name="矩形 3"/>
          <p:cNvSpPr/>
          <p:nvPr/>
        </p:nvSpPr>
        <p:spPr>
          <a:xfrm>
            <a:off x="2832100" y="2949865"/>
            <a:ext cx="9359900" cy="6572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180000" bIns="0" anchor="ctr"/>
          <a:lstStyle/>
          <a:p>
            <a:pPr algn="ctr" defTabSz="914400">
              <a:defRPr/>
            </a:pPr>
            <a:r>
              <a:rPr lang="en-US" altLang="zh-CN" sz="2800" smtClean="0">
                <a:solidFill>
                  <a:prstClr val="white"/>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eiryo" panose="020b0604030504040204" pitchFamily="34" charset="-128"/>
              </a:rPr>
              <a:t>www.youyedoc.com</a:t>
            </a:r>
          </a:p>
        </p:txBody>
      </p:sp>
      <p:sp>
        <p:nvSpPr>
          <p:cNvPr id="7" name="矩形 6"/>
          <p:cNvSpPr/>
          <p:nvPr/>
        </p:nvSpPr>
        <p:spPr>
          <a:xfrm>
            <a:off x="1" y="2182092"/>
            <a:ext cx="9312276" cy="77527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914400">
              <a:defRPr/>
            </a:pPr>
            <a:r>
              <a:rPr lang="zh-CN" altLang="en-US" sz="3200" spc="200">
                <a:solidFill>
                  <a:srgbClr val="FFFFFF"/>
                </a:solidFill>
                <a:effectLst>
                  <a:outerShdw blurRad="50800" dist="38100" algn="l" rotWithShape="0">
                    <a:prstClr val="black">
                      <a:alpha val="40000"/>
                    </a:prstClr>
                  </a:outerShdw>
                </a:effectLst>
                <a:latin typeface="微软雅黑" panose="020b0503020204020204" pitchFamily="34" charset="-122"/>
                <a:ea typeface="微软雅黑" panose="020b0503020204020204" pitchFamily="34" charset="-122"/>
              </a:rPr>
              <a:t>                   更多精品PPT资源尽在—优页PPT！</a:t>
            </a:r>
          </a:p>
        </p:txBody>
      </p:sp>
      <p:sp>
        <p:nvSpPr>
          <p:cNvPr id="6" name="直角三角形 5"/>
          <p:cNvSpPr/>
          <p:nvPr/>
        </p:nvSpPr>
        <p:spPr>
          <a:xfrm>
            <a:off x="9312275" y="2178052"/>
            <a:ext cx="853701" cy="779317"/>
          </a:xfrm>
          <a:prstGeom prst="rtTriangle">
            <a:avLst/>
          </a:prstGeom>
          <a:solidFill>
            <a:srgbClr val="007CA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zh-CN" altLang="en-US">
              <a:solidFill>
                <a:prstClr val="white"/>
              </a:solidFill>
            </a:endParaRPr>
          </a:p>
        </p:txBody>
      </p:sp>
      <p:sp>
        <p:nvSpPr>
          <p:cNvPr id="12" name="矩形 11"/>
          <p:cNvSpPr/>
          <p:nvPr/>
        </p:nvSpPr>
        <p:spPr>
          <a:xfrm>
            <a:off x="2581830" y="3921022"/>
            <a:ext cx="6906409" cy="1692771"/>
          </a:xfrm>
          <a:prstGeom prst="rect">
            <a:avLst/>
          </a:prstGeom>
          <a:noFill/>
          <a:ln w="25400" cap="flat" cmpd="sng" algn="ctr">
            <a:noFill/>
            <a:prstDash val="solid"/>
          </a:ln>
          <a:effectLst/>
        </p:spPr>
        <p:txBody>
          <a:bodyPr rtlCol="0" anchor="ctr"/>
          <a:lstStyle/>
          <a:p>
            <a:pPr defTabSz="914400">
              <a:lnSpc>
                <a:spcPts val="2400"/>
              </a:lnSpc>
            </a:pPr>
            <a:r>
              <a:rPr lang="en-US" altLang="zh-CN" sz="1200" kern="0">
                <a:solidFill>
                  <a:srgbClr val="EEECE1">
                    <a:lumMod val="25000"/>
                  </a:srgbClr>
                </a:solidFill>
                <a:latin typeface="微软雅黑" panose="020b0503020204020204" pitchFamily="34" charset="-122"/>
                <a:ea typeface="微软雅黑" panose="020b0503020204020204" pitchFamily="34" charset="-122"/>
              </a:rPr>
              <a:t>PPT模板下载：www.youyedoc.com/moban/         节日PPT模板：www.youyedoc.com/jieri/</a:t>
            </a:r>
          </a:p>
          <a:p>
            <a:pPr defTabSz="914400">
              <a:lnSpc>
                <a:spcPts val="2400"/>
              </a:lnSpc>
            </a:pPr>
            <a:r>
              <a:rPr lang="en-US" altLang="zh-CN" sz="1200" kern="0">
                <a:solidFill>
                  <a:srgbClr val="EEECE1">
                    <a:lumMod val="25000"/>
                  </a:srgbClr>
                </a:solidFill>
                <a:latin typeface="微软雅黑" panose="020b0503020204020204" pitchFamily="34" charset="-122"/>
                <a:ea typeface="微软雅黑" panose="020b0503020204020204" pitchFamily="34" charset="-122"/>
              </a:rPr>
              <a:t>PPT背景图片：www.youyedoc.com/beijing/          PPT图表下载：www.youyedoc.com/tubiao/</a:t>
            </a:r>
          </a:p>
          <a:p>
            <a:pPr defTabSz="914400">
              <a:lnSpc>
                <a:spcPts val="2400"/>
              </a:lnSpc>
            </a:pPr>
            <a:r>
              <a:rPr lang="en-US" altLang="zh-CN" sz="1200" kern="0">
                <a:solidFill>
                  <a:srgbClr val="EEECE1">
                    <a:lumMod val="25000"/>
                  </a:srgbClr>
                </a:solidFill>
                <a:latin typeface="微软雅黑" panose="020b0503020204020204" pitchFamily="34" charset="-122"/>
                <a:ea typeface="微软雅黑" panose="020b0503020204020204" pitchFamily="34" charset="-122"/>
              </a:rPr>
              <a:t>PPT素材下载： www.youyedoc.com/sucai/            PPT教程下载：www.youyedoc.com/jiaocheng/</a:t>
            </a:r>
          </a:p>
          <a:p>
            <a:pPr defTabSz="914400">
              <a:lnSpc>
                <a:spcPts val="2400"/>
              </a:lnSpc>
            </a:pPr>
            <a:r>
              <a:rPr lang="en-US" altLang="zh-CN" sz="1200" kern="0">
                <a:solidFill>
                  <a:srgbClr val="EEECE1">
                    <a:lumMod val="25000"/>
                  </a:srgbClr>
                </a:solidFill>
                <a:latin typeface="微软雅黑" panose="020b0503020204020204" pitchFamily="34" charset="-122"/>
                <a:ea typeface="微软雅黑" panose="020b0503020204020204" pitchFamily="34" charset="-122"/>
              </a:rPr>
              <a:t>字体下载：http://www.youyedoc.com/ziti/            绘本故事PPT：http://www.youyedoc.com/gushi/</a:t>
            </a:r>
          </a:p>
        </p:txBody>
      </p:sp>
    </p:spTree>
    <p:extLst>
      <p:ext uri="{BB962C8B-B14F-4D97-AF65-F5344CB8AC3E}">
        <p14:creationId xmlns:p14="http://schemas.microsoft.com/office/powerpoint/2010/main" val="141079988"/>
      </p:ext>
    </p:extLst>
  </p:cSld>
  <p:clrMapOvr>
    <a:masterClrMapping/>
  </p:clrMapOvr>
  <p:transition/>
  <p:timing/>
</p:sld>
</file>

<file path=ppt/slides/slide3.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5" name="标题 4"/>
          <p:cNvSpPr>
            <a:spLocks noGrp="1"/>
          </p:cNvSpPr>
          <p:nvPr>
            <p:ph idx="4294967295" type="title"/>
          </p:nvPr>
        </p:nvSpPr>
        <p:spPr>
          <a:xfrm>
            <a:off x="3680385" y="3335259"/>
            <a:ext cx="5419725" cy="895350"/>
          </a:xfrm>
        </p:spPr>
        <p:txBody>
          <a:bodyPr>
            <a:normAutofit/>
          </a:bodyPr>
          <a:lstStyle/>
          <a:p>
            <a:pPr algn="ctr"/>
            <a:r>
              <a:rPr altLang="zh-CN" lang="en-US" sz="3200">
                <a:solidFill>
                  <a:schemeClr val="accent1">
                    <a:lumMod val="100000"/>
                  </a:schemeClr>
                </a:solidFill>
                <a:latin charset="-122" panose="020b0300000000000000" pitchFamily="34" typeface="思源黑体 CN Light"/>
                <a:ea charset="-122" panose="020b0300000000000000" pitchFamily="34" typeface="思源黑体 CN Light"/>
                <a:sym charset="-122" panose="020b0400000000000000" pitchFamily="34" typeface="思源黑体"/>
              </a:rPr>
              <a:t>PART 01</a:t>
            </a:r>
          </a:p>
        </p:txBody>
      </p:sp>
      <p:sp>
        <p:nvSpPr>
          <p:cNvPr id="6" name="文本占位符 5"/>
          <p:cNvSpPr>
            <a:spLocks noGrp="1"/>
          </p:cNvSpPr>
          <p:nvPr>
            <p:ph idx="4294967295" type="body"/>
          </p:nvPr>
        </p:nvSpPr>
        <p:spPr>
          <a:xfrm>
            <a:off x="4128725" y="4230609"/>
            <a:ext cx="4675187" cy="1014413"/>
          </a:xfrm>
        </p:spPr>
        <p:txBody>
          <a:bodyPr>
            <a:normAutofit/>
          </a:bodyPr>
          <a:lstStyle/>
          <a:p>
            <a:pPr algn="ctr" indent="0" lvl="0" marL="0">
              <a:buNone/>
            </a:pPr>
            <a:r>
              <a:rPr altLang="zh-CN" lang="en-US" sz="1400">
                <a:solidFill>
                  <a:schemeClr val="bg2"/>
                </a:solidFill>
                <a:latin charset="-122" panose="020b0300000000000000" pitchFamily="34" typeface="思源黑体 CN Light"/>
                <a:ea charset="-122" panose="020b0300000000000000" pitchFamily="34" typeface="思源黑体 CN Light"/>
                <a:sym charset="-122" panose="020b0400000000000000" pitchFamily="34" typeface="思源黑体"/>
              </a:rPr>
              <a:t>Supporting text here.</a:t>
            </a:r>
          </a:p>
          <a:p>
            <a:pPr algn="ctr" indent="0" lvl="0" marL="0">
              <a:buNone/>
            </a:pPr>
            <a:r>
              <a:rPr altLang="zh-CN" lang="en-US" sz="1400">
                <a:solidFill>
                  <a:schemeClr val="bg2"/>
                </a:solidFill>
                <a:latin charset="-122" panose="020b0300000000000000" pitchFamily="34" typeface="思源黑体 CN Light"/>
                <a:ea charset="-122" panose="020b0300000000000000" pitchFamily="34" typeface="思源黑体 CN Light"/>
                <a:sym charset="-122" panose="020b0400000000000000" pitchFamily="34" typeface="思源黑体"/>
              </a:rPr>
              <a:t>When you copy &amp; paste, choose "keep text only" option.</a:t>
            </a:r>
          </a:p>
        </p:txBody>
      </p:sp>
      <p:sp>
        <p:nvSpPr>
          <p:cNvPr id="9" name="文本框 8">
            <a:extLst>
              <a:ext uri="{FF2B5EF4-FFF2-40B4-BE49-F238E27FC236}">
                <a16:creationId xmlns:a16="http://schemas.microsoft.com/office/drawing/2014/main" id="{04F69230-F3A6-4586-9371-A858F4763E9F}"/>
              </a:ext>
            </a:extLst>
          </p:cNvPr>
          <p:cNvSpPr txBox="1"/>
          <p:nvPr/>
        </p:nvSpPr>
        <p:spPr>
          <a:xfrm>
            <a:off x="5442549" y="900634"/>
            <a:ext cx="1419542" cy="2621280"/>
          </a:xfrm>
          <a:prstGeom prst="rect">
            <a:avLst/>
          </a:prstGeom>
          <a:noFill/>
        </p:spPr>
        <p:txBody>
          <a:bodyPr rtlCol="0" wrap="none">
            <a:spAutoFit/>
          </a:bodyPr>
          <a:lstStyle>
            <a:defPPr>
              <a:defRPr lang="en-US"/>
            </a:defPPr>
            <a:lvl1pPr>
              <a:defRPr sz="8000">
                <a:gradFill>
                  <a:gsLst>
                    <a:gs pos="36000">
                      <a:schemeClr val="bg1"/>
                    </a:gs>
                    <a:gs pos="100000">
                      <a:schemeClr val="tx1">
                        <a:lumMod val="50000"/>
                        <a:lumOff val="50000"/>
                      </a:schemeClr>
                    </a:gs>
                  </a:gsLst>
                  <a:lin ang="5400000" scaled="1"/>
                </a:gradFill>
                <a:latin charset="-122" panose="00000500000000000000" pitchFamily="2" typeface="字魂5号-无外润黑体"/>
                <a:ea charset="-122" panose="00000500000000000000" pitchFamily="2" typeface="字魂5号-无外润黑体"/>
              </a:defRPr>
            </a:lvl1pPr>
          </a:lstStyle>
          <a:p>
            <a:r>
              <a:rPr altLang="zh-CN" lang="en-US" sz="16600">
                <a:gradFill>
                  <a:gsLst>
                    <a:gs pos="36000">
                      <a:schemeClr val="bg1"/>
                    </a:gs>
                    <a:gs pos="70000">
                      <a:schemeClr val="tx1">
                        <a:lumMod val="50000"/>
                        <a:lumOff val="50000"/>
                        <a:alpha val="0"/>
                      </a:schemeClr>
                    </a:gs>
                  </a:gsLst>
                  <a:lin ang="5400000" scaled="1"/>
                </a:gradFill>
                <a:latin charset="-122" panose="020b0300000000000000" pitchFamily="34" typeface="思源黑体 CN Light"/>
                <a:ea charset="-122" panose="00000500000000000000" pitchFamily="2" typeface="字魂54号-贤黑"/>
                <a:sym charset="-122" panose="020b0400000000000000" pitchFamily="34" typeface="思源黑体"/>
              </a:rPr>
              <a:t>1</a:t>
            </a:r>
          </a:p>
        </p:txBody>
      </p:sp>
      <p:grpSp>
        <p:nvGrpSpPr>
          <p:cNvPr id="4" name="组合 3">
            <a:extLst>
              <a:ext uri="{FF2B5EF4-FFF2-40B4-BE49-F238E27FC236}">
                <a16:creationId xmlns:a16="http://schemas.microsoft.com/office/drawing/2014/main" id="{47AA6A77-1222-4243-806E-EDF916201DE9}"/>
              </a:ext>
            </a:extLst>
          </p:cNvPr>
          <p:cNvGrpSpPr/>
          <p:nvPr/>
        </p:nvGrpSpPr>
        <p:grpSpPr>
          <a:xfrm rot="1279383">
            <a:off x="5337810" y="1303081"/>
            <a:ext cx="1881389" cy="2767558"/>
            <a:chOff x="5326021" y="1359499"/>
            <a:chExt cx="2273644" cy="3344573"/>
          </a:xfrm>
        </p:grpSpPr>
        <p:cxnSp>
          <p:nvCxnSpPr>
            <p:cNvPr id="8" name="直接连接符 7">
              <a:extLst>
                <a:ext uri="{FF2B5EF4-FFF2-40B4-BE49-F238E27FC236}">
                  <a16:creationId xmlns:a16="http://schemas.microsoft.com/office/drawing/2014/main" id="{7EFB3E33-333F-4634-8C15-7D06564F35A8}"/>
                </a:ext>
              </a:extLst>
            </p:cNvPr>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任意多边形: 形状 9">
              <a:extLst>
                <a:ext uri="{FF2B5EF4-FFF2-40B4-BE49-F238E27FC236}">
                  <a16:creationId xmlns:a16="http://schemas.microsoft.com/office/drawing/2014/main" id="{E73AA28D-9CD2-4A09-8567-FAEF0A53901B}"/>
                </a:ext>
              </a:extLst>
            </p:cNvPr>
            <p:cNvSpPr/>
            <p:nvPr/>
          </p:nvSpPr>
          <p:spPr>
            <a:xfrm rot="2008142">
              <a:off x="5326021" y="3632692"/>
              <a:ext cx="319543" cy="1071380"/>
            </a:xfrm>
            <a:custGeom>
              <a:gdLst>
                <a:gd fmla="*/ 278285 w 319543" name="connsiteX0"/>
                <a:gd fmla="*/ 0 h 1071380" name="connsiteY0"/>
                <a:gd fmla="*/ 319543 w 319543" name="connsiteX1"/>
                <a:gd fmla="*/ 0 h 1071380" name="connsiteY1"/>
                <a:gd fmla="*/ 319543 w 319543" name="connsiteX2"/>
                <a:gd fmla="*/ 601405 h 1071380" name="connsiteY2"/>
                <a:gd fmla="*/ 0 w 319543" name="connsiteX3"/>
                <a:gd fmla="*/ 1071380 h 1071380" name="connsiteY3"/>
                <a:gd fmla="*/ 0 w 319543" name="connsiteX4"/>
                <a:gd fmla="*/ 409295 h 1071380"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1071380" w="319543">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grpSp>
    </p:spTree>
    <p:extLst>
      <p:ext uri="{BB962C8B-B14F-4D97-AF65-F5344CB8AC3E}">
        <p14:creationId val="2371597387"/>
      </p:ext>
    </p:extLst>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afterEffect" presetClass="entr" presetID="22" presetSubtype="4">
                                  <p:stCondLst>
                                    <p:cond delay="0"/>
                                  </p:stCondLst>
                                  <p:childTnLst>
                                    <p:set>
                                      <p:cBhvr>
                                        <p:cTn dur="1" fill="hold" id="6">
                                          <p:stCondLst>
                                            <p:cond delay="0"/>
                                          </p:stCondLst>
                                        </p:cTn>
                                        <p:tgtEl>
                                          <p:spTgt spid="9"/>
                                        </p:tgtEl>
                                        <p:attrNameLst>
                                          <p:attrName>style.visibility</p:attrName>
                                        </p:attrNameLst>
                                      </p:cBhvr>
                                      <p:to>
                                        <p:strVal val="visible"/>
                                      </p:to>
                                    </p:set>
                                    <p:animEffect filter="wipe(down)" transition="in">
                                      <p:cBhvr>
                                        <p:cTn dur="500" id="7"/>
                                        <p:tgtEl>
                                          <p:spTgt spid="9"/>
                                        </p:tgtEl>
                                      </p:cBhvr>
                                    </p:animEffect>
                                  </p:childTnLst>
                                </p:cTn>
                              </p:par>
                            </p:childTnLst>
                          </p:cTn>
                        </p:par>
                        <p:par>
                          <p:cTn fill="hold" id="8" nodeType="afterGroup">
                            <p:stCondLst>
                              <p:cond delay="500"/>
                            </p:stCondLst>
                            <p:childTnLst>
                              <p:par>
                                <p:cTn fill="hold" id="9" nodeType="afterEffect" presetClass="entr" presetID="22" presetSubtype="4">
                                  <p:stCondLst>
                                    <p:cond delay="0"/>
                                  </p:stCondLst>
                                  <p:childTnLst>
                                    <p:set>
                                      <p:cBhvr>
                                        <p:cTn dur="1" fill="hold" id="10">
                                          <p:stCondLst>
                                            <p:cond delay="0"/>
                                          </p:stCondLst>
                                        </p:cTn>
                                        <p:tgtEl>
                                          <p:spTgt spid="4"/>
                                        </p:tgtEl>
                                        <p:attrNameLst>
                                          <p:attrName>style.visibility</p:attrName>
                                        </p:attrNameLst>
                                      </p:cBhvr>
                                      <p:to>
                                        <p:strVal val="visible"/>
                                      </p:to>
                                    </p:set>
                                    <p:animEffect filter="wipe(down)" transition="in">
                                      <p:cBhvr>
                                        <p:cTn dur="500" id="11"/>
                                        <p:tgtEl>
                                          <p:spTgt spid="4"/>
                                        </p:tgtEl>
                                      </p:cBhvr>
                                    </p:animEffect>
                                  </p:childTnLst>
                                </p:cTn>
                              </p:par>
                            </p:childTnLst>
                          </p:cTn>
                        </p:par>
                        <p:par>
                          <p:cTn fill="hold" id="12" nodeType="afterGroup">
                            <p:stCondLst>
                              <p:cond delay="1000"/>
                            </p:stCondLst>
                            <p:childTnLst>
                              <p:par>
                                <p:cTn fill="hold" grpId="0" id="13" nodeType="afterEffect" presetClass="entr" presetID="42" presetSubtype="0">
                                  <p:stCondLst>
                                    <p:cond delay="0"/>
                                  </p:stCondLst>
                                  <p:childTnLst>
                                    <p:set>
                                      <p:cBhvr>
                                        <p:cTn dur="1" fill="hold" id="14">
                                          <p:stCondLst>
                                            <p:cond delay="0"/>
                                          </p:stCondLst>
                                        </p:cTn>
                                        <p:tgtEl>
                                          <p:spTgt spid="5"/>
                                        </p:tgtEl>
                                        <p:attrNameLst>
                                          <p:attrName>style.visibility</p:attrName>
                                        </p:attrNameLst>
                                      </p:cBhvr>
                                      <p:to>
                                        <p:strVal val="visible"/>
                                      </p:to>
                                    </p:set>
                                    <p:animEffect filter="fade" transition="in">
                                      <p:cBhvr>
                                        <p:cTn dur="1000" id="15"/>
                                        <p:tgtEl>
                                          <p:spTgt spid="5"/>
                                        </p:tgtEl>
                                      </p:cBhvr>
                                    </p:animEffect>
                                    <p:anim calcmode="lin" valueType="num">
                                      <p:cBhvr>
                                        <p:cTn dur="1000" fill="hold" id="16"/>
                                        <p:tgtEl>
                                          <p:spTgt spid="5"/>
                                        </p:tgtEl>
                                        <p:attrNameLst>
                                          <p:attrName>ppt_x</p:attrName>
                                        </p:attrNameLst>
                                      </p:cBhvr>
                                      <p:tavLst>
                                        <p:tav tm="0">
                                          <p:val>
                                            <p:strVal val="#ppt_x"/>
                                          </p:val>
                                        </p:tav>
                                        <p:tav tm="100000">
                                          <p:val>
                                            <p:strVal val="#ppt_x"/>
                                          </p:val>
                                        </p:tav>
                                      </p:tavLst>
                                    </p:anim>
                                    <p:anim calcmode="lin" valueType="num">
                                      <p:cBhvr>
                                        <p:cTn dur="1000" fill="hold" id="17"/>
                                        <p:tgtEl>
                                          <p:spTgt spid="5"/>
                                        </p:tgtEl>
                                        <p:attrNameLst>
                                          <p:attrName>ppt_y</p:attrName>
                                        </p:attrNameLst>
                                      </p:cBhvr>
                                      <p:tavLst>
                                        <p:tav tm="0">
                                          <p:val>
                                            <p:strVal val="#ppt_y+.1"/>
                                          </p:val>
                                        </p:tav>
                                        <p:tav tm="100000">
                                          <p:val>
                                            <p:strVal val="#ppt_y"/>
                                          </p:val>
                                        </p:tav>
                                      </p:tavLst>
                                    </p:anim>
                                  </p:childTnLst>
                                </p:cTn>
                              </p:par>
                            </p:childTnLst>
                          </p:cTn>
                        </p:par>
                        <p:par>
                          <p:cTn fill="hold" id="18" nodeType="afterGroup">
                            <p:stCondLst>
                              <p:cond delay="2000"/>
                            </p:stCondLst>
                            <p:childTnLst>
                              <p:par>
                                <p:cTn fill="hold" grpId="0" id="19" nodeType="afterEffect" presetClass="entr" presetID="42" presetSubtype="0">
                                  <p:stCondLst>
                                    <p:cond delay="0"/>
                                  </p:stCondLst>
                                  <p:childTnLst>
                                    <p:set>
                                      <p:cBhvr>
                                        <p:cTn dur="1" fill="hold" id="20">
                                          <p:stCondLst>
                                            <p:cond delay="0"/>
                                          </p:stCondLst>
                                        </p:cTn>
                                        <p:tgtEl>
                                          <p:spTgt spid="6">
                                            <p:txEl>
                                              <p:pRg end="0" st="0"/>
                                            </p:txEl>
                                          </p:spTgt>
                                        </p:tgtEl>
                                        <p:attrNameLst>
                                          <p:attrName>style.visibility</p:attrName>
                                        </p:attrNameLst>
                                      </p:cBhvr>
                                      <p:to>
                                        <p:strVal val="visible"/>
                                      </p:to>
                                    </p:set>
                                    <p:animEffect filter="fade" transition="in">
                                      <p:cBhvr>
                                        <p:cTn dur="1000" id="21"/>
                                        <p:tgtEl>
                                          <p:spTgt spid="6">
                                            <p:txEl>
                                              <p:pRg end="0" st="0"/>
                                            </p:txEl>
                                          </p:spTgt>
                                        </p:tgtEl>
                                      </p:cBhvr>
                                    </p:animEffect>
                                    <p:anim calcmode="lin" valueType="num">
                                      <p:cBhvr>
                                        <p:cTn dur="1000" fill="hold" id="22"/>
                                        <p:tgtEl>
                                          <p:spTgt spid="6">
                                            <p:txEl>
                                              <p:pRg end="0" st="0"/>
                                            </p:txEl>
                                          </p:spTgt>
                                        </p:tgtEl>
                                        <p:attrNameLst>
                                          <p:attrName>ppt_x</p:attrName>
                                        </p:attrNameLst>
                                      </p:cBhvr>
                                      <p:tavLst>
                                        <p:tav tm="0">
                                          <p:val>
                                            <p:strVal val="#ppt_x"/>
                                          </p:val>
                                        </p:tav>
                                        <p:tav tm="100000">
                                          <p:val>
                                            <p:strVal val="#ppt_x"/>
                                          </p:val>
                                        </p:tav>
                                      </p:tavLst>
                                    </p:anim>
                                    <p:anim calcmode="lin" valueType="num">
                                      <p:cBhvr>
                                        <p:cTn dur="1000" fill="hold" id="23"/>
                                        <p:tgtEl>
                                          <p:spTgt spid="6">
                                            <p:txEl>
                                              <p:pRg end="0" st="0"/>
                                            </p:txEl>
                                          </p:spTgt>
                                        </p:tgtEl>
                                        <p:attrNameLst>
                                          <p:attrName>ppt_y</p:attrName>
                                        </p:attrNameLst>
                                      </p:cBhvr>
                                      <p:tavLst>
                                        <p:tav tm="0">
                                          <p:val>
                                            <p:strVal val="#ppt_y+.1"/>
                                          </p:val>
                                        </p:tav>
                                        <p:tav tm="100000">
                                          <p:val>
                                            <p:strVal val="#ppt_y"/>
                                          </p:val>
                                        </p:tav>
                                      </p:tavLst>
                                    </p:anim>
                                  </p:childTnLst>
                                </p:cTn>
                              </p:par>
                            </p:childTnLst>
                          </p:cTn>
                        </p:par>
                        <p:par>
                          <p:cTn fill="hold" id="24" nodeType="afterGroup">
                            <p:stCondLst>
                              <p:cond delay="3000"/>
                            </p:stCondLst>
                            <p:childTnLst>
                              <p:par>
                                <p:cTn fill="hold" grpId="0" id="25" nodeType="afterEffect" presetClass="entr" presetID="42" presetSubtype="0">
                                  <p:stCondLst>
                                    <p:cond delay="0"/>
                                  </p:stCondLst>
                                  <p:childTnLst>
                                    <p:set>
                                      <p:cBhvr>
                                        <p:cTn dur="1" fill="hold" id="26">
                                          <p:stCondLst>
                                            <p:cond delay="0"/>
                                          </p:stCondLst>
                                        </p:cTn>
                                        <p:tgtEl>
                                          <p:spTgt spid="6">
                                            <p:txEl>
                                              <p:pRg end="1" st="1"/>
                                            </p:txEl>
                                          </p:spTgt>
                                        </p:tgtEl>
                                        <p:attrNameLst>
                                          <p:attrName>style.visibility</p:attrName>
                                        </p:attrNameLst>
                                      </p:cBhvr>
                                      <p:to>
                                        <p:strVal val="visible"/>
                                      </p:to>
                                    </p:set>
                                    <p:animEffect filter="fade" transition="in">
                                      <p:cBhvr>
                                        <p:cTn dur="1000" id="27"/>
                                        <p:tgtEl>
                                          <p:spTgt spid="6">
                                            <p:txEl>
                                              <p:pRg end="1" st="1"/>
                                            </p:txEl>
                                          </p:spTgt>
                                        </p:tgtEl>
                                      </p:cBhvr>
                                    </p:animEffect>
                                    <p:anim calcmode="lin" valueType="num">
                                      <p:cBhvr>
                                        <p:cTn dur="1000" fill="hold" id="28"/>
                                        <p:tgtEl>
                                          <p:spTgt spid="6">
                                            <p:txEl>
                                              <p:pRg end="1" st="1"/>
                                            </p:txEl>
                                          </p:spTgt>
                                        </p:tgtEl>
                                        <p:attrNameLst>
                                          <p:attrName>ppt_x</p:attrName>
                                        </p:attrNameLst>
                                      </p:cBhvr>
                                      <p:tavLst>
                                        <p:tav tm="0">
                                          <p:val>
                                            <p:strVal val="#ppt_x"/>
                                          </p:val>
                                        </p:tav>
                                        <p:tav tm="100000">
                                          <p:val>
                                            <p:strVal val="#ppt_x"/>
                                          </p:val>
                                        </p:tav>
                                      </p:tavLst>
                                    </p:anim>
                                    <p:anim calcmode="lin" valueType="num">
                                      <p:cBhvr>
                                        <p:cTn dur="1000" fill="hold" id="29"/>
                                        <p:tgtEl>
                                          <p:spTgt spid="6">
                                            <p:txEl>
                                              <p:pRg end="1" st="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5"/>
      <p:bldP build="p" grpId="0" spid="6" uiExpand="1"/>
      <p:bldP grpId="0" spid="9"/>
    </p:bldLst>
  </p:timing>
</p:sld>
</file>

<file path=ppt/slides/slide4.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10" name="矩形 9">
            <a:extLst>
              <a:ext uri="{FF2B5EF4-FFF2-40B4-BE49-F238E27FC236}">
                <a16:creationId xmlns:a16="http://schemas.microsoft.com/office/drawing/2014/main" id="{1784BC18-51EB-4039-A6EB-4E040A33EE91}"/>
              </a:ext>
            </a:extLst>
          </p:cNvPr>
          <p:cNvSpPr/>
          <p:nvPr/>
        </p:nvSpPr>
        <p:spPr>
          <a:xfrm>
            <a:off x="841375" y="1498600"/>
            <a:ext cx="5254625" cy="2159000"/>
          </a:xfrm>
          <a:prstGeom prst="rect">
            <a:avLst/>
          </a:prstGeom>
          <a:blipFill dpi="0" rotWithShape="1">
            <a:blip r:embed="rId3">
              <a:extLst>
                <a:ext uri="{28A0092B-C50C-407E-A947-70E740481C1C}">
                  <a14:useLocalDpi val="0"/>
                </a:ext>
              </a:extLst>
            </a:blip>
            <a:stretch>
              <a:fillRect/>
            </a:stretch>
          </a:blipFill>
          <a:ln algn="ctr" cap="flat" cmpd="sng" w="12700">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1" name="矩形 10">
            <a:extLst>
              <a:ext uri="{FF2B5EF4-FFF2-40B4-BE49-F238E27FC236}">
                <a16:creationId xmlns:a16="http://schemas.microsoft.com/office/drawing/2014/main" id="{09B242DC-7754-41C5-ACE9-7CCC98691A28}"/>
              </a:ext>
            </a:extLst>
          </p:cNvPr>
          <p:cNvSpPr/>
          <p:nvPr/>
        </p:nvSpPr>
        <p:spPr>
          <a:xfrm>
            <a:off x="6100763" y="3657600"/>
            <a:ext cx="5253037" cy="2238375"/>
          </a:xfrm>
          <a:prstGeom prst="rect">
            <a:avLst/>
          </a:prstGeom>
          <a:blipFill dpi="0" rotWithShape="1">
            <a:blip r:embed="rId4">
              <a:extLst>
                <a:ext uri="{28A0092B-C50C-407E-A947-70E740481C1C}">
                  <a14:useLocalDpi val="0"/>
                </a:ext>
              </a:extLst>
            </a:blip>
            <a:stretch>
              <a:fillRect/>
            </a:stretch>
          </a:blipFill>
          <a:ln algn="ctr" cap="flat" cmpd="sng" w="12700">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5" name="矩形 4">
            <a:extLst>
              <a:ext uri="{FF2B5EF4-FFF2-40B4-BE49-F238E27FC236}">
                <a16:creationId xmlns:a16="http://schemas.microsoft.com/office/drawing/2014/main" id="{0866897D-B670-4380-AA92-864037AD9E95}"/>
              </a:ext>
            </a:extLst>
          </p:cNvPr>
          <p:cNvSpPr/>
          <p:nvPr/>
        </p:nvSpPr>
        <p:spPr>
          <a:xfrm>
            <a:off x="6096000" y="1503363"/>
            <a:ext cx="5256213" cy="2154237"/>
          </a:xfrm>
          <a:prstGeom prst="rect">
            <a:avLst/>
          </a:prstGeom>
          <a:solidFill>
            <a:schemeClr val="tx2">
              <a:alpha val="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6" name="矩形 5">
            <a:extLst>
              <a:ext uri="{FF2B5EF4-FFF2-40B4-BE49-F238E27FC236}">
                <a16:creationId xmlns:a16="http://schemas.microsoft.com/office/drawing/2014/main" id="{E95C128E-FB57-4A57-A545-C219C417C3AA}"/>
              </a:ext>
            </a:extLst>
          </p:cNvPr>
          <p:cNvSpPr/>
          <p:nvPr/>
        </p:nvSpPr>
        <p:spPr>
          <a:xfrm>
            <a:off x="839788" y="3657600"/>
            <a:ext cx="5256212" cy="2238375"/>
          </a:xfrm>
          <a:prstGeom prst="rect">
            <a:avLst/>
          </a:prstGeom>
          <a:solidFill>
            <a:schemeClr val="tx2">
              <a:alpha val="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7" name="矩形 6">
            <a:extLst>
              <a:ext uri="{FF2B5EF4-FFF2-40B4-BE49-F238E27FC236}">
                <a16:creationId xmlns:a16="http://schemas.microsoft.com/office/drawing/2014/main" id="{7303E233-1DA7-4FE4-AB8A-B60CB5F316B3}"/>
              </a:ext>
            </a:extLst>
          </p:cNvPr>
          <p:cNvSpPr/>
          <p:nvPr/>
        </p:nvSpPr>
        <p:spPr>
          <a:xfrm>
            <a:off x="3797300" y="2239963"/>
            <a:ext cx="2298700" cy="1417637"/>
          </a:xfrm>
          <a:prstGeom prst="rect">
            <a:avLst/>
          </a:prstGeom>
          <a:solidFill>
            <a:schemeClr val="accent1">
              <a:lumMod val="10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8200" name="KSO_Shape">
            <a:extLst>
              <a:ext uri="{FF2B5EF4-FFF2-40B4-BE49-F238E27FC236}">
                <a16:creationId xmlns:a16="http://schemas.microsoft.com/office/drawing/2014/main" id="{0019EB28-6EFE-416D-941E-177C52852998}"/>
              </a:ext>
            </a:extLst>
          </p:cNvPr>
          <p:cNvSpPr/>
          <p:nvPr/>
        </p:nvSpPr>
        <p:spPr bwMode="auto">
          <a:xfrm>
            <a:off x="5334000" y="2624138"/>
            <a:ext cx="538163" cy="652462"/>
          </a:xfrm>
          <a:custGeom>
            <a:gdLst>
              <a:gd fmla="*/ 19710 w 968375" name="T0"/>
              <a:gd fmla="*/ 223816 h 1170887" name="T1"/>
              <a:gd fmla="*/ 95123 w 968375" name="T2"/>
              <a:gd fmla="*/ 257605 h 1170887" name="T3"/>
              <a:gd fmla="*/ 169680 w 968375" name="T4"/>
              <a:gd fmla="*/ 225549 h 1170887" name="T5"/>
              <a:gd fmla="*/ 180821 w 968375" name="T6"/>
              <a:gd fmla="*/ 230747 h 1170887" name="T7"/>
              <a:gd fmla="*/ 95123 w 968375" name="T8"/>
              <a:gd fmla="*/ 270601 h 1170887" name="T9"/>
              <a:gd fmla="*/ 7713 w 968375" name="T10"/>
              <a:gd fmla="*/ 229015 h 1170887" name="T11"/>
              <a:gd fmla="*/ 19710 w 968375" name="T12"/>
              <a:gd fmla="*/ 223816 h 1170887" name="T13"/>
              <a:gd fmla="*/ 198817 w 968375" name="T14"/>
              <a:gd fmla="*/ 143241 h 1170887" name="T15"/>
              <a:gd fmla="*/ 221098 w 968375" name="T16"/>
              <a:gd fmla="*/ 170965 h 1170887" name="T17"/>
              <a:gd fmla="*/ 192818 w 968375" name="T18"/>
              <a:gd fmla="*/ 199557 h 1170887" name="T19"/>
              <a:gd fmla="*/ 182534 w 968375" name="T20"/>
              <a:gd fmla="*/ 197824 h 1170887" name="T21"/>
              <a:gd fmla="*/ 189390 w 968375" name="T22"/>
              <a:gd fmla="*/ 186561 h 1170887" name="T23"/>
              <a:gd fmla="*/ 192818 w 968375" name="T24"/>
              <a:gd fmla="*/ 187427 h 1170887" name="T25"/>
              <a:gd fmla="*/ 208243 w 968375" name="T26"/>
              <a:gd fmla="*/ 170965 h 1170887" name="T27"/>
              <a:gd fmla="*/ 197960 w 968375" name="T28"/>
              <a:gd fmla="*/ 156237 h 1170887" name="T29"/>
              <a:gd fmla="*/ 198817 w 968375" name="T30"/>
              <a:gd fmla="*/ 143241 h 1170887" name="T31"/>
              <a:gd fmla="*/ 187676 w 968375" name="T32"/>
              <a:gd fmla="*/ 124180 h 1170887" name="T33"/>
              <a:gd fmla="*/ 189390 w 968375" name="T34"/>
              <a:gd fmla="*/ 141508 h 1170887" name="T35"/>
              <a:gd fmla="*/ 95123 w 968375" name="T36"/>
              <a:gd fmla="*/ 236812 h 1170887" name="T37"/>
              <a:gd fmla="*/ 0 w 968375" name="T38"/>
              <a:gd fmla="*/ 141508 h 1170887" name="T39"/>
              <a:gd fmla="*/ 1714 w 968375" name="T40"/>
              <a:gd fmla="*/ 125913 h 1170887" name="T41"/>
              <a:gd fmla="*/ 95123 w 968375" name="T42"/>
              <a:gd fmla="*/ 175297 h 1170887" name="T43"/>
              <a:gd fmla="*/ 187676 w 968375" name="T44"/>
              <a:gd fmla="*/ 125913 h 1170887" name="T45"/>
              <a:gd fmla="*/ 187676 w 968375" name="T46"/>
              <a:gd fmla="*/ 124180 h 1170887" name="T47"/>
              <a:gd fmla="*/ 95123 w 968375" name="T48"/>
              <a:gd fmla="*/ 86059 h 1170887" name="T49"/>
              <a:gd fmla="*/ 177392 w 968375" name="T50"/>
              <a:gd fmla="*/ 125913 h 1170887" name="T51"/>
              <a:gd fmla="*/ 176535 w 968375" name="T52"/>
              <a:gd fmla="*/ 131978 h 1170887" name="T53"/>
              <a:gd fmla="*/ 95123 w 968375" name="T54"/>
              <a:gd fmla="*/ 104253 h 1170887" name="T55"/>
              <a:gd fmla="*/ 12854 w 968375" name="T56"/>
              <a:gd fmla="*/ 131978 h 1170887" name="T57"/>
              <a:gd fmla="*/ 11997 w 968375" name="T58"/>
              <a:gd fmla="*/ 125913 h 1170887" name="T59"/>
              <a:gd fmla="*/ 95123 w 968375" name="T60"/>
              <a:gd fmla="*/ 86059 h 1170887" name="T61"/>
              <a:gd fmla="*/ 124183 w 968375" name="T62"/>
              <a:gd fmla="*/ 14351 h 1170887" name="T63"/>
              <a:gd fmla="*/ 126543 w 968375" name="T64"/>
              <a:gd fmla="*/ 86105 h 1170887" name="T65"/>
              <a:gd fmla="*/ 124183 w 968375" name="T66"/>
              <a:gd fmla="*/ 14351 h 1170887" name="T67"/>
              <a:gd fmla="*/ 62823 w 968375" name="T68"/>
              <a:gd fmla="*/ 9567 h 1170887" name="T69"/>
              <a:gd fmla="*/ 65183 w 968375" name="T70"/>
              <a:gd fmla="*/ 81322 h 1170887" name="T71"/>
              <a:gd fmla="*/ 62823 w 968375" name="T72"/>
              <a:gd fmla="*/ 9567 h 1170887" name="T73"/>
              <a:gd fmla="*/ 93503 w 968375" name="T74"/>
              <a:gd fmla="*/ 0 h 1170887" name="T75"/>
              <a:gd fmla="*/ 95863 w 968375" name="T76"/>
              <a:gd fmla="*/ 71754 h 1170887" name="T77"/>
              <a:gd fmla="*/ 93503 w 968375" name="T78"/>
              <a:gd fmla="*/ 0 h 1170887" name="T79"/>
              <a:gd fmla="*/ 0 60000 65536" name="T80"/>
              <a:gd fmla="*/ 0 60000 65536" name="T81"/>
              <a:gd fmla="*/ 0 60000 65536" name="T82"/>
              <a:gd fmla="*/ 0 60000 65536" name="T83"/>
              <a:gd fmla="*/ 0 60000 65536" name="T84"/>
              <a:gd fmla="*/ 0 60000 65536" name="T85"/>
              <a:gd fmla="*/ 0 60000 65536" name="T86"/>
              <a:gd fmla="*/ 0 60000 65536" name="T87"/>
              <a:gd fmla="*/ 0 60000 65536" name="T88"/>
              <a:gd fmla="*/ 0 60000 65536" name="T89"/>
              <a:gd fmla="*/ 0 60000 65536" name="T90"/>
              <a:gd fmla="*/ 0 60000 65536" name="T91"/>
              <a:gd fmla="*/ 0 60000 65536" name="T92"/>
              <a:gd fmla="*/ 0 60000 65536"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b="b" l="0" r="r" t="0"/>
            <a:pathLst>
              <a:path h="1170887" w="968375">
                <a:moveTo>
                  <a:pt x="86328" y="968447"/>
                </a:moveTo>
                <a:cubicBezTo>
                  <a:pt x="120108" y="1054672"/>
                  <a:pt x="258984" y="1114654"/>
                  <a:pt x="416627" y="1114654"/>
                </a:cubicBezTo>
                <a:cubicBezTo>
                  <a:pt x="566762" y="1114654"/>
                  <a:pt x="701884" y="1058421"/>
                  <a:pt x="743172" y="975945"/>
                </a:cubicBezTo>
                <a:cubicBezTo>
                  <a:pt x="791966" y="998438"/>
                  <a:pt x="791966" y="998438"/>
                  <a:pt x="791966" y="998438"/>
                </a:cubicBezTo>
                <a:cubicBezTo>
                  <a:pt x="743172" y="1103407"/>
                  <a:pt x="589283" y="1170887"/>
                  <a:pt x="416627" y="1170887"/>
                </a:cubicBezTo>
                <a:cubicBezTo>
                  <a:pt x="236464" y="1170887"/>
                  <a:pt x="78821" y="1095909"/>
                  <a:pt x="33780" y="990941"/>
                </a:cubicBezTo>
                <a:cubicBezTo>
                  <a:pt x="86328" y="968447"/>
                  <a:pt x="86328" y="968447"/>
                  <a:pt x="86328" y="968447"/>
                </a:cubicBezTo>
                <a:close/>
                <a:moveTo>
                  <a:pt x="870787" y="619801"/>
                </a:moveTo>
                <a:cubicBezTo>
                  <a:pt x="927088" y="634796"/>
                  <a:pt x="968375" y="683532"/>
                  <a:pt x="968375" y="739765"/>
                </a:cubicBezTo>
                <a:cubicBezTo>
                  <a:pt x="968375" y="810994"/>
                  <a:pt x="912074" y="863478"/>
                  <a:pt x="844513" y="863478"/>
                </a:cubicBezTo>
                <a:cubicBezTo>
                  <a:pt x="829500" y="863478"/>
                  <a:pt x="814486" y="863478"/>
                  <a:pt x="799473" y="855981"/>
                </a:cubicBezTo>
                <a:cubicBezTo>
                  <a:pt x="810733" y="840985"/>
                  <a:pt x="821993" y="822241"/>
                  <a:pt x="829500" y="807245"/>
                </a:cubicBezTo>
                <a:cubicBezTo>
                  <a:pt x="833253" y="807245"/>
                  <a:pt x="840760" y="810994"/>
                  <a:pt x="844513" y="810994"/>
                </a:cubicBezTo>
                <a:cubicBezTo>
                  <a:pt x="882047" y="810994"/>
                  <a:pt x="912074" y="777254"/>
                  <a:pt x="912074" y="739765"/>
                </a:cubicBezTo>
                <a:cubicBezTo>
                  <a:pt x="912074" y="713523"/>
                  <a:pt x="893307" y="687281"/>
                  <a:pt x="867034" y="676034"/>
                </a:cubicBezTo>
                <a:cubicBezTo>
                  <a:pt x="870787" y="661038"/>
                  <a:pt x="870787" y="642294"/>
                  <a:pt x="870787" y="619801"/>
                </a:cubicBezTo>
                <a:close/>
                <a:moveTo>
                  <a:pt x="821993" y="537325"/>
                </a:moveTo>
                <a:cubicBezTo>
                  <a:pt x="825746" y="556070"/>
                  <a:pt x="829500" y="582312"/>
                  <a:pt x="829500" y="612303"/>
                </a:cubicBezTo>
                <a:cubicBezTo>
                  <a:pt x="829500" y="840985"/>
                  <a:pt x="645584" y="1024681"/>
                  <a:pt x="416627" y="1024681"/>
                </a:cubicBezTo>
                <a:cubicBezTo>
                  <a:pt x="187669" y="1024681"/>
                  <a:pt x="0" y="840985"/>
                  <a:pt x="0" y="612303"/>
                </a:cubicBezTo>
                <a:cubicBezTo>
                  <a:pt x="0" y="586061"/>
                  <a:pt x="3753" y="563567"/>
                  <a:pt x="7507" y="544823"/>
                </a:cubicBezTo>
                <a:cubicBezTo>
                  <a:pt x="7507" y="664787"/>
                  <a:pt x="187669" y="758510"/>
                  <a:pt x="416627" y="758510"/>
                </a:cubicBezTo>
                <a:cubicBezTo>
                  <a:pt x="641830" y="758510"/>
                  <a:pt x="821993" y="664787"/>
                  <a:pt x="821993" y="544823"/>
                </a:cubicBezTo>
                <a:cubicBezTo>
                  <a:pt x="821993" y="541074"/>
                  <a:pt x="821993" y="541074"/>
                  <a:pt x="821993" y="537325"/>
                </a:cubicBezTo>
                <a:close/>
                <a:moveTo>
                  <a:pt x="416627" y="372374"/>
                </a:moveTo>
                <a:cubicBezTo>
                  <a:pt x="611803" y="372374"/>
                  <a:pt x="776952" y="451101"/>
                  <a:pt x="776952" y="544823"/>
                </a:cubicBezTo>
                <a:cubicBezTo>
                  <a:pt x="776952" y="556070"/>
                  <a:pt x="776952" y="563567"/>
                  <a:pt x="773199" y="571065"/>
                </a:cubicBezTo>
                <a:cubicBezTo>
                  <a:pt x="716898" y="499836"/>
                  <a:pt x="578023" y="451101"/>
                  <a:pt x="416627" y="451101"/>
                </a:cubicBezTo>
                <a:cubicBezTo>
                  <a:pt x="251477" y="451101"/>
                  <a:pt x="112601" y="499836"/>
                  <a:pt x="56301" y="571065"/>
                </a:cubicBezTo>
                <a:cubicBezTo>
                  <a:pt x="52547" y="563567"/>
                  <a:pt x="52547" y="556070"/>
                  <a:pt x="52547" y="544823"/>
                </a:cubicBezTo>
                <a:cubicBezTo>
                  <a:pt x="52547" y="451101"/>
                  <a:pt x="217696" y="372374"/>
                  <a:pt x="416627" y="372374"/>
                </a:cubicBezTo>
                <a:close/>
                <a:moveTo>
                  <a:pt x="543902" y="62096"/>
                </a:moveTo>
                <a:cubicBezTo>
                  <a:pt x="636930" y="186288"/>
                  <a:pt x="492220" y="196637"/>
                  <a:pt x="554238" y="372576"/>
                </a:cubicBezTo>
                <a:cubicBezTo>
                  <a:pt x="409528" y="155240"/>
                  <a:pt x="585248" y="196637"/>
                  <a:pt x="543902" y="62096"/>
                </a:cubicBezTo>
                <a:close/>
                <a:moveTo>
                  <a:pt x="275155" y="41398"/>
                </a:moveTo>
                <a:cubicBezTo>
                  <a:pt x="368183" y="175939"/>
                  <a:pt x="223472" y="175939"/>
                  <a:pt x="285491" y="351878"/>
                </a:cubicBezTo>
                <a:cubicBezTo>
                  <a:pt x="140780" y="144891"/>
                  <a:pt x="316500" y="186288"/>
                  <a:pt x="275155" y="41398"/>
                </a:cubicBezTo>
                <a:close/>
                <a:moveTo>
                  <a:pt x="409528" y="0"/>
                </a:moveTo>
                <a:cubicBezTo>
                  <a:pt x="502556" y="124192"/>
                  <a:pt x="357846" y="134542"/>
                  <a:pt x="419865" y="310480"/>
                </a:cubicBezTo>
                <a:cubicBezTo>
                  <a:pt x="275155" y="103493"/>
                  <a:pt x="450874" y="144891"/>
                  <a:pt x="409528" y="0"/>
                </a:cubicBezTo>
                <a:close/>
              </a:path>
            </a:pathLst>
          </a:custGeom>
          <a:solidFill>
            <a:schemeClr val="bg1"/>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8201" name="矩形 8">
            <a:extLst>
              <a:ext uri="{FF2B5EF4-FFF2-40B4-BE49-F238E27FC236}">
                <a16:creationId xmlns:a16="http://schemas.microsoft.com/office/drawing/2014/main" id="{6F2E303B-E430-4315-8650-9A7EE2512F20}"/>
              </a:ext>
            </a:extLst>
          </p:cNvPr>
          <p:cNvSpPr>
            <a:spLocks noChangeArrowheads="1"/>
          </p:cNvSpPr>
          <p:nvPr/>
        </p:nvSpPr>
        <p:spPr bwMode="auto">
          <a:xfrm>
            <a:off x="3971925" y="2389188"/>
            <a:ext cx="1138238" cy="73152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r>
              <a:rPr altLang="en-US" lang="zh-CN" sz="1400">
                <a:solidFill>
                  <a:schemeClr val="bg1"/>
                </a:solidFill>
                <a:latin charset="-122" panose="020b0400000000000000" pitchFamily="34" typeface="思源黑体"/>
                <a:ea charset="-122" panose="020b0400000000000000" pitchFamily="34" typeface="思源黑体"/>
                <a:sym charset="-122" panose="020b0400000000000000" pitchFamily="34" typeface="思源黑体"/>
              </a:rPr>
              <a:t>VESTIBULUM ANTE IPSUM</a:t>
            </a:r>
          </a:p>
        </p:txBody>
      </p:sp>
      <p:sp>
        <p:nvSpPr>
          <p:cNvPr id="8202" name="矩形 9">
            <a:extLst>
              <a:ext uri="{FF2B5EF4-FFF2-40B4-BE49-F238E27FC236}">
                <a16:creationId xmlns:a16="http://schemas.microsoft.com/office/drawing/2014/main" id="{30039580-8894-4047-8D88-B1ACBD2464E7}"/>
              </a:ext>
            </a:extLst>
          </p:cNvPr>
          <p:cNvSpPr>
            <a:spLocks noChangeArrowheads="1"/>
          </p:cNvSpPr>
          <p:nvPr/>
        </p:nvSpPr>
        <p:spPr bwMode="auto">
          <a:xfrm>
            <a:off x="6337300" y="1779588"/>
            <a:ext cx="4773613" cy="179832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r>
              <a:rPr altLang="en-US" lang="zh-CN" sz="1400">
                <a:solidFill>
                  <a:schemeClr val="bg2"/>
                </a:solidFill>
                <a:latin charset="-122" panose="020b0400000000000000" pitchFamily="34" typeface="思源黑体"/>
                <a:ea charset="-122" panose="020b0400000000000000" pitchFamily="34" typeface="思源黑体"/>
                <a:sym charset="-122" panose="020b0400000000000000" pitchFamily="34" typeface="思源黑体"/>
              </a:rPr>
              <a:t>Vestibulum ante ipsum primis in faucibus orci luctus et ultrices posuere cubilia Curae; Donec velit neque, auctor sit amet aliquam velante ipsum primis in faucibus orci luctus et ultrices posuere cubilia Curae; Donec velit neque, auctor sit amet aliquam velante ipsum primis in faucibus orci luctus et ultrices posuere cubilia Curae; Donec velit neque, auctor sit amet aliquam vel</a:t>
            </a:r>
          </a:p>
        </p:txBody>
      </p:sp>
      <p:sp>
        <p:nvSpPr>
          <p:cNvPr id="8203" name="矩形 10">
            <a:extLst>
              <a:ext uri="{FF2B5EF4-FFF2-40B4-BE49-F238E27FC236}">
                <a16:creationId xmlns:a16="http://schemas.microsoft.com/office/drawing/2014/main" id="{6B081892-041C-4B71-A4A8-8287E4707B32}"/>
              </a:ext>
            </a:extLst>
          </p:cNvPr>
          <p:cNvSpPr>
            <a:spLocks noChangeArrowheads="1"/>
          </p:cNvSpPr>
          <p:nvPr/>
        </p:nvSpPr>
        <p:spPr bwMode="auto">
          <a:xfrm>
            <a:off x="1081088" y="3976688"/>
            <a:ext cx="4773612" cy="179832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r>
              <a:rPr altLang="en-US" lang="zh-CN" sz="1400">
                <a:solidFill>
                  <a:schemeClr val="bg2"/>
                </a:solidFill>
                <a:latin charset="-122" panose="020b0400000000000000" pitchFamily="34" typeface="思源黑体"/>
                <a:ea charset="-122" panose="020b0400000000000000" pitchFamily="34" typeface="思源黑体"/>
                <a:sym charset="-122" panose="020b0400000000000000" pitchFamily="34" typeface="思源黑体"/>
              </a:rPr>
              <a:t>Vestibulum ante ipsum primis in faucibus orci luctus et ultrices posuere cubilia Curae; Donec velit neque, auctor sit amet aliquam velante ipsum primis in faucibus orci luctus et ultrices posuere cubilia Curae; Donec velit neque, auctor sit amet aliquam velante ipsum primis in faucibus orci luctus et ultrices posuere cubilia Curae; Donec velit neque, auctor sit amet aliquam vel</a:t>
            </a:r>
          </a:p>
        </p:txBody>
      </p:sp>
      <p:sp>
        <p:nvSpPr>
          <p:cNvPr id="12" name="矩形 11">
            <a:extLst>
              <a:ext uri="{FF2B5EF4-FFF2-40B4-BE49-F238E27FC236}">
                <a16:creationId xmlns:a16="http://schemas.microsoft.com/office/drawing/2014/main" id="{D13E0870-0E4E-4B28-B4DA-183C74E4D7D4}"/>
              </a:ext>
            </a:extLst>
          </p:cNvPr>
          <p:cNvSpPr/>
          <p:nvPr/>
        </p:nvSpPr>
        <p:spPr>
          <a:xfrm>
            <a:off x="6096000" y="3657600"/>
            <a:ext cx="3162300" cy="1417638"/>
          </a:xfrm>
          <a:prstGeom prst="rect">
            <a:avLst/>
          </a:pr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8205" name="矩形 12">
            <a:extLst>
              <a:ext uri="{FF2B5EF4-FFF2-40B4-BE49-F238E27FC236}">
                <a16:creationId xmlns:a16="http://schemas.microsoft.com/office/drawing/2014/main" id="{AE05572C-9F40-410E-9C79-BC9680D66B0E}"/>
              </a:ext>
            </a:extLst>
          </p:cNvPr>
          <p:cNvSpPr>
            <a:spLocks noChangeArrowheads="1"/>
          </p:cNvSpPr>
          <p:nvPr/>
        </p:nvSpPr>
        <p:spPr bwMode="auto">
          <a:xfrm>
            <a:off x="6280150" y="3905250"/>
            <a:ext cx="2978150" cy="64008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r>
              <a:rPr altLang="en-US" lang="zh-CN">
                <a:solidFill>
                  <a:schemeClr val="accent1">
                    <a:lumMod val="100000"/>
                  </a:schemeClr>
                </a:solidFill>
                <a:latin charset="-122" panose="020b0400000000000000" pitchFamily="34" typeface="思源黑体"/>
                <a:ea charset="-122" panose="020b0400000000000000" pitchFamily="34" typeface="思源黑体"/>
                <a:sym charset="-122" panose="020b0400000000000000" pitchFamily="34" typeface="思源黑体"/>
              </a:rPr>
              <a:t>DONEC VELIT NEQUE, AUCTOR</a:t>
            </a:r>
          </a:p>
        </p:txBody>
      </p:sp>
      <p:grpSp>
        <p:nvGrpSpPr>
          <p:cNvPr id="23" name="组合 22">
            <a:extLst>
              <a:ext uri="{FF2B5EF4-FFF2-40B4-BE49-F238E27FC236}">
                <a16:creationId xmlns:a16="http://schemas.microsoft.com/office/drawing/2014/main" id="{41FF618F-3A96-4B97-BF02-23F7E15C6967}"/>
              </a:ext>
            </a:extLst>
          </p:cNvPr>
          <p:cNvGrpSpPr/>
          <p:nvPr/>
        </p:nvGrpSpPr>
        <p:grpSpPr>
          <a:xfrm>
            <a:off x="1208876" y="369288"/>
            <a:ext cx="7658100" cy="735806"/>
            <a:chOff x="1208876" y="369288"/>
            <a:chExt cx="7658100" cy="735806"/>
          </a:xfrm>
        </p:grpSpPr>
        <p:sp>
          <p:nvSpPr>
            <p:cNvPr id="24" name="文本框 23">
              <a:extLst>
                <a:ext uri="{FF2B5EF4-FFF2-40B4-BE49-F238E27FC236}">
                  <a16:creationId xmlns:a16="http://schemas.microsoft.com/office/drawing/2014/main" id="{87C2F0B2-819E-457C-A9F6-22F45C1AAD8A}"/>
                </a:ext>
              </a:extLst>
            </p:cNvPr>
            <p:cNvSpPr txBox="1"/>
            <p:nvPr/>
          </p:nvSpPr>
          <p:spPr>
            <a:xfrm>
              <a:off x="1208876" y="369288"/>
              <a:ext cx="7658100" cy="457200"/>
            </a:xfrm>
            <a:prstGeom prst="rect">
              <a:avLst/>
            </a:prstGeom>
            <a:noFill/>
          </p:spPr>
          <p:txBody>
            <a:bodyPr rtlCol="0" wrap="square">
              <a:spAutoFit/>
            </a:bodyPr>
            <a:lstStyle/>
            <a:p>
              <a:r>
                <a:rPr altLang="en-US" lang="zh-CN" sz="2400">
                  <a:gradFill>
                    <a:gsLst>
                      <a:gs pos="885">
                        <a:schemeClr val="accent1">
                          <a:alpha val="10000"/>
                        </a:schemeClr>
                      </a:gs>
                      <a:gs pos="75000">
                        <a:schemeClr val="accent1">
                          <a:alpha val="73000"/>
                        </a:schemeClr>
                      </a:gs>
                    </a:gsLst>
                    <a:lin ang="5400000" scaled="1"/>
                  </a:gradFill>
                  <a:latin charset="-122" panose="020b0400000000000000" pitchFamily="34" typeface="思源黑体"/>
                  <a:ea charset="-122" panose="020b0400000000000000" pitchFamily="34" typeface="思源黑体"/>
                  <a:sym charset="-122" panose="020b0400000000000000" pitchFamily="34" typeface="思源黑体"/>
                </a:rPr>
                <a:t>在此输入标题内容</a:t>
              </a:r>
            </a:p>
          </p:txBody>
        </p:sp>
        <p:sp>
          <p:nvSpPr>
            <p:cNvPr id="25" name="文本框 24">
              <a:extLst>
                <a:ext uri="{FF2B5EF4-FFF2-40B4-BE49-F238E27FC236}">
                  <a16:creationId xmlns:a16="http://schemas.microsoft.com/office/drawing/2014/main" id="{8FAF142A-0139-47E6-A08D-F1AF17753AEF}"/>
                </a:ext>
              </a:extLst>
            </p:cNvPr>
            <p:cNvSpPr txBox="1"/>
            <p:nvPr/>
          </p:nvSpPr>
          <p:spPr>
            <a:xfrm>
              <a:off x="1208876" y="797317"/>
              <a:ext cx="7658100" cy="304800"/>
            </a:xfrm>
            <a:prstGeom prst="rect">
              <a:avLst/>
            </a:prstGeom>
            <a:noFill/>
          </p:spPr>
          <p:txBody>
            <a:bodyPr rtlCol="0" wrap="square">
              <a:spAutoFit/>
            </a:bodyPr>
            <a:lstStyle/>
            <a:p>
              <a:r>
                <a:rPr altLang="zh-CN" lang="en-US" sz="1400">
                  <a:solidFill>
                    <a:schemeClr val="bg2"/>
                  </a:solidFill>
                  <a:latin charset="-122" panose="020b0400000000000000" pitchFamily="34" typeface="思源黑体"/>
                  <a:ea charset="-122" panose="020b0400000000000000" pitchFamily="34" typeface="思源黑体"/>
                  <a:sym charset="-122" panose="020b0400000000000000" pitchFamily="34" typeface="思源黑体"/>
                </a:rPr>
                <a:t>Use "Title Only" Layout</a:t>
              </a:r>
            </a:p>
          </p:txBody>
        </p:sp>
      </p:grpSp>
      <p:grpSp>
        <p:nvGrpSpPr>
          <p:cNvPr id="26" name="组合 25">
            <a:extLst>
              <a:ext uri="{FF2B5EF4-FFF2-40B4-BE49-F238E27FC236}">
                <a16:creationId xmlns:a16="http://schemas.microsoft.com/office/drawing/2014/main" id="{F2C34DE5-2AD9-402F-A76D-34ADE36D9C77}"/>
              </a:ext>
            </a:extLst>
          </p:cNvPr>
          <p:cNvGrpSpPr/>
          <p:nvPr/>
        </p:nvGrpSpPr>
        <p:grpSpPr>
          <a:xfrm>
            <a:off x="538226" y="153800"/>
            <a:ext cx="811275" cy="1299746"/>
            <a:chOff x="538226" y="153800"/>
            <a:chExt cx="811275" cy="1299746"/>
          </a:xfrm>
        </p:grpSpPr>
        <p:sp>
          <p:nvSpPr>
            <p:cNvPr id="27" name="文本框 26">
              <a:extLst>
                <a:ext uri="{FF2B5EF4-FFF2-40B4-BE49-F238E27FC236}">
                  <a16:creationId xmlns:a16="http://schemas.microsoft.com/office/drawing/2014/main" id="{C1FA28A9-C6D3-4F09-B1B1-A881B755299E}"/>
                </a:ext>
              </a:extLst>
            </p:cNvPr>
            <p:cNvSpPr txBox="1"/>
            <p:nvPr/>
          </p:nvSpPr>
          <p:spPr>
            <a:xfrm>
              <a:off x="538226" y="153800"/>
              <a:ext cx="567647" cy="1097280"/>
            </a:xfrm>
            <a:prstGeom prst="rect">
              <a:avLst/>
            </a:prstGeom>
            <a:noFill/>
          </p:spPr>
          <p:txBody>
            <a:bodyPr rtlCol="0" wrap="square">
              <a:spAutoFit/>
            </a:bodyPr>
            <a:lstStyle>
              <a:defPPr>
                <a:defRPr lang="en-US"/>
              </a:defPPr>
              <a:lvl1pPr>
                <a:defRPr sz="8000">
                  <a:gradFill>
                    <a:gsLst>
                      <a:gs pos="36000">
                        <a:schemeClr val="bg1"/>
                      </a:gs>
                      <a:gs pos="100000">
                        <a:schemeClr val="tx1">
                          <a:lumMod val="50000"/>
                          <a:lumOff val="50000"/>
                        </a:schemeClr>
                      </a:gs>
                    </a:gsLst>
                    <a:lin ang="5400000" scaled="1"/>
                  </a:gradFill>
                  <a:latin charset="-122" panose="00000500000000000000" pitchFamily="2" typeface="字魂5号-无外润黑体"/>
                  <a:ea charset="-122" panose="00000500000000000000" pitchFamily="2" typeface="字魂5号-无外润黑体"/>
                </a:defRPr>
              </a:lvl1pPr>
            </a:lstStyle>
            <a:p>
              <a:r>
                <a:rPr altLang="zh-CN" lang="en-US" sz="6600">
                  <a:gradFill>
                    <a:gsLst>
                      <a:gs pos="36000">
                        <a:schemeClr val="bg1"/>
                      </a:gs>
                      <a:gs pos="70000">
                        <a:schemeClr val="tx1">
                          <a:lumMod val="50000"/>
                          <a:lumOff val="50000"/>
                          <a:alpha val="0"/>
                        </a:schemeClr>
                      </a:gs>
                    </a:gsLst>
                    <a:lin ang="5400000" scaled="1"/>
                  </a:gradFill>
                  <a:latin charset="-122" panose="020b0300000000000000" pitchFamily="34" typeface="思源黑体 CN Light"/>
                  <a:ea charset="-122" panose="00000500000000000000" pitchFamily="2" typeface="字魂54号-贤黑"/>
                  <a:sym charset="-122" panose="020b0400000000000000" pitchFamily="34" typeface="思源黑体"/>
                </a:rPr>
                <a:t>1</a:t>
              </a:r>
            </a:p>
          </p:txBody>
        </p:sp>
        <p:grpSp>
          <p:nvGrpSpPr>
            <p:cNvPr id="28" name="组合 27">
              <a:extLst>
                <a:ext uri="{FF2B5EF4-FFF2-40B4-BE49-F238E27FC236}">
                  <a16:creationId xmlns:a16="http://schemas.microsoft.com/office/drawing/2014/main" id="{E9D78616-EF37-4EA7-A9DC-DB577227DAC5}"/>
                </a:ext>
              </a:extLst>
            </p:cNvPr>
            <p:cNvGrpSpPr/>
            <p:nvPr/>
          </p:nvGrpSpPr>
          <p:grpSpPr>
            <a:xfrm rot="1279383">
              <a:off x="538418" y="260428"/>
              <a:ext cx="811083" cy="1193118"/>
              <a:chOff x="5326021" y="1359499"/>
              <a:chExt cx="2273644" cy="3344573"/>
            </a:xfrm>
          </p:grpSpPr>
          <p:cxnSp>
            <p:nvCxnSpPr>
              <p:cNvPr id="29" name="直接连接符 28">
                <a:extLst>
                  <a:ext uri="{FF2B5EF4-FFF2-40B4-BE49-F238E27FC236}">
                    <a16:creationId xmlns:a16="http://schemas.microsoft.com/office/drawing/2014/main" id="{174ADEB6-187F-4B85-A38F-E83D55A63E4B}"/>
                  </a:ext>
                </a:extLst>
              </p:cNvPr>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0" name="任意多边形: 形状 29">
                <a:extLst>
                  <a:ext uri="{FF2B5EF4-FFF2-40B4-BE49-F238E27FC236}">
                    <a16:creationId xmlns:a16="http://schemas.microsoft.com/office/drawing/2014/main" id="{19BF135D-9DE1-4EAF-B3AB-C952D139A0E2}"/>
                  </a:ext>
                </a:extLst>
              </p:cNvPr>
              <p:cNvSpPr/>
              <p:nvPr/>
            </p:nvSpPr>
            <p:spPr>
              <a:xfrm rot="2008142">
                <a:off x="5326021" y="3632692"/>
                <a:ext cx="319543" cy="1071380"/>
              </a:xfrm>
              <a:custGeom>
                <a:gdLst>
                  <a:gd fmla="*/ 278285 w 319543" name="connsiteX0"/>
                  <a:gd fmla="*/ 0 h 1071380" name="connsiteY0"/>
                  <a:gd fmla="*/ 319543 w 319543" name="connsiteX1"/>
                  <a:gd fmla="*/ 0 h 1071380" name="connsiteY1"/>
                  <a:gd fmla="*/ 319543 w 319543" name="connsiteX2"/>
                  <a:gd fmla="*/ 601405 h 1071380" name="connsiteY2"/>
                  <a:gd fmla="*/ 0 w 319543" name="connsiteX3"/>
                  <a:gd fmla="*/ 1071380 h 1071380" name="connsiteY3"/>
                  <a:gd fmla="*/ 0 w 319543" name="connsiteX4"/>
                  <a:gd fmla="*/ 409295 h 1071380"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1071380" w="319543">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400"/>
              </a:p>
            </p:txBody>
          </p:sp>
        </p:grpSp>
      </p:grpSp>
    </p:spTree>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stCondLst>
                      <p:childTnLst>
                        <p:par>
                          <p:cTn fill="hold" id="4" nodeType="afterGroup">
                            <p:stCondLst>
                              <p:cond delay="0"/>
                            </p:stCondLst>
                            <p:childTnLst>
                              <p:par>
                                <p:cTn fill="hold" grpId="0" id="5" nodeType="clickEffect" presetClass="entr" presetID="2" presetSubtype="8">
                                  <p:stCondLst>
                                    <p:cond delay="0"/>
                                  </p:stCondLst>
                                  <p:childTnLst>
                                    <p:set>
                                      <p:cBhvr>
                                        <p:cTn dur="1" fill="hold" id="6">
                                          <p:stCondLst>
                                            <p:cond delay="0"/>
                                          </p:stCondLst>
                                        </p:cTn>
                                        <p:tgtEl>
                                          <p:spTgt spid="10"/>
                                        </p:tgtEl>
                                        <p:attrNameLst>
                                          <p:attrName>style.visibility</p:attrName>
                                        </p:attrNameLst>
                                      </p:cBhvr>
                                      <p:to>
                                        <p:strVal val="visible"/>
                                      </p:to>
                                    </p:set>
                                    <p:anim calcmode="lin" valueType="num">
                                      <p:cBhvr additive="base">
                                        <p:cTn dur="500" fill="hold" id="7"/>
                                        <p:tgtEl>
                                          <p:spTgt spid="10"/>
                                        </p:tgtEl>
                                        <p:attrNameLst>
                                          <p:attrName>ppt_x</p:attrName>
                                        </p:attrNameLst>
                                      </p:cBhvr>
                                      <p:tavLst>
                                        <p:tav tm="0">
                                          <p:val>
                                            <p:strVal val="0-#ppt_w/2"/>
                                          </p:val>
                                        </p:tav>
                                        <p:tav tm="100000">
                                          <p:val>
                                            <p:strVal val="#ppt_x"/>
                                          </p:val>
                                        </p:tav>
                                      </p:tavLst>
                                    </p:anim>
                                    <p:anim calcmode="lin" valueType="num">
                                      <p:cBhvr additive="base">
                                        <p:cTn dur="500" fill="hold" id="8"/>
                                        <p:tgtEl>
                                          <p:spTgt spid="10"/>
                                        </p:tgtEl>
                                        <p:attrNameLst>
                                          <p:attrName>ppt_y</p:attrName>
                                        </p:attrNameLst>
                                      </p:cBhvr>
                                      <p:tavLst>
                                        <p:tav tm="0">
                                          <p:val>
                                            <p:strVal val="#ppt_y"/>
                                          </p:val>
                                        </p:tav>
                                        <p:tav tm="100000">
                                          <p:val>
                                            <p:strVal val="#ppt_y"/>
                                          </p:val>
                                        </p:tav>
                                      </p:tavLst>
                                    </p:anim>
                                  </p:childTnLst>
                                </p:cTn>
                              </p:par>
                              <p:par>
                                <p:cTn fill="hold" grpId="0" id="9" nodeType="withEffect" presetClass="entr" presetID="2" presetSubtype="2">
                                  <p:stCondLst>
                                    <p:cond delay="0"/>
                                  </p:stCondLst>
                                  <p:childTnLst>
                                    <p:set>
                                      <p:cBhvr>
                                        <p:cTn dur="1" fill="hold" id="10">
                                          <p:stCondLst>
                                            <p:cond delay="0"/>
                                          </p:stCondLst>
                                        </p:cTn>
                                        <p:tgtEl>
                                          <p:spTgt spid="11"/>
                                        </p:tgtEl>
                                        <p:attrNameLst>
                                          <p:attrName>style.visibility</p:attrName>
                                        </p:attrNameLst>
                                      </p:cBhvr>
                                      <p:to>
                                        <p:strVal val="visible"/>
                                      </p:to>
                                    </p:set>
                                    <p:anim calcmode="lin" valueType="num">
                                      <p:cBhvr additive="base">
                                        <p:cTn dur="500" fill="hold" id="11"/>
                                        <p:tgtEl>
                                          <p:spTgt spid="11"/>
                                        </p:tgtEl>
                                        <p:attrNameLst>
                                          <p:attrName>ppt_x</p:attrName>
                                        </p:attrNameLst>
                                      </p:cBhvr>
                                      <p:tavLst>
                                        <p:tav tm="0">
                                          <p:val>
                                            <p:strVal val="1+#ppt_w/2"/>
                                          </p:val>
                                        </p:tav>
                                        <p:tav tm="100000">
                                          <p:val>
                                            <p:strVal val="#ppt_x"/>
                                          </p:val>
                                        </p:tav>
                                      </p:tavLst>
                                    </p:anim>
                                    <p:anim calcmode="lin" valueType="num">
                                      <p:cBhvr additive="base">
                                        <p:cTn dur="500" fill="hold" id="12"/>
                                        <p:tgtEl>
                                          <p:spTgt spid="11"/>
                                        </p:tgtEl>
                                        <p:attrNameLst>
                                          <p:attrName>ppt_y</p:attrName>
                                        </p:attrNameLst>
                                      </p:cBhvr>
                                      <p:tavLst>
                                        <p:tav tm="0">
                                          <p:val>
                                            <p:strVal val="#ppt_y"/>
                                          </p:val>
                                        </p:tav>
                                        <p:tav tm="100000">
                                          <p:val>
                                            <p:strVal val="#ppt_y"/>
                                          </p:val>
                                        </p:tav>
                                      </p:tavLst>
                                    </p:anim>
                                  </p:childTnLst>
                                </p:cTn>
                              </p:par>
                              <p:par>
                                <p:cTn fill="hold" grpId="0" id="13" nodeType="withEffect" presetClass="entr" presetID="2" presetSubtype="2">
                                  <p:stCondLst>
                                    <p:cond delay="0"/>
                                  </p:stCondLst>
                                  <p:childTnLst>
                                    <p:set>
                                      <p:cBhvr>
                                        <p:cTn dur="1" fill="hold" id="14">
                                          <p:stCondLst>
                                            <p:cond delay="0"/>
                                          </p:stCondLst>
                                        </p:cTn>
                                        <p:tgtEl>
                                          <p:spTgt spid="5"/>
                                        </p:tgtEl>
                                        <p:attrNameLst>
                                          <p:attrName>style.visibility</p:attrName>
                                        </p:attrNameLst>
                                      </p:cBhvr>
                                      <p:to>
                                        <p:strVal val="visible"/>
                                      </p:to>
                                    </p:set>
                                    <p:anim calcmode="lin" valueType="num">
                                      <p:cBhvr additive="base">
                                        <p:cTn dur="500" fill="hold" id="15"/>
                                        <p:tgtEl>
                                          <p:spTgt spid="5"/>
                                        </p:tgtEl>
                                        <p:attrNameLst>
                                          <p:attrName>ppt_x</p:attrName>
                                        </p:attrNameLst>
                                      </p:cBhvr>
                                      <p:tavLst>
                                        <p:tav tm="0">
                                          <p:val>
                                            <p:strVal val="1+#ppt_w/2"/>
                                          </p:val>
                                        </p:tav>
                                        <p:tav tm="100000">
                                          <p:val>
                                            <p:strVal val="#ppt_x"/>
                                          </p:val>
                                        </p:tav>
                                      </p:tavLst>
                                    </p:anim>
                                    <p:anim calcmode="lin" valueType="num">
                                      <p:cBhvr additive="base">
                                        <p:cTn dur="500" fill="hold" id="16"/>
                                        <p:tgtEl>
                                          <p:spTgt spid="5"/>
                                        </p:tgtEl>
                                        <p:attrNameLst>
                                          <p:attrName>ppt_y</p:attrName>
                                        </p:attrNameLst>
                                      </p:cBhvr>
                                      <p:tavLst>
                                        <p:tav tm="0">
                                          <p:val>
                                            <p:strVal val="#ppt_y"/>
                                          </p:val>
                                        </p:tav>
                                        <p:tav tm="100000">
                                          <p:val>
                                            <p:strVal val="#ppt_y"/>
                                          </p:val>
                                        </p:tav>
                                      </p:tavLst>
                                    </p:anim>
                                  </p:childTnLst>
                                </p:cTn>
                              </p:par>
                              <p:par>
                                <p:cTn fill="hold" grpId="0" id="17" nodeType="withEffect" presetClass="entr" presetID="2" presetSubtype="8">
                                  <p:stCondLst>
                                    <p:cond delay="0"/>
                                  </p:stCondLst>
                                  <p:childTnLst>
                                    <p:set>
                                      <p:cBhvr>
                                        <p:cTn dur="1" fill="hold" id="18">
                                          <p:stCondLst>
                                            <p:cond delay="0"/>
                                          </p:stCondLst>
                                        </p:cTn>
                                        <p:tgtEl>
                                          <p:spTgt spid="6"/>
                                        </p:tgtEl>
                                        <p:attrNameLst>
                                          <p:attrName>style.visibility</p:attrName>
                                        </p:attrNameLst>
                                      </p:cBhvr>
                                      <p:to>
                                        <p:strVal val="visible"/>
                                      </p:to>
                                    </p:set>
                                    <p:anim calcmode="lin" valueType="num">
                                      <p:cBhvr additive="base">
                                        <p:cTn dur="500" fill="hold" id="19"/>
                                        <p:tgtEl>
                                          <p:spTgt spid="6"/>
                                        </p:tgtEl>
                                        <p:attrNameLst>
                                          <p:attrName>ppt_x</p:attrName>
                                        </p:attrNameLst>
                                      </p:cBhvr>
                                      <p:tavLst>
                                        <p:tav tm="0">
                                          <p:val>
                                            <p:strVal val="0-#ppt_w/2"/>
                                          </p:val>
                                        </p:tav>
                                        <p:tav tm="100000">
                                          <p:val>
                                            <p:strVal val="#ppt_x"/>
                                          </p:val>
                                        </p:tav>
                                      </p:tavLst>
                                    </p:anim>
                                    <p:anim calcmode="lin" valueType="num">
                                      <p:cBhvr additive="base">
                                        <p:cTn dur="500" fill="hold" id="20"/>
                                        <p:tgtEl>
                                          <p:spTgt spid="6"/>
                                        </p:tgtEl>
                                        <p:attrNameLst>
                                          <p:attrName>ppt_y</p:attrName>
                                        </p:attrNameLst>
                                      </p:cBhvr>
                                      <p:tavLst>
                                        <p:tav tm="0">
                                          <p:val>
                                            <p:strVal val="#ppt_y"/>
                                          </p:val>
                                        </p:tav>
                                        <p:tav tm="100000">
                                          <p:val>
                                            <p:strVal val="#ppt_y"/>
                                          </p:val>
                                        </p:tav>
                                      </p:tavLst>
                                    </p:anim>
                                  </p:childTnLst>
                                </p:cTn>
                              </p:par>
                              <p:par>
                                <p:cTn fill="hold" grpId="0" id="21" nodeType="withEffect" presetClass="entr" presetID="2" presetSubtype="8">
                                  <p:stCondLst>
                                    <p:cond delay="0"/>
                                  </p:stCondLst>
                                  <p:childTnLst>
                                    <p:set>
                                      <p:cBhvr>
                                        <p:cTn dur="1" fill="hold" id="22">
                                          <p:stCondLst>
                                            <p:cond delay="0"/>
                                          </p:stCondLst>
                                        </p:cTn>
                                        <p:tgtEl>
                                          <p:spTgt spid="7"/>
                                        </p:tgtEl>
                                        <p:attrNameLst>
                                          <p:attrName>style.visibility</p:attrName>
                                        </p:attrNameLst>
                                      </p:cBhvr>
                                      <p:to>
                                        <p:strVal val="visible"/>
                                      </p:to>
                                    </p:set>
                                    <p:anim calcmode="lin" valueType="num">
                                      <p:cBhvr additive="base">
                                        <p:cTn dur="500" fill="hold" id="23"/>
                                        <p:tgtEl>
                                          <p:spTgt spid="7"/>
                                        </p:tgtEl>
                                        <p:attrNameLst>
                                          <p:attrName>ppt_x</p:attrName>
                                        </p:attrNameLst>
                                      </p:cBhvr>
                                      <p:tavLst>
                                        <p:tav tm="0">
                                          <p:val>
                                            <p:strVal val="0-#ppt_w/2"/>
                                          </p:val>
                                        </p:tav>
                                        <p:tav tm="100000">
                                          <p:val>
                                            <p:strVal val="#ppt_x"/>
                                          </p:val>
                                        </p:tav>
                                      </p:tavLst>
                                    </p:anim>
                                    <p:anim calcmode="lin" valueType="num">
                                      <p:cBhvr additive="base">
                                        <p:cTn dur="500" fill="hold" id="24"/>
                                        <p:tgtEl>
                                          <p:spTgt spid="7"/>
                                        </p:tgtEl>
                                        <p:attrNameLst>
                                          <p:attrName>ppt_y</p:attrName>
                                        </p:attrNameLst>
                                      </p:cBhvr>
                                      <p:tavLst>
                                        <p:tav tm="0">
                                          <p:val>
                                            <p:strVal val="#ppt_y"/>
                                          </p:val>
                                        </p:tav>
                                        <p:tav tm="100000">
                                          <p:val>
                                            <p:strVal val="#ppt_y"/>
                                          </p:val>
                                        </p:tav>
                                      </p:tavLst>
                                    </p:anim>
                                  </p:childTnLst>
                                </p:cTn>
                              </p:par>
                              <p:par>
                                <p:cTn fill="hold" grpId="0" id="25" nodeType="withEffect" presetClass="entr" presetID="2" presetSubtype="8">
                                  <p:stCondLst>
                                    <p:cond delay="0"/>
                                  </p:stCondLst>
                                  <p:childTnLst>
                                    <p:set>
                                      <p:cBhvr>
                                        <p:cTn dur="1" fill="hold" id="26">
                                          <p:stCondLst>
                                            <p:cond delay="0"/>
                                          </p:stCondLst>
                                        </p:cTn>
                                        <p:tgtEl>
                                          <p:spTgt spid="8200"/>
                                        </p:tgtEl>
                                        <p:attrNameLst>
                                          <p:attrName>style.visibility</p:attrName>
                                        </p:attrNameLst>
                                      </p:cBhvr>
                                      <p:to>
                                        <p:strVal val="visible"/>
                                      </p:to>
                                    </p:set>
                                    <p:anim calcmode="lin" valueType="num">
                                      <p:cBhvr additive="base">
                                        <p:cTn dur="500" fill="hold" id="27"/>
                                        <p:tgtEl>
                                          <p:spTgt spid="8200"/>
                                        </p:tgtEl>
                                        <p:attrNameLst>
                                          <p:attrName>ppt_x</p:attrName>
                                        </p:attrNameLst>
                                      </p:cBhvr>
                                      <p:tavLst>
                                        <p:tav tm="0">
                                          <p:val>
                                            <p:strVal val="0-#ppt_w/2"/>
                                          </p:val>
                                        </p:tav>
                                        <p:tav tm="100000">
                                          <p:val>
                                            <p:strVal val="#ppt_x"/>
                                          </p:val>
                                        </p:tav>
                                      </p:tavLst>
                                    </p:anim>
                                    <p:anim calcmode="lin" valueType="num">
                                      <p:cBhvr additive="base">
                                        <p:cTn dur="500" fill="hold" id="28"/>
                                        <p:tgtEl>
                                          <p:spTgt spid="8200"/>
                                        </p:tgtEl>
                                        <p:attrNameLst>
                                          <p:attrName>ppt_y</p:attrName>
                                        </p:attrNameLst>
                                      </p:cBhvr>
                                      <p:tavLst>
                                        <p:tav tm="0">
                                          <p:val>
                                            <p:strVal val="#ppt_y"/>
                                          </p:val>
                                        </p:tav>
                                        <p:tav tm="100000">
                                          <p:val>
                                            <p:strVal val="#ppt_y"/>
                                          </p:val>
                                        </p:tav>
                                      </p:tavLst>
                                    </p:anim>
                                  </p:childTnLst>
                                </p:cTn>
                              </p:par>
                              <p:par>
                                <p:cTn fill="hold" grpId="0" id="29" nodeType="withEffect" presetClass="entr" presetID="2" presetSubtype="8">
                                  <p:stCondLst>
                                    <p:cond delay="0"/>
                                  </p:stCondLst>
                                  <p:childTnLst>
                                    <p:set>
                                      <p:cBhvr>
                                        <p:cTn dur="1" fill="hold" id="30">
                                          <p:stCondLst>
                                            <p:cond delay="0"/>
                                          </p:stCondLst>
                                        </p:cTn>
                                        <p:tgtEl>
                                          <p:spTgt spid="8201"/>
                                        </p:tgtEl>
                                        <p:attrNameLst>
                                          <p:attrName>style.visibility</p:attrName>
                                        </p:attrNameLst>
                                      </p:cBhvr>
                                      <p:to>
                                        <p:strVal val="visible"/>
                                      </p:to>
                                    </p:set>
                                    <p:anim calcmode="lin" valueType="num">
                                      <p:cBhvr additive="base">
                                        <p:cTn dur="500" fill="hold" id="31"/>
                                        <p:tgtEl>
                                          <p:spTgt spid="8201"/>
                                        </p:tgtEl>
                                        <p:attrNameLst>
                                          <p:attrName>ppt_x</p:attrName>
                                        </p:attrNameLst>
                                      </p:cBhvr>
                                      <p:tavLst>
                                        <p:tav tm="0">
                                          <p:val>
                                            <p:strVal val="0-#ppt_w/2"/>
                                          </p:val>
                                        </p:tav>
                                        <p:tav tm="100000">
                                          <p:val>
                                            <p:strVal val="#ppt_x"/>
                                          </p:val>
                                        </p:tav>
                                      </p:tavLst>
                                    </p:anim>
                                    <p:anim calcmode="lin" valueType="num">
                                      <p:cBhvr additive="base">
                                        <p:cTn dur="500" fill="hold" id="32"/>
                                        <p:tgtEl>
                                          <p:spTgt spid="8201"/>
                                        </p:tgtEl>
                                        <p:attrNameLst>
                                          <p:attrName>ppt_y</p:attrName>
                                        </p:attrNameLst>
                                      </p:cBhvr>
                                      <p:tavLst>
                                        <p:tav tm="0">
                                          <p:val>
                                            <p:strVal val="#ppt_y"/>
                                          </p:val>
                                        </p:tav>
                                        <p:tav tm="100000">
                                          <p:val>
                                            <p:strVal val="#ppt_y"/>
                                          </p:val>
                                        </p:tav>
                                      </p:tavLst>
                                    </p:anim>
                                  </p:childTnLst>
                                </p:cTn>
                              </p:par>
                              <p:par>
                                <p:cTn fill="hold" grpId="0" id="33" nodeType="withEffect" presetClass="entr" presetID="2" presetSubtype="2">
                                  <p:stCondLst>
                                    <p:cond delay="0"/>
                                  </p:stCondLst>
                                  <p:childTnLst>
                                    <p:set>
                                      <p:cBhvr>
                                        <p:cTn dur="1" fill="hold" id="34">
                                          <p:stCondLst>
                                            <p:cond delay="0"/>
                                          </p:stCondLst>
                                        </p:cTn>
                                        <p:tgtEl>
                                          <p:spTgt spid="8202"/>
                                        </p:tgtEl>
                                        <p:attrNameLst>
                                          <p:attrName>style.visibility</p:attrName>
                                        </p:attrNameLst>
                                      </p:cBhvr>
                                      <p:to>
                                        <p:strVal val="visible"/>
                                      </p:to>
                                    </p:set>
                                    <p:anim calcmode="lin" valueType="num">
                                      <p:cBhvr additive="base">
                                        <p:cTn dur="500" fill="hold" id="35"/>
                                        <p:tgtEl>
                                          <p:spTgt spid="8202"/>
                                        </p:tgtEl>
                                        <p:attrNameLst>
                                          <p:attrName>ppt_x</p:attrName>
                                        </p:attrNameLst>
                                      </p:cBhvr>
                                      <p:tavLst>
                                        <p:tav tm="0">
                                          <p:val>
                                            <p:strVal val="1+#ppt_w/2"/>
                                          </p:val>
                                        </p:tav>
                                        <p:tav tm="100000">
                                          <p:val>
                                            <p:strVal val="#ppt_x"/>
                                          </p:val>
                                        </p:tav>
                                      </p:tavLst>
                                    </p:anim>
                                    <p:anim calcmode="lin" valueType="num">
                                      <p:cBhvr additive="base">
                                        <p:cTn dur="500" fill="hold" id="36"/>
                                        <p:tgtEl>
                                          <p:spTgt spid="8202"/>
                                        </p:tgtEl>
                                        <p:attrNameLst>
                                          <p:attrName>ppt_y</p:attrName>
                                        </p:attrNameLst>
                                      </p:cBhvr>
                                      <p:tavLst>
                                        <p:tav tm="0">
                                          <p:val>
                                            <p:strVal val="#ppt_y"/>
                                          </p:val>
                                        </p:tav>
                                        <p:tav tm="100000">
                                          <p:val>
                                            <p:strVal val="#ppt_y"/>
                                          </p:val>
                                        </p:tav>
                                      </p:tavLst>
                                    </p:anim>
                                  </p:childTnLst>
                                </p:cTn>
                              </p:par>
                              <p:par>
                                <p:cTn fill="hold" grpId="0" id="37" nodeType="withEffect" presetClass="entr" presetID="2" presetSubtype="8">
                                  <p:stCondLst>
                                    <p:cond delay="0"/>
                                  </p:stCondLst>
                                  <p:childTnLst>
                                    <p:set>
                                      <p:cBhvr>
                                        <p:cTn dur="1" fill="hold" id="38">
                                          <p:stCondLst>
                                            <p:cond delay="0"/>
                                          </p:stCondLst>
                                        </p:cTn>
                                        <p:tgtEl>
                                          <p:spTgt spid="8203"/>
                                        </p:tgtEl>
                                        <p:attrNameLst>
                                          <p:attrName>style.visibility</p:attrName>
                                        </p:attrNameLst>
                                      </p:cBhvr>
                                      <p:to>
                                        <p:strVal val="visible"/>
                                      </p:to>
                                    </p:set>
                                    <p:anim calcmode="lin" valueType="num">
                                      <p:cBhvr additive="base">
                                        <p:cTn dur="500" fill="hold" id="39"/>
                                        <p:tgtEl>
                                          <p:spTgt spid="8203"/>
                                        </p:tgtEl>
                                        <p:attrNameLst>
                                          <p:attrName>ppt_x</p:attrName>
                                        </p:attrNameLst>
                                      </p:cBhvr>
                                      <p:tavLst>
                                        <p:tav tm="0">
                                          <p:val>
                                            <p:strVal val="0-#ppt_w/2"/>
                                          </p:val>
                                        </p:tav>
                                        <p:tav tm="100000">
                                          <p:val>
                                            <p:strVal val="#ppt_x"/>
                                          </p:val>
                                        </p:tav>
                                      </p:tavLst>
                                    </p:anim>
                                    <p:anim calcmode="lin" valueType="num">
                                      <p:cBhvr additive="base">
                                        <p:cTn dur="500" fill="hold" id="40"/>
                                        <p:tgtEl>
                                          <p:spTgt spid="8203"/>
                                        </p:tgtEl>
                                        <p:attrNameLst>
                                          <p:attrName>ppt_y</p:attrName>
                                        </p:attrNameLst>
                                      </p:cBhvr>
                                      <p:tavLst>
                                        <p:tav tm="0">
                                          <p:val>
                                            <p:strVal val="#ppt_y"/>
                                          </p:val>
                                        </p:tav>
                                        <p:tav tm="100000">
                                          <p:val>
                                            <p:strVal val="#ppt_y"/>
                                          </p:val>
                                        </p:tav>
                                      </p:tavLst>
                                    </p:anim>
                                  </p:childTnLst>
                                </p:cTn>
                              </p:par>
                              <p:par>
                                <p:cTn fill="hold" grpId="0" id="41" nodeType="withEffect" presetClass="entr" presetID="2" presetSubtype="2">
                                  <p:stCondLst>
                                    <p:cond delay="0"/>
                                  </p:stCondLst>
                                  <p:childTnLst>
                                    <p:set>
                                      <p:cBhvr>
                                        <p:cTn dur="1" fill="hold" id="42">
                                          <p:stCondLst>
                                            <p:cond delay="0"/>
                                          </p:stCondLst>
                                        </p:cTn>
                                        <p:tgtEl>
                                          <p:spTgt spid="12"/>
                                        </p:tgtEl>
                                        <p:attrNameLst>
                                          <p:attrName>style.visibility</p:attrName>
                                        </p:attrNameLst>
                                      </p:cBhvr>
                                      <p:to>
                                        <p:strVal val="visible"/>
                                      </p:to>
                                    </p:set>
                                    <p:anim calcmode="lin" valueType="num">
                                      <p:cBhvr additive="base">
                                        <p:cTn dur="500" fill="hold" id="43"/>
                                        <p:tgtEl>
                                          <p:spTgt spid="12"/>
                                        </p:tgtEl>
                                        <p:attrNameLst>
                                          <p:attrName>ppt_x</p:attrName>
                                        </p:attrNameLst>
                                      </p:cBhvr>
                                      <p:tavLst>
                                        <p:tav tm="0">
                                          <p:val>
                                            <p:strVal val="1+#ppt_w/2"/>
                                          </p:val>
                                        </p:tav>
                                        <p:tav tm="100000">
                                          <p:val>
                                            <p:strVal val="#ppt_x"/>
                                          </p:val>
                                        </p:tav>
                                      </p:tavLst>
                                    </p:anim>
                                    <p:anim calcmode="lin" valueType="num">
                                      <p:cBhvr additive="base">
                                        <p:cTn dur="500" fill="hold" id="44"/>
                                        <p:tgtEl>
                                          <p:spTgt spid="12"/>
                                        </p:tgtEl>
                                        <p:attrNameLst>
                                          <p:attrName>ppt_y</p:attrName>
                                        </p:attrNameLst>
                                      </p:cBhvr>
                                      <p:tavLst>
                                        <p:tav tm="0">
                                          <p:val>
                                            <p:strVal val="#ppt_y"/>
                                          </p:val>
                                        </p:tav>
                                        <p:tav tm="100000">
                                          <p:val>
                                            <p:strVal val="#ppt_y"/>
                                          </p:val>
                                        </p:tav>
                                      </p:tavLst>
                                    </p:anim>
                                  </p:childTnLst>
                                </p:cTn>
                              </p:par>
                              <p:par>
                                <p:cTn fill="hold" grpId="0" id="45" nodeType="withEffect" presetClass="entr" presetID="2" presetSubtype="2">
                                  <p:stCondLst>
                                    <p:cond delay="0"/>
                                  </p:stCondLst>
                                  <p:childTnLst>
                                    <p:set>
                                      <p:cBhvr>
                                        <p:cTn dur="1" fill="hold" id="46">
                                          <p:stCondLst>
                                            <p:cond delay="0"/>
                                          </p:stCondLst>
                                        </p:cTn>
                                        <p:tgtEl>
                                          <p:spTgt spid="8205"/>
                                        </p:tgtEl>
                                        <p:attrNameLst>
                                          <p:attrName>style.visibility</p:attrName>
                                        </p:attrNameLst>
                                      </p:cBhvr>
                                      <p:to>
                                        <p:strVal val="visible"/>
                                      </p:to>
                                    </p:set>
                                    <p:anim calcmode="lin" valueType="num">
                                      <p:cBhvr additive="base">
                                        <p:cTn dur="500" fill="hold" id="47"/>
                                        <p:tgtEl>
                                          <p:spTgt spid="8205"/>
                                        </p:tgtEl>
                                        <p:attrNameLst>
                                          <p:attrName>ppt_x</p:attrName>
                                        </p:attrNameLst>
                                      </p:cBhvr>
                                      <p:tavLst>
                                        <p:tav tm="0">
                                          <p:val>
                                            <p:strVal val="1+#ppt_w/2"/>
                                          </p:val>
                                        </p:tav>
                                        <p:tav tm="100000">
                                          <p:val>
                                            <p:strVal val="#ppt_x"/>
                                          </p:val>
                                        </p:tav>
                                      </p:tavLst>
                                    </p:anim>
                                    <p:anim calcmode="lin" valueType="num">
                                      <p:cBhvr additive="base">
                                        <p:cTn dur="500" fill="hold" id="48"/>
                                        <p:tgtEl>
                                          <p:spTgt spid="8205"/>
                                        </p:tgtEl>
                                        <p:attrNameLst>
                                          <p:attrName>ppt_y</p:attrName>
                                        </p:attrNameLst>
                                      </p:cBhvr>
                                      <p:tavLst>
                                        <p:tav tm="0">
                                          <p:val>
                                            <p:strVal val="#ppt_y"/>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0"/>
      <p:bldP grpId="0" spid="11"/>
      <p:bldP grpId="0" spid="5"/>
      <p:bldP grpId="0" spid="6"/>
      <p:bldP grpId="0" spid="7"/>
      <p:bldP grpId="0" spid="8200"/>
      <p:bldP grpId="0" spid="8201"/>
      <p:bldP grpId="0" spid="8202"/>
      <p:bldP grpId="0" spid="8203"/>
      <p:bldP grpId="0" spid="12"/>
      <p:bldP grpId="0" spid="8205"/>
    </p:bldLst>
  </p:timing>
</p:sld>
</file>

<file path=ppt/slides/slide5.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5" name="矩形 4">
            <a:extLst>
              <a:ext uri="{FF2B5EF4-FFF2-40B4-BE49-F238E27FC236}">
                <a16:creationId xmlns:a16="http://schemas.microsoft.com/office/drawing/2014/main" id="{7A518DE3-B66F-425A-BC4E-0EBCD098C7EC}"/>
              </a:ext>
            </a:extLst>
          </p:cNvPr>
          <p:cNvSpPr/>
          <p:nvPr/>
        </p:nvSpPr>
        <p:spPr>
          <a:xfrm>
            <a:off x="838200" y="2070100"/>
            <a:ext cx="5272088" cy="3513138"/>
          </a:xfrm>
          <a:prstGeom prst="rect">
            <a:avLst/>
          </a:prstGeom>
          <a:blipFill dpi="0" rotWithShape="1">
            <a:blip r:embed="rId3">
              <a:extLst>
                <a:ext uri="{28A0092B-C50C-407E-A947-70E740481C1C}">
                  <a14:useLocalDpi val="0"/>
                </a:ext>
              </a:extLst>
            </a:blip>
            <a:stretch>
              <a:fillRect/>
            </a:stretch>
          </a:blipFill>
          <a:ln algn="ctr" cap="flat" cmpd="sng" w="12700">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9220" name="矩形 5">
            <a:extLst>
              <a:ext uri="{FF2B5EF4-FFF2-40B4-BE49-F238E27FC236}">
                <a16:creationId xmlns:a16="http://schemas.microsoft.com/office/drawing/2014/main" id="{29CFDE74-737D-498C-BA1D-BE35AED49960}"/>
              </a:ext>
            </a:extLst>
          </p:cNvPr>
          <p:cNvSpPr>
            <a:spLocks noChangeArrowheads="1"/>
          </p:cNvSpPr>
          <p:nvPr/>
        </p:nvSpPr>
        <p:spPr bwMode="auto">
          <a:xfrm>
            <a:off x="6313488" y="1844675"/>
            <a:ext cx="5018087" cy="94488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r>
              <a:rPr altLang="en-US" lang="zh-CN" sz="1400">
                <a:solidFill>
                  <a:schemeClr val="bg1"/>
                </a:solidFill>
                <a:latin charset="-122" panose="020b0400000000000000" pitchFamily="34" typeface="思源黑体"/>
                <a:ea charset="-122" panose="020b0400000000000000" pitchFamily="34" typeface="思源黑体"/>
                <a:sym charset="-122" panose="020b0400000000000000" pitchFamily="34" typeface="思源黑体"/>
              </a:rPr>
              <a:t>Vestibulum ante ipsum primis in faucibus orci luctus et ultrices posuere cubilia Curae; Donec velit neque, auctor sit amet aliquam vel, ullamcorper sit amet ligula. Nulla quis lorem ut libero malesuada feugiat. </a:t>
            </a:r>
          </a:p>
        </p:txBody>
      </p:sp>
      <p:sp>
        <p:nvSpPr>
          <p:cNvPr id="9221" name="矩形 9">
            <a:extLst>
              <a:ext uri="{FF2B5EF4-FFF2-40B4-BE49-F238E27FC236}">
                <a16:creationId xmlns:a16="http://schemas.microsoft.com/office/drawing/2014/main" id="{1C7B0988-D573-44F4-B882-60FCA0825194}"/>
              </a:ext>
            </a:extLst>
          </p:cNvPr>
          <p:cNvSpPr>
            <a:spLocks noChangeArrowheads="1"/>
          </p:cNvSpPr>
          <p:nvPr/>
        </p:nvSpPr>
        <p:spPr bwMode="auto">
          <a:xfrm>
            <a:off x="6756399" y="4779963"/>
            <a:ext cx="4092893" cy="30480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none">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r>
              <a:rPr altLang="zh-CN" lang="en-US" sz="1400">
                <a:solidFill>
                  <a:schemeClr val="bg1"/>
                </a:solidFill>
                <a:latin charset="-122" panose="020b0400000000000000" pitchFamily="34" typeface="思源黑体"/>
                <a:ea charset="-122" panose="020b0400000000000000" pitchFamily="34" typeface="思源黑体"/>
                <a:sym charset="-122" panose="020b0400000000000000" pitchFamily="34" typeface="思源黑体"/>
              </a:rPr>
              <a:t>Mauris blandit aliquet elit, eget tincidunt nibh</a:t>
            </a:r>
          </a:p>
        </p:txBody>
      </p:sp>
      <p:sp>
        <p:nvSpPr>
          <p:cNvPr id="11" name="椭圆 10">
            <a:extLst>
              <a:ext uri="{FF2B5EF4-FFF2-40B4-BE49-F238E27FC236}">
                <a16:creationId xmlns:a16="http://schemas.microsoft.com/office/drawing/2014/main" id="{37D39361-CEDB-4C9C-AA03-157D43260A90}"/>
              </a:ext>
            </a:extLst>
          </p:cNvPr>
          <p:cNvSpPr/>
          <p:nvPr/>
        </p:nvSpPr>
        <p:spPr>
          <a:xfrm>
            <a:off x="6662738" y="4927600"/>
            <a:ext cx="74612" cy="74613"/>
          </a:xfrm>
          <a:prstGeom prst="ellipse">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sz="1400">
              <a:solidFill>
                <a:schemeClr val="bg1"/>
              </a:solidFill>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9223" name="矩形 11">
            <a:extLst>
              <a:ext uri="{FF2B5EF4-FFF2-40B4-BE49-F238E27FC236}">
                <a16:creationId xmlns:a16="http://schemas.microsoft.com/office/drawing/2014/main" id="{1A9C5AE8-B14F-44DB-9063-B001CF21F3C4}"/>
              </a:ext>
            </a:extLst>
          </p:cNvPr>
          <p:cNvSpPr>
            <a:spLocks noChangeArrowheads="1"/>
          </p:cNvSpPr>
          <p:nvPr/>
        </p:nvSpPr>
        <p:spPr bwMode="auto">
          <a:xfrm>
            <a:off x="6756399" y="5075238"/>
            <a:ext cx="4092893" cy="30480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none">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r>
              <a:rPr altLang="zh-CN" lang="en-US" sz="1400">
                <a:solidFill>
                  <a:schemeClr val="bg1"/>
                </a:solidFill>
                <a:latin charset="-122" panose="020b0400000000000000" pitchFamily="34" typeface="思源黑体"/>
                <a:ea charset="-122" panose="020b0400000000000000" pitchFamily="34" typeface="思源黑体"/>
                <a:sym charset="-122" panose="020b0400000000000000" pitchFamily="34" typeface="思源黑体"/>
              </a:rPr>
              <a:t>Mauris blandit aliquet elit, eget tincidunt nibh</a:t>
            </a:r>
          </a:p>
        </p:txBody>
      </p:sp>
      <p:sp>
        <p:nvSpPr>
          <p:cNvPr id="13" name="椭圆 12">
            <a:extLst>
              <a:ext uri="{FF2B5EF4-FFF2-40B4-BE49-F238E27FC236}">
                <a16:creationId xmlns:a16="http://schemas.microsoft.com/office/drawing/2014/main" id="{8A58E79D-5583-4289-B5F3-A08CDA5A04C8}"/>
              </a:ext>
            </a:extLst>
          </p:cNvPr>
          <p:cNvSpPr/>
          <p:nvPr/>
        </p:nvSpPr>
        <p:spPr>
          <a:xfrm>
            <a:off x="6662738" y="5222875"/>
            <a:ext cx="74612" cy="74613"/>
          </a:xfrm>
          <a:prstGeom prst="ellipse">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sz="1400">
              <a:solidFill>
                <a:schemeClr val="bg1"/>
              </a:solidFill>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9225" name="矩形 13">
            <a:extLst>
              <a:ext uri="{FF2B5EF4-FFF2-40B4-BE49-F238E27FC236}">
                <a16:creationId xmlns:a16="http://schemas.microsoft.com/office/drawing/2014/main" id="{BB62616F-92DE-4747-B147-9E3FCB97F909}"/>
              </a:ext>
            </a:extLst>
          </p:cNvPr>
          <p:cNvSpPr>
            <a:spLocks noChangeArrowheads="1"/>
          </p:cNvSpPr>
          <p:nvPr/>
        </p:nvSpPr>
        <p:spPr bwMode="auto">
          <a:xfrm>
            <a:off x="6756399" y="5370513"/>
            <a:ext cx="4092893" cy="30480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none">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r>
              <a:rPr altLang="zh-CN" lang="en-US" sz="1400">
                <a:solidFill>
                  <a:schemeClr val="bg1"/>
                </a:solidFill>
                <a:latin charset="-122" panose="020b0400000000000000" pitchFamily="34" typeface="思源黑体"/>
                <a:ea charset="-122" panose="020b0400000000000000" pitchFamily="34" typeface="思源黑体"/>
                <a:sym charset="-122" panose="020b0400000000000000" pitchFamily="34" typeface="思源黑体"/>
              </a:rPr>
              <a:t>Mauris blandit aliquet elit, eget tincidunt nibh</a:t>
            </a:r>
          </a:p>
        </p:txBody>
      </p:sp>
      <p:sp>
        <p:nvSpPr>
          <p:cNvPr id="15" name="椭圆 14">
            <a:extLst>
              <a:ext uri="{FF2B5EF4-FFF2-40B4-BE49-F238E27FC236}">
                <a16:creationId xmlns:a16="http://schemas.microsoft.com/office/drawing/2014/main" id="{44C03649-BC0D-45B7-BC03-0520A9F41AC0}"/>
              </a:ext>
            </a:extLst>
          </p:cNvPr>
          <p:cNvSpPr/>
          <p:nvPr/>
        </p:nvSpPr>
        <p:spPr>
          <a:xfrm>
            <a:off x="6662738" y="5518150"/>
            <a:ext cx="74612" cy="76200"/>
          </a:xfrm>
          <a:prstGeom prst="ellipse">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sz="1400">
              <a:solidFill>
                <a:schemeClr val="bg1"/>
              </a:solidFill>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9227" name="矩形 15">
            <a:extLst>
              <a:ext uri="{FF2B5EF4-FFF2-40B4-BE49-F238E27FC236}">
                <a16:creationId xmlns:a16="http://schemas.microsoft.com/office/drawing/2014/main" id="{4949ACE8-CA57-43B2-BA42-8B85366D8275}"/>
              </a:ext>
            </a:extLst>
          </p:cNvPr>
          <p:cNvSpPr>
            <a:spLocks noChangeArrowheads="1"/>
          </p:cNvSpPr>
          <p:nvPr/>
        </p:nvSpPr>
        <p:spPr bwMode="auto">
          <a:xfrm>
            <a:off x="6756399" y="5680075"/>
            <a:ext cx="4092893" cy="30480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none">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r>
              <a:rPr altLang="zh-CN" lang="en-US" sz="1400">
                <a:solidFill>
                  <a:schemeClr val="bg1"/>
                </a:solidFill>
                <a:latin charset="-122" panose="020b0400000000000000" pitchFamily="34" typeface="思源黑体"/>
                <a:ea charset="-122" panose="020b0400000000000000" pitchFamily="34" typeface="思源黑体"/>
                <a:sym charset="-122" panose="020b0400000000000000" pitchFamily="34" typeface="思源黑体"/>
              </a:rPr>
              <a:t>Mauris blandit aliquet elit, eget tincidunt nibh</a:t>
            </a:r>
          </a:p>
        </p:txBody>
      </p:sp>
      <p:sp>
        <p:nvSpPr>
          <p:cNvPr id="17" name="椭圆 16">
            <a:extLst>
              <a:ext uri="{FF2B5EF4-FFF2-40B4-BE49-F238E27FC236}">
                <a16:creationId xmlns:a16="http://schemas.microsoft.com/office/drawing/2014/main" id="{6B31BC36-F8EB-48F2-8C5D-48141FB29056}"/>
              </a:ext>
            </a:extLst>
          </p:cNvPr>
          <p:cNvSpPr/>
          <p:nvPr/>
        </p:nvSpPr>
        <p:spPr>
          <a:xfrm>
            <a:off x="6662738" y="5799138"/>
            <a:ext cx="74612" cy="76200"/>
          </a:xfrm>
          <a:prstGeom prst="ellipse">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sz="1400">
              <a:solidFill>
                <a:schemeClr val="bg1"/>
              </a:solidFill>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8" name="椭圆 17">
            <a:extLst>
              <a:ext uri="{FF2B5EF4-FFF2-40B4-BE49-F238E27FC236}">
                <a16:creationId xmlns:a16="http://schemas.microsoft.com/office/drawing/2014/main" id="{AD7D14D8-EE07-425C-B462-3240D45833B1}"/>
              </a:ext>
            </a:extLst>
          </p:cNvPr>
          <p:cNvSpPr>
            <a:spLocks noChangeAspect="1"/>
          </p:cNvSpPr>
          <p:nvPr/>
        </p:nvSpPr>
        <p:spPr>
          <a:xfrm>
            <a:off x="6462713" y="3036888"/>
            <a:ext cx="1260475" cy="1260475"/>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solidFill>
                <a:schemeClr val="bg1"/>
              </a:solidFill>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9" name="椭圆 18">
            <a:extLst>
              <a:ext uri="{FF2B5EF4-FFF2-40B4-BE49-F238E27FC236}">
                <a16:creationId xmlns:a16="http://schemas.microsoft.com/office/drawing/2014/main" id="{420CAAEB-C3CE-4E48-AB10-94CA006D97AC}"/>
              </a:ext>
            </a:extLst>
          </p:cNvPr>
          <p:cNvSpPr>
            <a:spLocks noChangeAspect="1"/>
          </p:cNvSpPr>
          <p:nvPr/>
        </p:nvSpPr>
        <p:spPr>
          <a:xfrm>
            <a:off x="8237538" y="3036888"/>
            <a:ext cx="1260475" cy="1260475"/>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solidFill>
                <a:schemeClr val="bg1"/>
              </a:solidFill>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20" name="椭圆 19">
            <a:extLst>
              <a:ext uri="{FF2B5EF4-FFF2-40B4-BE49-F238E27FC236}">
                <a16:creationId xmlns:a16="http://schemas.microsoft.com/office/drawing/2014/main" id="{37BB7EEC-56A8-4325-89C5-68E6B583C89B}"/>
              </a:ext>
            </a:extLst>
          </p:cNvPr>
          <p:cNvSpPr>
            <a:spLocks noChangeAspect="1"/>
          </p:cNvSpPr>
          <p:nvPr/>
        </p:nvSpPr>
        <p:spPr>
          <a:xfrm>
            <a:off x="10039350" y="3036888"/>
            <a:ext cx="1260475" cy="1260475"/>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solidFill>
                <a:schemeClr val="bg1"/>
              </a:solidFill>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9232" name="矩形 20">
            <a:extLst>
              <a:ext uri="{FF2B5EF4-FFF2-40B4-BE49-F238E27FC236}">
                <a16:creationId xmlns:a16="http://schemas.microsoft.com/office/drawing/2014/main" id="{27A95BCA-4DB6-4FE9-AE67-3EC5897E7087}"/>
              </a:ext>
            </a:extLst>
          </p:cNvPr>
          <p:cNvSpPr>
            <a:spLocks noChangeArrowheads="1"/>
          </p:cNvSpPr>
          <p:nvPr/>
        </p:nvSpPr>
        <p:spPr bwMode="auto">
          <a:xfrm>
            <a:off x="6563361" y="3519488"/>
            <a:ext cx="1102042" cy="30480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none">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algn="ctr" eaLnBrk="1" hangingPunct="1"/>
            <a:r>
              <a:rPr altLang="zh-CN" lang="en-US" sz="1400">
                <a:solidFill>
                  <a:schemeClr val="bg1"/>
                </a:solidFill>
                <a:latin charset="-122" panose="020b0400000000000000" pitchFamily="34" typeface="思源黑体"/>
                <a:ea charset="-122" panose="020b0400000000000000" pitchFamily="34" typeface="思源黑体"/>
                <a:sym charset="-122" panose="020b0400000000000000" pitchFamily="34" typeface="思源黑体"/>
              </a:rPr>
              <a:t>TEXT HERE</a:t>
            </a:r>
          </a:p>
        </p:txBody>
      </p:sp>
      <p:sp>
        <p:nvSpPr>
          <p:cNvPr id="9233" name="矩形 21">
            <a:extLst>
              <a:ext uri="{FF2B5EF4-FFF2-40B4-BE49-F238E27FC236}">
                <a16:creationId xmlns:a16="http://schemas.microsoft.com/office/drawing/2014/main" id="{9E75D906-4F2A-4B75-B662-8E0F1211962B}"/>
              </a:ext>
            </a:extLst>
          </p:cNvPr>
          <p:cNvSpPr>
            <a:spLocks noChangeArrowheads="1"/>
          </p:cNvSpPr>
          <p:nvPr/>
        </p:nvSpPr>
        <p:spPr bwMode="auto">
          <a:xfrm>
            <a:off x="8338186" y="3519488"/>
            <a:ext cx="1102042" cy="30480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none">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algn="ctr" eaLnBrk="1" hangingPunct="1"/>
            <a:r>
              <a:rPr altLang="zh-CN" lang="en-US" sz="1400">
                <a:solidFill>
                  <a:schemeClr val="bg1"/>
                </a:solidFill>
                <a:latin charset="-122" panose="020b0400000000000000" pitchFamily="34" typeface="思源黑体"/>
                <a:ea charset="-122" panose="020b0400000000000000" pitchFamily="34" typeface="思源黑体"/>
                <a:sym charset="-122" panose="020b0400000000000000" pitchFamily="34" typeface="思源黑体"/>
              </a:rPr>
              <a:t>TEXT HERE</a:t>
            </a:r>
          </a:p>
        </p:txBody>
      </p:sp>
      <p:sp>
        <p:nvSpPr>
          <p:cNvPr id="9234" name="矩形 22">
            <a:extLst>
              <a:ext uri="{FF2B5EF4-FFF2-40B4-BE49-F238E27FC236}">
                <a16:creationId xmlns:a16="http://schemas.microsoft.com/office/drawing/2014/main" id="{3315A41E-5CCB-4C9D-8ACF-9D182782CD68}"/>
              </a:ext>
            </a:extLst>
          </p:cNvPr>
          <p:cNvSpPr>
            <a:spLocks noChangeArrowheads="1"/>
          </p:cNvSpPr>
          <p:nvPr/>
        </p:nvSpPr>
        <p:spPr bwMode="auto">
          <a:xfrm>
            <a:off x="10139204" y="3519488"/>
            <a:ext cx="1102042" cy="30480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none">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algn="ctr" eaLnBrk="1" hangingPunct="1"/>
            <a:r>
              <a:rPr altLang="zh-CN" lang="en-US" sz="1400">
                <a:solidFill>
                  <a:schemeClr val="bg1"/>
                </a:solidFill>
                <a:latin charset="-122" panose="020b0400000000000000" pitchFamily="34" typeface="思源黑体"/>
                <a:ea charset="-122" panose="020b0400000000000000" pitchFamily="34" typeface="思源黑体"/>
                <a:sym charset="-122" panose="020b0400000000000000" pitchFamily="34" typeface="思源黑体"/>
              </a:rPr>
              <a:t>TEXT HERE</a:t>
            </a:r>
          </a:p>
        </p:txBody>
      </p:sp>
      <p:grpSp>
        <p:nvGrpSpPr>
          <p:cNvPr id="24" name="组合 23">
            <a:extLst>
              <a:ext uri="{FF2B5EF4-FFF2-40B4-BE49-F238E27FC236}">
                <a16:creationId xmlns:a16="http://schemas.microsoft.com/office/drawing/2014/main" id="{EABC0E23-23C4-4B3A-B03B-5DE8888F9360}"/>
              </a:ext>
            </a:extLst>
          </p:cNvPr>
          <p:cNvGrpSpPr/>
          <p:nvPr/>
        </p:nvGrpSpPr>
        <p:grpSpPr>
          <a:xfrm>
            <a:off x="1208876" y="369288"/>
            <a:ext cx="7658100" cy="735806"/>
            <a:chOff x="1208876" y="369288"/>
            <a:chExt cx="7658100" cy="735806"/>
          </a:xfrm>
        </p:grpSpPr>
        <p:sp>
          <p:nvSpPr>
            <p:cNvPr id="25" name="文本框 24">
              <a:extLst>
                <a:ext uri="{FF2B5EF4-FFF2-40B4-BE49-F238E27FC236}">
                  <a16:creationId xmlns:a16="http://schemas.microsoft.com/office/drawing/2014/main" id="{7A43BA89-DEA7-4B43-AEFA-5771C73327EF}"/>
                </a:ext>
              </a:extLst>
            </p:cNvPr>
            <p:cNvSpPr txBox="1"/>
            <p:nvPr/>
          </p:nvSpPr>
          <p:spPr>
            <a:xfrm>
              <a:off x="1208876" y="369288"/>
              <a:ext cx="7658100" cy="457200"/>
            </a:xfrm>
            <a:prstGeom prst="rect">
              <a:avLst/>
            </a:prstGeom>
            <a:noFill/>
          </p:spPr>
          <p:txBody>
            <a:bodyPr rtlCol="0" wrap="square">
              <a:spAutoFit/>
            </a:bodyPr>
            <a:lstStyle/>
            <a:p>
              <a:r>
                <a:rPr altLang="en-US" lang="zh-CN" sz="2400">
                  <a:gradFill>
                    <a:gsLst>
                      <a:gs pos="885">
                        <a:schemeClr val="accent1">
                          <a:alpha val="10000"/>
                        </a:schemeClr>
                      </a:gs>
                      <a:gs pos="75000">
                        <a:schemeClr val="accent1">
                          <a:alpha val="73000"/>
                        </a:schemeClr>
                      </a:gs>
                    </a:gsLst>
                    <a:lin ang="5400000" scaled="1"/>
                  </a:gradFill>
                  <a:latin charset="-122" panose="020b0400000000000000" pitchFamily="34" typeface="思源黑体"/>
                  <a:ea charset="-122" panose="020b0400000000000000" pitchFamily="34" typeface="思源黑体"/>
                  <a:sym charset="-122" panose="020b0400000000000000" pitchFamily="34" typeface="思源黑体"/>
                </a:rPr>
                <a:t>在此输入标题内容</a:t>
              </a:r>
            </a:p>
          </p:txBody>
        </p:sp>
        <p:sp>
          <p:nvSpPr>
            <p:cNvPr id="26" name="文本框 25">
              <a:extLst>
                <a:ext uri="{FF2B5EF4-FFF2-40B4-BE49-F238E27FC236}">
                  <a16:creationId xmlns:a16="http://schemas.microsoft.com/office/drawing/2014/main" id="{329720BC-EE3C-4546-9BB3-88733A41BE63}"/>
                </a:ext>
              </a:extLst>
            </p:cNvPr>
            <p:cNvSpPr txBox="1"/>
            <p:nvPr/>
          </p:nvSpPr>
          <p:spPr>
            <a:xfrm>
              <a:off x="1208876" y="797317"/>
              <a:ext cx="7658100" cy="304800"/>
            </a:xfrm>
            <a:prstGeom prst="rect">
              <a:avLst/>
            </a:prstGeom>
            <a:noFill/>
          </p:spPr>
          <p:txBody>
            <a:bodyPr rtlCol="0" wrap="square">
              <a:spAutoFit/>
            </a:bodyPr>
            <a:lstStyle/>
            <a:p>
              <a:r>
                <a:rPr altLang="zh-CN" lang="en-US" sz="1400">
                  <a:solidFill>
                    <a:schemeClr val="bg2"/>
                  </a:solidFill>
                  <a:latin charset="-122" panose="020b0400000000000000" pitchFamily="34" typeface="思源黑体"/>
                  <a:ea charset="-122" panose="020b0400000000000000" pitchFamily="34" typeface="思源黑体"/>
                  <a:sym charset="-122" panose="020b0400000000000000" pitchFamily="34" typeface="思源黑体"/>
                </a:rPr>
                <a:t>Use "Title Only" Layout</a:t>
              </a:r>
            </a:p>
          </p:txBody>
        </p:sp>
      </p:grpSp>
      <p:grpSp>
        <p:nvGrpSpPr>
          <p:cNvPr id="27" name="组合 26">
            <a:extLst>
              <a:ext uri="{FF2B5EF4-FFF2-40B4-BE49-F238E27FC236}">
                <a16:creationId xmlns:a16="http://schemas.microsoft.com/office/drawing/2014/main" id="{EE873AED-2054-40FB-9CC4-6B54D6D3C9FC}"/>
              </a:ext>
            </a:extLst>
          </p:cNvPr>
          <p:cNvGrpSpPr/>
          <p:nvPr/>
        </p:nvGrpSpPr>
        <p:grpSpPr>
          <a:xfrm>
            <a:off x="538226" y="153800"/>
            <a:ext cx="811275" cy="1299746"/>
            <a:chOff x="538226" y="153800"/>
            <a:chExt cx="811275" cy="1299746"/>
          </a:xfrm>
        </p:grpSpPr>
        <p:sp>
          <p:nvSpPr>
            <p:cNvPr id="28" name="文本框 27">
              <a:extLst>
                <a:ext uri="{FF2B5EF4-FFF2-40B4-BE49-F238E27FC236}">
                  <a16:creationId xmlns:a16="http://schemas.microsoft.com/office/drawing/2014/main" id="{A21E29B6-946E-4368-8D44-D6661BCEA5FC}"/>
                </a:ext>
              </a:extLst>
            </p:cNvPr>
            <p:cNvSpPr txBox="1"/>
            <p:nvPr/>
          </p:nvSpPr>
          <p:spPr>
            <a:xfrm>
              <a:off x="538226" y="153800"/>
              <a:ext cx="567647" cy="1097280"/>
            </a:xfrm>
            <a:prstGeom prst="rect">
              <a:avLst/>
            </a:prstGeom>
            <a:noFill/>
          </p:spPr>
          <p:txBody>
            <a:bodyPr rtlCol="0" wrap="square">
              <a:spAutoFit/>
            </a:bodyPr>
            <a:lstStyle>
              <a:defPPr>
                <a:defRPr lang="en-US"/>
              </a:defPPr>
              <a:lvl1pPr>
                <a:defRPr sz="8000">
                  <a:gradFill>
                    <a:gsLst>
                      <a:gs pos="36000">
                        <a:schemeClr val="bg1"/>
                      </a:gs>
                      <a:gs pos="100000">
                        <a:schemeClr val="tx1">
                          <a:lumMod val="50000"/>
                          <a:lumOff val="50000"/>
                        </a:schemeClr>
                      </a:gs>
                    </a:gsLst>
                    <a:lin ang="5400000" scaled="1"/>
                  </a:gradFill>
                  <a:latin charset="-122" panose="00000500000000000000" pitchFamily="2" typeface="字魂5号-无外润黑体"/>
                  <a:ea charset="-122" panose="00000500000000000000" pitchFamily="2" typeface="字魂5号-无外润黑体"/>
                </a:defRPr>
              </a:lvl1pPr>
            </a:lstStyle>
            <a:p>
              <a:r>
                <a:rPr altLang="zh-CN" lang="en-US" sz="6600">
                  <a:gradFill>
                    <a:gsLst>
                      <a:gs pos="36000">
                        <a:schemeClr val="bg1"/>
                      </a:gs>
                      <a:gs pos="70000">
                        <a:schemeClr val="tx1">
                          <a:lumMod val="50000"/>
                          <a:lumOff val="50000"/>
                          <a:alpha val="0"/>
                        </a:schemeClr>
                      </a:gs>
                    </a:gsLst>
                    <a:lin ang="5400000" scaled="1"/>
                  </a:gradFill>
                  <a:latin charset="-122" panose="020b0300000000000000" pitchFamily="34" typeface="思源黑体 CN Light"/>
                  <a:ea charset="-122" panose="00000500000000000000" pitchFamily="2" typeface="字魂54号-贤黑"/>
                  <a:sym charset="-122" panose="020b0400000000000000" pitchFamily="34" typeface="思源黑体"/>
                </a:rPr>
                <a:t>1</a:t>
              </a:r>
            </a:p>
          </p:txBody>
        </p:sp>
        <p:grpSp>
          <p:nvGrpSpPr>
            <p:cNvPr id="29" name="组合 28">
              <a:extLst>
                <a:ext uri="{FF2B5EF4-FFF2-40B4-BE49-F238E27FC236}">
                  <a16:creationId xmlns:a16="http://schemas.microsoft.com/office/drawing/2014/main" id="{5C7A9A39-DD19-4C17-BA0D-6E47D2FD4913}"/>
                </a:ext>
              </a:extLst>
            </p:cNvPr>
            <p:cNvGrpSpPr/>
            <p:nvPr/>
          </p:nvGrpSpPr>
          <p:grpSpPr>
            <a:xfrm rot="1279383">
              <a:off x="538418" y="260428"/>
              <a:ext cx="811083" cy="1193118"/>
              <a:chOff x="5326021" y="1359499"/>
              <a:chExt cx="2273644" cy="3344573"/>
            </a:xfrm>
          </p:grpSpPr>
          <p:cxnSp>
            <p:nvCxnSpPr>
              <p:cNvPr id="30" name="直接连接符 29">
                <a:extLst>
                  <a:ext uri="{FF2B5EF4-FFF2-40B4-BE49-F238E27FC236}">
                    <a16:creationId xmlns:a16="http://schemas.microsoft.com/office/drawing/2014/main" id="{F5E7C18F-2AEE-40DF-ADE0-EE9C89D9BD72}"/>
                  </a:ext>
                </a:extLst>
              </p:cNvPr>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1" name="任意多边形: 形状 30">
                <a:extLst>
                  <a:ext uri="{FF2B5EF4-FFF2-40B4-BE49-F238E27FC236}">
                    <a16:creationId xmlns:a16="http://schemas.microsoft.com/office/drawing/2014/main" id="{C7FDF718-D3DA-4B37-8FF8-20C91F60524D}"/>
                  </a:ext>
                </a:extLst>
              </p:cNvPr>
              <p:cNvSpPr/>
              <p:nvPr/>
            </p:nvSpPr>
            <p:spPr>
              <a:xfrm rot="2008142">
                <a:off x="5326021" y="3632692"/>
                <a:ext cx="319543" cy="1071380"/>
              </a:xfrm>
              <a:custGeom>
                <a:gdLst>
                  <a:gd fmla="*/ 278285 w 319543" name="connsiteX0"/>
                  <a:gd fmla="*/ 0 h 1071380" name="connsiteY0"/>
                  <a:gd fmla="*/ 319543 w 319543" name="connsiteX1"/>
                  <a:gd fmla="*/ 0 h 1071380" name="connsiteY1"/>
                  <a:gd fmla="*/ 319543 w 319543" name="connsiteX2"/>
                  <a:gd fmla="*/ 601405 h 1071380" name="connsiteY2"/>
                  <a:gd fmla="*/ 0 w 319543" name="connsiteX3"/>
                  <a:gd fmla="*/ 1071380 h 1071380" name="connsiteY3"/>
                  <a:gd fmla="*/ 0 w 319543" name="connsiteX4"/>
                  <a:gd fmla="*/ 409295 h 1071380"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1071380" w="319543">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400"/>
              </a:p>
            </p:txBody>
          </p:sp>
        </p:grpSp>
      </p:grpSp>
    </p:spTree>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afterEffect" presetClass="entr" presetID="10" presetSubtype="0">
                                  <p:stCondLst>
                                    <p:cond delay="0"/>
                                  </p:stCondLst>
                                  <p:childTnLst>
                                    <p:set>
                                      <p:cBhvr>
                                        <p:cTn dur="1" fill="hold" id="6">
                                          <p:stCondLst>
                                            <p:cond delay="0"/>
                                          </p:stCondLst>
                                        </p:cTn>
                                        <p:tgtEl>
                                          <p:spTgt spid="5"/>
                                        </p:tgtEl>
                                        <p:attrNameLst>
                                          <p:attrName>style.visibility</p:attrName>
                                        </p:attrNameLst>
                                      </p:cBhvr>
                                      <p:to>
                                        <p:strVal val="visible"/>
                                      </p:to>
                                    </p:set>
                                    <p:animEffect filter="fade" transition="in">
                                      <p:cBhvr>
                                        <p:cTn dur="500" id="7"/>
                                        <p:tgtEl>
                                          <p:spTgt spid="5"/>
                                        </p:tgtEl>
                                      </p:cBhvr>
                                    </p:animEffect>
                                  </p:childTnLst>
                                </p:cTn>
                              </p:par>
                            </p:childTnLst>
                          </p:cTn>
                        </p:par>
                        <p:par>
                          <p:cTn fill="hold" id="8" nodeType="afterGroup">
                            <p:stCondLst>
                              <p:cond delay="500"/>
                            </p:stCondLst>
                            <p:childTnLst>
                              <p:par>
                                <p:cTn fill="hold" grpId="0" id="9" nodeType="afterEffect" presetClass="entr" presetID="10" presetSubtype="0">
                                  <p:stCondLst>
                                    <p:cond delay="0"/>
                                  </p:stCondLst>
                                  <p:childTnLst>
                                    <p:set>
                                      <p:cBhvr>
                                        <p:cTn dur="1" fill="hold" id="10">
                                          <p:stCondLst>
                                            <p:cond delay="0"/>
                                          </p:stCondLst>
                                        </p:cTn>
                                        <p:tgtEl>
                                          <p:spTgt spid="9220"/>
                                        </p:tgtEl>
                                        <p:attrNameLst>
                                          <p:attrName>style.visibility</p:attrName>
                                        </p:attrNameLst>
                                      </p:cBhvr>
                                      <p:to>
                                        <p:strVal val="visible"/>
                                      </p:to>
                                    </p:set>
                                    <p:animEffect filter="fade" transition="in">
                                      <p:cBhvr>
                                        <p:cTn dur="500" id="11"/>
                                        <p:tgtEl>
                                          <p:spTgt spid="9220"/>
                                        </p:tgtEl>
                                      </p:cBhvr>
                                    </p:animEffect>
                                  </p:childTnLst>
                                </p:cTn>
                              </p:par>
                            </p:childTnLst>
                          </p:cTn>
                        </p:par>
                        <p:par>
                          <p:cTn fill="hold" id="12" nodeType="afterGroup">
                            <p:stCondLst>
                              <p:cond delay="1000"/>
                            </p:stCondLst>
                            <p:childTnLst>
                              <p:par>
                                <p:cTn fill="hold" grpId="0" id="13" nodeType="afterEffect" presetClass="entr" presetID="10" presetSubtype="0">
                                  <p:stCondLst>
                                    <p:cond delay="0"/>
                                  </p:stCondLst>
                                  <p:childTnLst>
                                    <p:set>
                                      <p:cBhvr>
                                        <p:cTn dur="1" fill="hold" id="14">
                                          <p:stCondLst>
                                            <p:cond delay="0"/>
                                          </p:stCondLst>
                                        </p:cTn>
                                        <p:tgtEl>
                                          <p:spTgt spid="9221"/>
                                        </p:tgtEl>
                                        <p:attrNameLst>
                                          <p:attrName>style.visibility</p:attrName>
                                        </p:attrNameLst>
                                      </p:cBhvr>
                                      <p:to>
                                        <p:strVal val="visible"/>
                                      </p:to>
                                    </p:set>
                                    <p:animEffect filter="fade" transition="in">
                                      <p:cBhvr>
                                        <p:cTn dur="500" id="15"/>
                                        <p:tgtEl>
                                          <p:spTgt spid="9221"/>
                                        </p:tgtEl>
                                      </p:cBhvr>
                                    </p:animEffect>
                                  </p:childTnLst>
                                </p:cTn>
                              </p:par>
                            </p:childTnLst>
                          </p:cTn>
                        </p:par>
                        <p:par>
                          <p:cTn fill="hold" id="16" nodeType="afterGroup">
                            <p:stCondLst>
                              <p:cond delay="1500"/>
                            </p:stCondLst>
                            <p:childTnLst>
                              <p:par>
                                <p:cTn fill="hold" grpId="0" id="17" nodeType="afterEffect" presetClass="entr" presetID="10" presetSubtype="0">
                                  <p:stCondLst>
                                    <p:cond delay="0"/>
                                  </p:stCondLst>
                                  <p:childTnLst>
                                    <p:set>
                                      <p:cBhvr>
                                        <p:cTn dur="1" fill="hold" id="18">
                                          <p:stCondLst>
                                            <p:cond delay="0"/>
                                          </p:stCondLst>
                                        </p:cTn>
                                        <p:tgtEl>
                                          <p:spTgt spid="11"/>
                                        </p:tgtEl>
                                        <p:attrNameLst>
                                          <p:attrName>style.visibility</p:attrName>
                                        </p:attrNameLst>
                                      </p:cBhvr>
                                      <p:to>
                                        <p:strVal val="visible"/>
                                      </p:to>
                                    </p:set>
                                    <p:animEffect filter="fade" transition="in">
                                      <p:cBhvr>
                                        <p:cTn dur="500" id="19"/>
                                        <p:tgtEl>
                                          <p:spTgt spid="11"/>
                                        </p:tgtEl>
                                      </p:cBhvr>
                                    </p:animEffect>
                                  </p:childTnLst>
                                </p:cTn>
                              </p:par>
                            </p:childTnLst>
                          </p:cTn>
                        </p:par>
                        <p:par>
                          <p:cTn fill="hold" id="20" nodeType="afterGroup">
                            <p:stCondLst>
                              <p:cond delay="2000"/>
                            </p:stCondLst>
                            <p:childTnLst>
                              <p:par>
                                <p:cTn fill="hold" grpId="0" id="21" nodeType="afterEffect" presetClass="entr" presetID="10" presetSubtype="0">
                                  <p:stCondLst>
                                    <p:cond delay="0"/>
                                  </p:stCondLst>
                                  <p:childTnLst>
                                    <p:set>
                                      <p:cBhvr>
                                        <p:cTn dur="1" fill="hold" id="22">
                                          <p:stCondLst>
                                            <p:cond delay="0"/>
                                          </p:stCondLst>
                                        </p:cTn>
                                        <p:tgtEl>
                                          <p:spTgt spid="9223"/>
                                        </p:tgtEl>
                                        <p:attrNameLst>
                                          <p:attrName>style.visibility</p:attrName>
                                        </p:attrNameLst>
                                      </p:cBhvr>
                                      <p:to>
                                        <p:strVal val="visible"/>
                                      </p:to>
                                    </p:set>
                                    <p:animEffect filter="fade" transition="in">
                                      <p:cBhvr>
                                        <p:cTn dur="500" id="23"/>
                                        <p:tgtEl>
                                          <p:spTgt spid="9223"/>
                                        </p:tgtEl>
                                      </p:cBhvr>
                                    </p:animEffect>
                                  </p:childTnLst>
                                </p:cTn>
                              </p:par>
                            </p:childTnLst>
                          </p:cTn>
                        </p:par>
                        <p:par>
                          <p:cTn fill="hold" id="24" nodeType="afterGroup">
                            <p:stCondLst>
                              <p:cond delay="2500"/>
                            </p:stCondLst>
                            <p:childTnLst>
                              <p:par>
                                <p:cTn fill="hold" grpId="0" id="25" nodeType="afterEffect" presetClass="entr" presetID="10" presetSubtype="0">
                                  <p:stCondLst>
                                    <p:cond delay="0"/>
                                  </p:stCondLst>
                                  <p:childTnLst>
                                    <p:set>
                                      <p:cBhvr>
                                        <p:cTn dur="1" fill="hold" id="26">
                                          <p:stCondLst>
                                            <p:cond delay="0"/>
                                          </p:stCondLst>
                                        </p:cTn>
                                        <p:tgtEl>
                                          <p:spTgt spid="13"/>
                                        </p:tgtEl>
                                        <p:attrNameLst>
                                          <p:attrName>style.visibility</p:attrName>
                                        </p:attrNameLst>
                                      </p:cBhvr>
                                      <p:to>
                                        <p:strVal val="visible"/>
                                      </p:to>
                                    </p:set>
                                    <p:animEffect filter="fade" transition="in">
                                      <p:cBhvr>
                                        <p:cTn dur="500" id="27"/>
                                        <p:tgtEl>
                                          <p:spTgt spid="13"/>
                                        </p:tgtEl>
                                      </p:cBhvr>
                                    </p:animEffect>
                                  </p:childTnLst>
                                </p:cTn>
                              </p:par>
                            </p:childTnLst>
                          </p:cTn>
                        </p:par>
                        <p:par>
                          <p:cTn fill="hold" id="28" nodeType="afterGroup">
                            <p:stCondLst>
                              <p:cond delay="3000"/>
                            </p:stCondLst>
                            <p:childTnLst>
                              <p:par>
                                <p:cTn fill="hold" grpId="0" id="29" nodeType="afterEffect" presetClass="entr" presetID="10" presetSubtype="0">
                                  <p:stCondLst>
                                    <p:cond delay="0"/>
                                  </p:stCondLst>
                                  <p:childTnLst>
                                    <p:set>
                                      <p:cBhvr>
                                        <p:cTn dur="1" fill="hold" id="30">
                                          <p:stCondLst>
                                            <p:cond delay="0"/>
                                          </p:stCondLst>
                                        </p:cTn>
                                        <p:tgtEl>
                                          <p:spTgt spid="9225"/>
                                        </p:tgtEl>
                                        <p:attrNameLst>
                                          <p:attrName>style.visibility</p:attrName>
                                        </p:attrNameLst>
                                      </p:cBhvr>
                                      <p:to>
                                        <p:strVal val="visible"/>
                                      </p:to>
                                    </p:set>
                                    <p:animEffect filter="fade" transition="in">
                                      <p:cBhvr>
                                        <p:cTn dur="500" id="31"/>
                                        <p:tgtEl>
                                          <p:spTgt spid="9225"/>
                                        </p:tgtEl>
                                      </p:cBhvr>
                                    </p:animEffect>
                                  </p:childTnLst>
                                </p:cTn>
                              </p:par>
                            </p:childTnLst>
                          </p:cTn>
                        </p:par>
                        <p:par>
                          <p:cTn fill="hold" id="32" nodeType="afterGroup">
                            <p:stCondLst>
                              <p:cond delay="3500"/>
                            </p:stCondLst>
                            <p:childTnLst>
                              <p:par>
                                <p:cTn fill="hold" grpId="0" id="33" nodeType="afterEffect" presetClass="entr" presetID="10" presetSubtype="0">
                                  <p:stCondLst>
                                    <p:cond delay="0"/>
                                  </p:stCondLst>
                                  <p:childTnLst>
                                    <p:set>
                                      <p:cBhvr>
                                        <p:cTn dur="1" fill="hold" id="34">
                                          <p:stCondLst>
                                            <p:cond delay="0"/>
                                          </p:stCondLst>
                                        </p:cTn>
                                        <p:tgtEl>
                                          <p:spTgt spid="15"/>
                                        </p:tgtEl>
                                        <p:attrNameLst>
                                          <p:attrName>style.visibility</p:attrName>
                                        </p:attrNameLst>
                                      </p:cBhvr>
                                      <p:to>
                                        <p:strVal val="visible"/>
                                      </p:to>
                                    </p:set>
                                    <p:animEffect filter="fade" transition="in">
                                      <p:cBhvr>
                                        <p:cTn dur="500" id="35"/>
                                        <p:tgtEl>
                                          <p:spTgt spid="15"/>
                                        </p:tgtEl>
                                      </p:cBhvr>
                                    </p:animEffect>
                                  </p:childTnLst>
                                </p:cTn>
                              </p:par>
                            </p:childTnLst>
                          </p:cTn>
                        </p:par>
                        <p:par>
                          <p:cTn fill="hold" id="36" nodeType="afterGroup">
                            <p:stCondLst>
                              <p:cond delay="4000"/>
                            </p:stCondLst>
                            <p:childTnLst>
                              <p:par>
                                <p:cTn fill="hold" grpId="0" id="37" nodeType="afterEffect" presetClass="entr" presetID="10" presetSubtype="0">
                                  <p:stCondLst>
                                    <p:cond delay="0"/>
                                  </p:stCondLst>
                                  <p:childTnLst>
                                    <p:set>
                                      <p:cBhvr>
                                        <p:cTn dur="1" fill="hold" id="38">
                                          <p:stCondLst>
                                            <p:cond delay="0"/>
                                          </p:stCondLst>
                                        </p:cTn>
                                        <p:tgtEl>
                                          <p:spTgt spid="9227"/>
                                        </p:tgtEl>
                                        <p:attrNameLst>
                                          <p:attrName>style.visibility</p:attrName>
                                        </p:attrNameLst>
                                      </p:cBhvr>
                                      <p:to>
                                        <p:strVal val="visible"/>
                                      </p:to>
                                    </p:set>
                                    <p:animEffect filter="fade" transition="in">
                                      <p:cBhvr>
                                        <p:cTn dur="500" id="39"/>
                                        <p:tgtEl>
                                          <p:spTgt spid="9227"/>
                                        </p:tgtEl>
                                      </p:cBhvr>
                                    </p:animEffect>
                                  </p:childTnLst>
                                </p:cTn>
                              </p:par>
                            </p:childTnLst>
                          </p:cTn>
                        </p:par>
                        <p:par>
                          <p:cTn fill="hold" id="40" nodeType="afterGroup">
                            <p:stCondLst>
                              <p:cond delay="4500"/>
                            </p:stCondLst>
                            <p:childTnLst>
                              <p:par>
                                <p:cTn fill="hold" grpId="0" id="41" nodeType="afterEffect" presetClass="entr" presetID="10" presetSubtype="0">
                                  <p:stCondLst>
                                    <p:cond delay="0"/>
                                  </p:stCondLst>
                                  <p:childTnLst>
                                    <p:set>
                                      <p:cBhvr>
                                        <p:cTn dur="1" fill="hold" id="42">
                                          <p:stCondLst>
                                            <p:cond delay="0"/>
                                          </p:stCondLst>
                                        </p:cTn>
                                        <p:tgtEl>
                                          <p:spTgt spid="17"/>
                                        </p:tgtEl>
                                        <p:attrNameLst>
                                          <p:attrName>style.visibility</p:attrName>
                                        </p:attrNameLst>
                                      </p:cBhvr>
                                      <p:to>
                                        <p:strVal val="visible"/>
                                      </p:to>
                                    </p:set>
                                    <p:animEffect filter="fade" transition="in">
                                      <p:cBhvr>
                                        <p:cTn dur="500" id="43"/>
                                        <p:tgtEl>
                                          <p:spTgt spid="17"/>
                                        </p:tgtEl>
                                      </p:cBhvr>
                                    </p:animEffect>
                                  </p:childTnLst>
                                </p:cTn>
                              </p:par>
                            </p:childTnLst>
                          </p:cTn>
                        </p:par>
                        <p:par>
                          <p:cTn fill="hold" id="44" nodeType="afterGroup">
                            <p:stCondLst>
                              <p:cond delay="5000"/>
                            </p:stCondLst>
                            <p:childTnLst>
                              <p:par>
                                <p:cTn fill="hold" grpId="0" id="45" nodeType="afterEffect" presetClass="entr" presetID="10" presetSubtype="0">
                                  <p:stCondLst>
                                    <p:cond delay="0"/>
                                  </p:stCondLst>
                                  <p:childTnLst>
                                    <p:set>
                                      <p:cBhvr>
                                        <p:cTn dur="1" fill="hold" id="46">
                                          <p:stCondLst>
                                            <p:cond delay="0"/>
                                          </p:stCondLst>
                                        </p:cTn>
                                        <p:tgtEl>
                                          <p:spTgt spid="18"/>
                                        </p:tgtEl>
                                        <p:attrNameLst>
                                          <p:attrName>style.visibility</p:attrName>
                                        </p:attrNameLst>
                                      </p:cBhvr>
                                      <p:to>
                                        <p:strVal val="visible"/>
                                      </p:to>
                                    </p:set>
                                    <p:animEffect filter="fade" transition="in">
                                      <p:cBhvr>
                                        <p:cTn dur="500" id="47"/>
                                        <p:tgtEl>
                                          <p:spTgt spid="18"/>
                                        </p:tgtEl>
                                      </p:cBhvr>
                                    </p:animEffect>
                                  </p:childTnLst>
                                </p:cTn>
                              </p:par>
                            </p:childTnLst>
                          </p:cTn>
                        </p:par>
                        <p:par>
                          <p:cTn fill="hold" id="48" nodeType="afterGroup">
                            <p:stCondLst>
                              <p:cond delay="5500"/>
                            </p:stCondLst>
                            <p:childTnLst>
                              <p:par>
                                <p:cTn fill="hold" grpId="0" id="49" nodeType="afterEffect" presetClass="entr" presetID="10" presetSubtype="0">
                                  <p:stCondLst>
                                    <p:cond delay="0"/>
                                  </p:stCondLst>
                                  <p:childTnLst>
                                    <p:set>
                                      <p:cBhvr>
                                        <p:cTn dur="1" fill="hold" id="50">
                                          <p:stCondLst>
                                            <p:cond delay="0"/>
                                          </p:stCondLst>
                                        </p:cTn>
                                        <p:tgtEl>
                                          <p:spTgt spid="19"/>
                                        </p:tgtEl>
                                        <p:attrNameLst>
                                          <p:attrName>style.visibility</p:attrName>
                                        </p:attrNameLst>
                                      </p:cBhvr>
                                      <p:to>
                                        <p:strVal val="visible"/>
                                      </p:to>
                                    </p:set>
                                    <p:animEffect filter="fade" transition="in">
                                      <p:cBhvr>
                                        <p:cTn dur="500" id="51"/>
                                        <p:tgtEl>
                                          <p:spTgt spid="19"/>
                                        </p:tgtEl>
                                      </p:cBhvr>
                                    </p:animEffect>
                                  </p:childTnLst>
                                </p:cTn>
                              </p:par>
                            </p:childTnLst>
                          </p:cTn>
                        </p:par>
                        <p:par>
                          <p:cTn fill="hold" id="52" nodeType="afterGroup">
                            <p:stCondLst>
                              <p:cond delay="6000"/>
                            </p:stCondLst>
                            <p:childTnLst>
                              <p:par>
                                <p:cTn fill="hold" grpId="0" id="53" nodeType="afterEffect" presetClass="entr" presetID="10" presetSubtype="0">
                                  <p:stCondLst>
                                    <p:cond delay="0"/>
                                  </p:stCondLst>
                                  <p:childTnLst>
                                    <p:set>
                                      <p:cBhvr>
                                        <p:cTn dur="1" fill="hold" id="54">
                                          <p:stCondLst>
                                            <p:cond delay="0"/>
                                          </p:stCondLst>
                                        </p:cTn>
                                        <p:tgtEl>
                                          <p:spTgt spid="20"/>
                                        </p:tgtEl>
                                        <p:attrNameLst>
                                          <p:attrName>style.visibility</p:attrName>
                                        </p:attrNameLst>
                                      </p:cBhvr>
                                      <p:to>
                                        <p:strVal val="visible"/>
                                      </p:to>
                                    </p:set>
                                    <p:animEffect filter="fade" transition="in">
                                      <p:cBhvr>
                                        <p:cTn dur="500" id="55"/>
                                        <p:tgtEl>
                                          <p:spTgt spid="20"/>
                                        </p:tgtEl>
                                      </p:cBhvr>
                                    </p:animEffect>
                                  </p:childTnLst>
                                </p:cTn>
                              </p:par>
                            </p:childTnLst>
                          </p:cTn>
                        </p:par>
                        <p:par>
                          <p:cTn fill="hold" id="56" nodeType="afterGroup">
                            <p:stCondLst>
                              <p:cond delay="6500"/>
                            </p:stCondLst>
                            <p:childTnLst>
                              <p:par>
                                <p:cTn fill="hold" grpId="0" id="57" nodeType="afterEffect" presetClass="entr" presetID="10" presetSubtype="0">
                                  <p:stCondLst>
                                    <p:cond delay="0"/>
                                  </p:stCondLst>
                                  <p:childTnLst>
                                    <p:set>
                                      <p:cBhvr>
                                        <p:cTn dur="1" fill="hold" id="58">
                                          <p:stCondLst>
                                            <p:cond delay="0"/>
                                          </p:stCondLst>
                                        </p:cTn>
                                        <p:tgtEl>
                                          <p:spTgt spid="9232"/>
                                        </p:tgtEl>
                                        <p:attrNameLst>
                                          <p:attrName>style.visibility</p:attrName>
                                        </p:attrNameLst>
                                      </p:cBhvr>
                                      <p:to>
                                        <p:strVal val="visible"/>
                                      </p:to>
                                    </p:set>
                                    <p:animEffect filter="fade" transition="in">
                                      <p:cBhvr>
                                        <p:cTn dur="500" id="59"/>
                                        <p:tgtEl>
                                          <p:spTgt spid="9232"/>
                                        </p:tgtEl>
                                      </p:cBhvr>
                                    </p:animEffect>
                                  </p:childTnLst>
                                </p:cTn>
                              </p:par>
                            </p:childTnLst>
                          </p:cTn>
                        </p:par>
                        <p:par>
                          <p:cTn fill="hold" id="60" nodeType="afterGroup">
                            <p:stCondLst>
                              <p:cond delay="7000"/>
                            </p:stCondLst>
                            <p:childTnLst>
                              <p:par>
                                <p:cTn fill="hold" grpId="0" id="61" nodeType="afterEffect" presetClass="entr" presetID="10" presetSubtype="0">
                                  <p:stCondLst>
                                    <p:cond delay="0"/>
                                  </p:stCondLst>
                                  <p:childTnLst>
                                    <p:set>
                                      <p:cBhvr>
                                        <p:cTn dur="1" fill="hold" id="62">
                                          <p:stCondLst>
                                            <p:cond delay="0"/>
                                          </p:stCondLst>
                                        </p:cTn>
                                        <p:tgtEl>
                                          <p:spTgt spid="9233"/>
                                        </p:tgtEl>
                                        <p:attrNameLst>
                                          <p:attrName>style.visibility</p:attrName>
                                        </p:attrNameLst>
                                      </p:cBhvr>
                                      <p:to>
                                        <p:strVal val="visible"/>
                                      </p:to>
                                    </p:set>
                                    <p:animEffect filter="fade" transition="in">
                                      <p:cBhvr>
                                        <p:cTn dur="500" id="63"/>
                                        <p:tgtEl>
                                          <p:spTgt spid="9233"/>
                                        </p:tgtEl>
                                      </p:cBhvr>
                                    </p:animEffect>
                                  </p:childTnLst>
                                </p:cTn>
                              </p:par>
                            </p:childTnLst>
                          </p:cTn>
                        </p:par>
                        <p:par>
                          <p:cTn fill="hold" id="64" nodeType="afterGroup">
                            <p:stCondLst>
                              <p:cond delay="7500"/>
                            </p:stCondLst>
                            <p:childTnLst>
                              <p:par>
                                <p:cTn fill="hold" grpId="0" id="65" nodeType="afterEffect" presetClass="entr" presetID="10" presetSubtype="0">
                                  <p:stCondLst>
                                    <p:cond delay="0"/>
                                  </p:stCondLst>
                                  <p:childTnLst>
                                    <p:set>
                                      <p:cBhvr>
                                        <p:cTn dur="1" fill="hold" id="66">
                                          <p:stCondLst>
                                            <p:cond delay="0"/>
                                          </p:stCondLst>
                                        </p:cTn>
                                        <p:tgtEl>
                                          <p:spTgt spid="9234"/>
                                        </p:tgtEl>
                                        <p:attrNameLst>
                                          <p:attrName>style.visibility</p:attrName>
                                        </p:attrNameLst>
                                      </p:cBhvr>
                                      <p:to>
                                        <p:strVal val="visible"/>
                                      </p:to>
                                    </p:set>
                                    <p:animEffect filter="fade" transition="in">
                                      <p:cBhvr>
                                        <p:cTn dur="500" id="67"/>
                                        <p:tgtEl>
                                          <p:spTgt spid="9234"/>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5"/>
      <p:bldP grpId="0" spid="9220"/>
      <p:bldP grpId="0" spid="9221"/>
      <p:bldP grpId="0" spid="11"/>
      <p:bldP grpId="0" spid="9223"/>
      <p:bldP grpId="0" spid="13"/>
      <p:bldP grpId="0" spid="9225"/>
      <p:bldP grpId="0" spid="15"/>
      <p:bldP grpId="0" spid="9227"/>
      <p:bldP grpId="0" spid="17"/>
      <p:bldP grpId="0" spid="18"/>
      <p:bldP grpId="0" spid="19"/>
      <p:bldP grpId="0" spid="20"/>
      <p:bldP grpId="0" spid="9232"/>
      <p:bldP grpId="0" spid="9233"/>
      <p:bldP grpId="0" spid="9234"/>
    </p:bldLst>
  </p:timing>
</p:sld>
</file>

<file path=ppt/slides/slide6.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19459" name="组合 2">
            <a:extLst>
              <a:ext uri="{FF2B5EF4-FFF2-40B4-BE49-F238E27FC236}">
                <a16:creationId xmlns:a16="http://schemas.microsoft.com/office/drawing/2014/main" id="{0F1751A5-C8F0-4C87-AB01-DD6ED3B1FBC0}"/>
              </a:ext>
            </a:extLst>
          </p:cNvPr>
          <p:cNvGrpSpPr/>
          <p:nvPr/>
        </p:nvGrpSpPr>
        <p:grpSpPr>
          <a:xfrm>
            <a:off x="8634413" y="2009775"/>
            <a:ext cx="1519237" cy="1627188"/>
            <a:chOff x="8748568" y="2483589"/>
            <a:chExt cx="1519051" cy="1626520"/>
          </a:xfrm>
        </p:grpSpPr>
        <p:grpSp>
          <p:nvGrpSpPr>
            <p:cNvPr id="19479" name="组合 4">
              <a:extLst>
                <a:ext uri="{FF2B5EF4-FFF2-40B4-BE49-F238E27FC236}">
                  <a16:creationId xmlns:a16="http://schemas.microsoft.com/office/drawing/2014/main" id="{6828E071-89F5-4B20-B18E-5F56BF943370}"/>
                </a:ext>
              </a:extLst>
            </p:cNvPr>
            <p:cNvGrpSpPr/>
            <p:nvPr/>
          </p:nvGrpSpPr>
          <p:grpSpPr>
            <a:xfrm>
              <a:off x="8748568" y="2483589"/>
              <a:ext cx="1519051" cy="1626520"/>
              <a:chOff x="8748568" y="2483589"/>
              <a:chExt cx="1519051" cy="1626520"/>
            </a:xfrm>
          </p:grpSpPr>
          <p:sp>
            <p:nvSpPr>
              <p:cNvPr id="7" name="椭圆 6">
                <a:extLst>
                  <a:ext uri="{FF2B5EF4-FFF2-40B4-BE49-F238E27FC236}">
                    <a16:creationId xmlns:a16="http://schemas.microsoft.com/office/drawing/2014/main" id="{533F3B94-BC14-4B3D-854B-94B12C4AD33E}"/>
                  </a:ext>
                </a:extLst>
              </p:cNvPr>
              <p:cNvSpPr/>
              <p:nvPr/>
            </p:nvSpPr>
            <p:spPr>
              <a:xfrm>
                <a:off x="8748568" y="2605777"/>
                <a:ext cx="1412702" cy="1412295"/>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8" name="任意多边形 7">
                <a:extLst>
                  <a:ext uri="{FF2B5EF4-FFF2-40B4-BE49-F238E27FC236}">
                    <a16:creationId xmlns:a16="http://schemas.microsoft.com/office/drawing/2014/main" id="{E2EB11C2-5241-4E07-8F75-F4C62173DC6F}"/>
                  </a:ext>
                </a:extLst>
              </p:cNvPr>
              <p:cNvSpPr/>
              <p:nvPr/>
            </p:nvSpPr>
            <p:spPr>
              <a:xfrm rot="10375964">
                <a:off x="8888251" y="2483589"/>
                <a:ext cx="1379368" cy="1626520"/>
              </a:xfrm>
              <a:custGeom>
                <a:gdLst>
                  <a:gd fmla="*/ 627198 w 1212934" name="connsiteX0"/>
                  <a:gd fmla="*/ 1424857 h 1430189" name="connsiteY0"/>
                  <a:gd fmla="*/ 5507 w 1212934" name="connsiteX1"/>
                  <a:gd fmla="*/ 627200 h 1430189" name="connsiteY1"/>
                  <a:gd fmla="*/ 803164 w 1212934" name="connsiteX2"/>
                  <a:gd fmla="*/ 5508 h 1430189" name="connsiteY2"/>
                  <a:gd fmla="*/ 1184924 w 1212934" name="connsiteX3"/>
                  <a:gd fmla="*/ 175901 h 1430189" name="connsiteY3"/>
                  <a:gd fmla="*/ 1212934 w 1212934" name="connsiteX4"/>
                  <a:gd fmla="*/ 205513 h 1430189" name="connsiteY4"/>
                  <a:gd fmla="*/ 1099395 w 1212934" name="connsiteX5"/>
                  <a:gd fmla="*/ 319053 h 1430189" name="connsiteY5"/>
                  <a:gd fmla="*/ 1079006 w 1212934" name="connsiteX6"/>
                  <a:gd fmla="*/ 297498 h 1430189" name="connsiteY6"/>
                  <a:gd fmla="*/ 783327 w 1212934" name="connsiteX7"/>
                  <a:gd fmla="*/ 165526 h 1430189" name="connsiteY7"/>
                  <a:gd fmla="*/ 165525 w 1212934" name="connsiteX8"/>
                  <a:gd fmla="*/ 647038 h 1430189" name="connsiteY8"/>
                  <a:gd fmla="*/ 647038 w 1212934" name="connsiteX9"/>
                  <a:gd fmla="*/ 1264840 h 1430189" name="connsiteY9"/>
                  <a:gd fmla="*/ 729967 w 1212934" name="connsiteX10"/>
                  <a:gd fmla="*/ 1266736 h 1430189" name="connsiteY10"/>
                  <a:gd fmla="*/ 740780 w 1212934" name="connsiteX11"/>
                  <a:gd fmla="*/ 1429049 h 1430189" name="connsiteY11"/>
                  <a:gd fmla="*/ 700213 w 1212934" name="connsiteX12"/>
                  <a:gd fmla="*/ 1430189 h 1430189" name="connsiteY12"/>
                  <a:gd fmla="*/ 627198 w 1212934" name="connsiteX13"/>
                  <a:gd fmla="*/ 1424857 h 1430189" name="connsiteY1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b="b" l="l" r="r" t="t"/>
                <a:pathLst>
                  <a:path h="1430189" w="1212934">
                    <a:moveTo>
                      <a:pt x="627198" y="1424857"/>
                    </a:moveTo>
                    <a:cubicBezTo>
                      <a:pt x="235255" y="1376266"/>
                      <a:pt x="-43086" y="1019142"/>
                      <a:pt x="5507" y="627200"/>
                    </a:cubicBezTo>
                    <a:cubicBezTo>
                      <a:pt x="54097" y="235257"/>
                      <a:pt x="411222" y="-43084"/>
                      <a:pt x="803164" y="5508"/>
                    </a:cubicBezTo>
                    <a:cubicBezTo>
                      <a:pt x="950142" y="23730"/>
                      <a:pt x="1081145" y="85339"/>
                      <a:pt x="1184924" y="175901"/>
                    </a:cubicBezTo>
                    <a:lnTo>
                      <a:pt x="1212934" y="205513"/>
                    </a:lnTo>
                    <a:lnTo>
                      <a:pt x="1099395" y="319053"/>
                    </a:lnTo>
                    <a:lnTo>
                      <a:pt x="1079006" y="297498"/>
                    </a:lnTo>
                    <a:cubicBezTo>
                      <a:pt x="998629" y="227357"/>
                      <a:pt x="897164" y="179639"/>
                      <a:pt x="783327" y="165526"/>
                    </a:cubicBezTo>
                    <a:cubicBezTo>
                      <a:pt x="479759" y="127891"/>
                      <a:pt x="203160" y="343471"/>
                      <a:pt x="165525" y="647038"/>
                    </a:cubicBezTo>
                    <a:cubicBezTo>
                      <a:pt x="127889" y="950605"/>
                      <a:pt x="343470" y="1227205"/>
                      <a:pt x="647038" y="1264840"/>
                    </a:cubicBezTo>
                    <a:lnTo>
                      <a:pt x="729967" y="1266736"/>
                    </a:lnTo>
                    <a:lnTo>
                      <a:pt x="740780" y="1429049"/>
                    </a:lnTo>
                    <a:lnTo>
                      <a:pt x="700213" y="1430189"/>
                    </a:lnTo>
                    <a:cubicBezTo>
                      <a:pt x="676055" y="1429654"/>
                      <a:pt x="651694" y="1427894"/>
                      <a:pt x="627198" y="1424857"/>
                    </a:cubicBezTo>
                    <a:close/>
                  </a:path>
                </a:pathLst>
              </a:cu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grpSp>
        <p:sp>
          <p:nvSpPr>
            <p:cNvPr id="6" name="椭圆 5">
              <a:extLst>
                <a:ext uri="{FF2B5EF4-FFF2-40B4-BE49-F238E27FC236}">
                  <a16:creationId xmlns:a16="http://schemas.microsoft.com/office/drawing/2014/main" id="{6916B72B-E547-4C34-B6DE-D93ABE128D5F}"/>
                </a:ext>
              </a:extLst>
            </p:cNvPr>
            <p:cNvSpPr/>
            <p:nvPr/>
          </p:nvSpPr>
          <p:spPr>
            <a:xfrm>
              <a:off x="9099362" y="2956470"/>
              <a:ext cx="711113" cy="710908"/>
            </a:xfrm>
            <a:prstGeom prst="ellipse">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sz="1200">
                <a:latin charset="-122" panose="020b0400000000000000" pitchFamily="34" typeface="思源黑体"/>
                <a:ea charset="-122" panose="020b0400000000000000" pitchFamily="34" typeface="思源黑体"/>
                <a:sym charset="-122" panose="020b0400000000000000" pitchFamily="34" typeface="思源黑体"/>
              </a:endParaRPr>
            </a:p>
          </p:txBody>
        </p:sp>
      </p:grpSp>
      <p:grpSp>
        <p:nvGrpSpPr>
          <p:cNvPr id="19460" name="组合 8">
            <a:extLst>
              <a:ext uri="{FF2B5EF4-FFF2-40B4-BE49-F238E27FC236}">
                <a16:creationId xmlns:a16="http://schemas.microsoft.com/office/drawing/2014/main" id="{53373CCD-FDFD-403A-B0C2-173671A57F4C}"/>
              </a:ext>
            </a:extLst>
          </p:cNvPr>
          <p:cNvGrpSpPr/>
          <p:nvPr/>
        </p:nvGrpSpPr>
        <p:grpSpPr>
          <a:xfrm>
            <a:off x="5260975" y="2132013"/>
            <a:ext cx="1689100" cy="1416050"/>
            <a:chOff x="5430007" y="2631481"/>
            <a:chExt cx="1689627" cy="1416372"/>
          </a:xfrm>
        </p:grpSpPr>
        <p:grpSp>
          <p:nvGrpSpPr>
            <p:cNvPr id="19475" name="组合 9">
              <a:extLst>
                <a:ext uri="{FF2B5EF4-FFF2-40B4-BE49-F238E27FC236}">
                  <a16:creationId xmlns:a16="http://schemas.microsoft.com/office/drawing/2014/main" id="{95534452-86AF-4F3E-A998-B89E33CDE5AA}"/>
                </a:ext>
              </a:extLst>
            </p:cNvPr>
            <p:cNvGrpSpPr/>
            <p:nvPr/>
          </p:nvGrpSpPr>
          <p:grpSpPr>
            <a:xfrm>
              <a:off x="5430007" y="2631481"/>
              <a:ext cx="1689627" cy="1416372"/>
              <a:chOff x="5430007" y="2631481"/>
              <a:chExt cx="1689627" cy="1416372"/>
            </a:xfrm>
          </p:grpSpPr>
          <p:sp>
            <p:nvSpPr>
              <p:cNvPr id="12" name="椭圆 11">
                <a:extLst>
                  <a:ext uri="{FF2B5EF4-FFF2-40B4-BE49-F238E27FC236}">
                    <a16:creationId xmlns:a16="http://schemas.microsoft.com/office/drawing/2014/main" id="{3D815744-98EA-4D95-A939-66C0B022ED38}"/>
                  </a:ext>
                </a:extLst>
              </p:cNvPr>
              <p:cNvSpPr/>
              <p:nvPr/>
            </p:nvSpPr>
            <p:spPr>
              <a:xfrm>
                <a:off x="5430007" y="2634657"/>
                <a:ext cx="1413316" cy="1413196"/>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3" name="任意多边形 12">
                <a:extLst>
                  <a:ext uri="{FF2B5EF4-FFF2-40B4-BE49-F238E27FC236}">
                    <a16:creationId xmlns:a16="http://schemas.microsoft.com/office/drawing/2014/main" id="{2BADBDF8-30A5-47BC-92DF-7948F266EAC6}"/>
                  </a:ext>
                </a:extLst>
              </p:cNvPr>
              <p:cNvSpPr/>
              <p:nvPr/>
            </p:nvSpPr>
            <p:spPr>
              <a:xfrm rot="17740160">
                <a:off x="6089851" y="2330524"/>
                <a:ext cx="728828" cy="1330740"/>
              </a:xfrm>
              <a:custGeom>
                <a:gdLst>
                  <a:gd fmla="*/ 570587 w 641327" name="connsiteX0"/>
                  <a:gd fmla="*/ 154335 h 1169425" name="connsiteY0"/>
                  <a:gd fmla="*/ 235823 w 641327" name="connsiteX1"/>
                  <a:gd fmla="*/ 1108638 h 1169425" name="connsiteY1"/>
                  <a:gd fmla="*/ 99634 w 641327" name="connsiteX2"/>
                  <a:gd fmla="*/ 1157972 h 1169425" name="connsiteY2"/>
                  <a:gd fmla="*/ 22299 w 641327" name="connsiteX3"/>
                  <a:gd fmla="*/ 1169425 h 1169425" name="connsiteY3"/>
                  <a:gd fmla="*/ 0 w 641327" name="connsiteX4"/>
                  <a:gd fmla="*/ 1010476 h 1169425" name="connsiteY4"/>
                  <a:gd fmla="*/ 60494 w 641327" name="connsiteX5"/>
                  <a:gd fmla="*/ 1001517 h 1169425" name="connsiteY5"/>
                  <a:gd fmla="*/ 165975 w 641327" name="connsiteX6"/>
                  <a:gd fmla="*/ 963306 h 1169425" name="connsiteY6"/>
                  <a:gd fmla="*/ 425257 w 641327" name="connsiteX7"/>
                  <a:gd fmla="*/ 224181 h 1169425" name="connsiteY7"/>
                  <a:gd fmla="*/ 366762 w 641327" name="connsiteX8"/>
                  <a:gd fmla="*/ 128449 h 1169425" name="connsiteY8"/>
                  <a:gd fmla="*/ 352925 w 641327" name="connsiteX9"/>
                  <a:gd fmla="*/ 113565 h 1169425" name="connsiteY9"/>
                  <a:gd fmla="*/ 466490 w 641327" name="connsiteX10"/>
                  <a:gd fmla="*/ 0 h 1169425" name="connsiteY10"/>
                  <a:gd fmla="*/ 495064 w 641327" name="connsiteX11"/>
                  <a:gd fmla="*/ 30733 h 1169425" name="connsiteY11"/>
                  <a:gd fmla="*/ 570587 w 641327" name="connsiteX12"/>
                  <a:gd fmla="*/ 154335 h 1169425" name="connsiteY12"/>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b="b" l="l" r="r" t="t"/>
                <a:pathLst>
                  <a:path h="1169425" w="641327">
                    <a:moveTo>
                      <a:pt x="570587" y="154335"/>
                    </a:moveTo>
                    <a:cubicBezTo>
                      <a:pt x="741668" y="510302"/>
                      <a:pt x="591788" y="937556"/>
                      <a:pt x="235823" y="1108638"/>
                    </a:cubicBezTo>
                    <a:cubicBezTo>
                      <a:pt x="191327" y="1130022"/>
                      <a:pt x="145718" y="1146392"/>
                      <a:pt x="99634" y="1157972"/>
                    </a:cubicBezTo>
                    <a:lnTo>
                      <a:pt x="22299" y="1169425"/>
                    </a:lnTo>
                    <a:lnTo>
                      <a:pt x="0" y="1010476"/>
                    </a:lnTo>
                    <a:lnTo>
                      <a:pt x="60494" y="1001517"/>
                    </a:lnTo>
                    <a:cubicBezTo>
                      <a:pt x="96188" y="992550"/>
                      <a:pt x="131512" y="979869"/>
                      <a:pt x="165975" y="963306"/>
                    </a:cubicBezTo>
                    <a:cubicBezTo>
                      <a:pt x="441678" y="830801"/>
                      <a:pt x="557762" y="499883"/>
                      <a:pt x="425257" y="224181"/>
                    </a:cubicBezTo>
                    <a:cubicBezTo>
                      <a:pt x="408694" y="189719"/>
                      <a:pt x="389031" y="157750"/>
                      <a:pt x="366762" y="128449"/>
                    </a:cubicBezTo>
                    <a:lnTo>
                      <a:pt x="352925" y="113565"/>
                    </a:lnTo>
                    <a:lnTo>
                      <a:pt x="466490" y="0"/>
                    </a:lnTo>
                    <a:lnTo>
                      <a:pt x="495064" y="30733"/>
                    </a:lnTo>
                    <a:cubicBezTo>
                      <a:pt x="523815" y="68564"/>
                      <a:pt x="549202" y="109839"/>
                      <a:pt x="570587" y="154335"/>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grpSp>
        <p:sp>
          <p:nvSpPr>
            <p:cNvPr id="11" name="椭圆 10">
              <a:extLst>
                <a:ext uri="{FF2B5EF4-FFF2-40B4-BE49-F238E27FC236}">
                  <a16:creationId xmlns:a16="http://schemas.microsoft.com/office/drawing/2014/main" id="{1CC3D9CD-52EC-4906-A9BF-22F0DF540866}"/>
                </a:ext>
              </a:extLst>
            </p:cNvPr>
            <p:cNvSpPr/>
            <p:nvPr/>
          </p:nvSpPr>
          <p:spPr>
            <a:xfrm>
              <a:off x="5780954" y="2977635"/>
              <a:ext cx="711422" cy="7113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sz="1200">
                <a:latin charset="-122" panose="020b0400000000000000" pitchFamily="34" typeface="思源黑体"/>
                <a:ea charset="-122" panose="020b0400000000000000" pitchFamily="34" typeface="思源黑体"/>
                <a:sym charset="-122" panose="020b0400000000000000" pitchFamily="34" typeface="思源黑体"/>
              </a:endParaRPr>
            </a:p>
          </p:txBody>
        </p:sp>
      </p:grpSp>
      <p:grpSp>
        <p:nvGrpSpPr>
          <p:cNvPr id="19461" name="组合 13">
            <a:extLst>
              <a:ext uri="{FF2B5EF4-FFF2-40B4-BE49-F238E27FC236}">
                <a16:creationId xmlns:a16="http://schemas.microsoft.com/office/drawing/2014/main" id="{0655F7AB-8E31-4278-BD6A-D2FD0FE1BCD5}"/>
              </a:ext>
            </a:extLst>
          </p:cNvPr>
          <p:cNvGrpSpPr/>
          <p:nvPr/>
        </p:nvGrpSpPr>
        <p:grpSpPr>
          <a:xfrm>
            <a:off x="2163763" y="1952625"/>
            <a:ext cx="1414462" cy="1595438"/>
            <a:chOff x="1834771" y="2450818"/>
            <a:chExt cx="1413234" cy="1595037"/>
          </a:xfrm>
        </p:grpSpPr>
        <p:grpSp>
          <p:nvGrpSpPr>
            <p:cNvPr id="19471" name="组合 14">
              <a:extLst>
                <a:ext uri="{FF2B5EF4-FFF2-40B4-BE49-F238E27FC236}">
                  <a16:creationId xmlns:a16="http://schemas.microsoft.com/office/drawing/2014/main" id="{E36C8177-45C3-46F7-B694-9A30417EE29D}"/>
                </a:ext>
              </a:extLst>
            </p:cNvPr>
            <p:cNvGrpSpPr/>
            <p:nvPr/>
          </p:nvGrpSpPr>
          <p:grpSpPr>
            <a:xfrm>
              <a:off x="1834771" y="2450818"/>
              <a:ext cx="1413234" cy="1595037"/>
              <a:chOff x="1834771" y="2450818"/>
              <a:chExt cx="1413234" cy="1595037"/>
            </a:xfrm>
          </p:grpSpPr>
          <p:sp>
            <p:nvSpPr>
              <p:cNvPr id="17" name="椭圆 16">
                <a:extLst>
                  <a:ext uri="{FF2B5EF4-FFF2-40B4-BE49-F238E27FC236}">
                    <a16:creationId xmlns:a16="http://schemas.microsoft.com/office/drawing/2014/main" id="{A3E12132-DB4B-4265-89D9-25CA7EDFE48D}"/>
                  </a:ext>
                </a:extLst>
              </p:cNvPr>
              <p:cNvSpPr/>
              <p:nvPr/>
            </p:nvSpPr>
            <p:spPr>
              <a:xfrm>
                <a:off x="1834771" y="2633335"/>
                <a:ext cx="1413234" cy="141252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8" name="任意多边形 17">
                <a:extLst>
                  <a:ext uri="{FF2B5EF4-FFF2-40B4-BE49-F238E27FC236}">
                    <a16:creationId xmlns:a16="http://schemas.microsoft.com/office/drawing/2014/main" id="{C52AD390-D2A6-4A1B-AB63-677957998E8B}"/>
                  </a:ext>
                </a:extLst>
              </p:cNvPr>
              <p:cNvSpPr/>
              <p:nvPr/>
            </p:nvSpPr>
            <p:spPr>
              <a:xfrm rot="19725852">
                <a:off x="2761066" y="2450818"/>
                <a:ext cx="396530" cy="782441"/>
              </a:xfrm>
              <a:custGeom>
                <a:gdLst>
                  <a:gd fmla="*/ 113734 w 347838" name="connsiteX0"/>
                  <a:gd fmla="*/ 0 h 687372" name="connsiteY0"/>
                  <a:gd fmla="*/ 168607 w 347838" name="connsiteX1"/>
                  <a:gd fmla="*/ 53387 h 687372" name="connsiteY1"/>
                  <a:gd fmla="*/ 340364 w 347838" name="connsiteX2"/>
                  <a:gd fmla="*/ 630755 h 687372" name="connsiteY2"/>
                  <a:gd fmla="*/ 326257 w 347838" name="connsiteX3"/>
                  <a:gd fmla="*/ 687372 h 687372" name="connsiteY3"/>
                  <a:gd fmla="*/ 163250 w 347838" name="connsiteX4"/>
                  <a:gd fmla="*/ 677747 h 687372" name="connsiteY4"/>
                  <a:gd fmla="*/ 180782 w 347838" name="connsiteX5"/>
                  <a:gd fmla="*/ 607376 h 687372" name="connsiteY5"/>
                  <a:gd fmla="*/ 47753 w 347838" name="connsiteX6"/>
                  <a:gd fmla="*/ 160193 h 687372" name="connsiteY6"/>
                  <a:gd fmla="*/ 0 w 347838" name="connsiteX7"/>
                  <a:gd fmla="*/ 113734 h 687372" name="connsiteY7"/>
                  <a:gd fmla="*/ 113734 w 347838" name="connsiteX8"/>
                  <a:gd fmla="*/ 0 h 687372" name="connsiteY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687372" w="347838">
                    <a:moveTo>
                      <a:pt x="113734" y="0"/>
                    </a:moveTo>
                    <a:lnTo>
                      <a:pt x="168607" y="53387"/>
                    </a:lnTo>
                    <a:cubicBezTo>
                      <a:pt x="308418" y="211488"/>
                      <a:pt x="370569" y="423941"/>
                      <a:pt x="340364" y="630755"/>
                    </a:cubicBezTo>
                    <a:lnTo>
                      <a:pt x="326257" y="687372"/>
                    </a:lnTo>
                    <a:lnTo>
                      <a:pt x="163250" y="677747"/>
                    </a:lnTo>
                    <a:lnTo>
                      <a:pt x="180782" y="607376"/>
                    </a:lnTo>
                    <a:cubicBezTo>
                      <a:pt x="204177" y="447194"/>
                      <a:pt x="156040" y="282645"/>
                      <a:pt x="47753" y="160193"/>
                    </a:cubicBezTo>
                    <a:lnTo>
                      <a:pt x="0" y="113734"/>
                    </a:lnTo>
                    <a:lnTo>
                      <a:pt x="113734" y="0"/>
                    </a:lnTo>
                    <a:close/>
                  </a:path>
                </a:pathLst>
              </a:custGeom>
              <a:solidFill>
                <a:schemeClr val="l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grpSp>
        <p:sp>
          <p:nvSpPr>
            <p:cNvPr id="16" name="椭圆 15">
              <a:extLst>
                <a:ext uri="{FF2B5EF4-FFF2-40B4-BE49-F238E27FC236}">
                  <a16:creationId xmlns:a16="http://schemas.microsoft.com/office/drawing/2014/main" id="{BB4A8690-3D69-4064-BA9B-C0EE6A5F474E}"/>
                </a:ext>
              </a:extLst>
            </p:cNvPr>
            <p:cNvSpPr/>
            <p:nvPr/>
          </p:nvSpPr>
          <p:spPr>
            <a:xfrm>
              <a:off x="2182131" y="2996781"/>
              <a:ext cx="710583" cy="711021"/>
            </a:xfrm>
            <a:prstGeom prst="ellipse">
              <a:avLst/>
            </a:prstGeom>
            <a:solidFill>
              <a:schemeClr val="l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sz="1200">
                <a:latin charset="-122" panose="020b0400000000000000" pitchFamily="34" typeface="思源黑体"/>
                <a:ea charset="-122" panose="020b0400000000000000" pitchFamily="34" typeface="思源黑体"/>
                <a:sym charset="-122" panose="020b0400000000000000" pitchFamily="34" typeface="思源黑体"/>
              </a:endParaRPr>
            </a:p>
          </p:txBody>
        </p:sp>
      </p:grpSp>
      <p:sp>
        <p:nvSpPr>
          <p:cNvPr id="19462" name="矩形 18">
            <a:extLst>
              <a:ext uri="{FF2B5EF4-FFF2-40B4-BE49-F238E27FC236}">
                <a16:creationId xmlns:a16="http://schemas.microsoft.com/office/drawing/2014/main" id="{7242114B-C071-4CD4-97AA-0BFC6C2570C6}"/>
              </a:ext>
            </a:extLst>
          </p:cNvPr>
          <p:cNvSpPr>
            <a:spLocks noChangeArrowheads="1"/>
          </p:cNvSpPr>
          <p:nvPr/>
        </p:nvSpPr>
        <p:spPr bwMode="auto">
          <a:xfrm>
            <a:off x="1708150" y="4313238"/>
            <a:ext cx="2317750" cy="137160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algn="ctr" eaLnBrk="1" hangingPunct="1"/>
            <a:r>
              <a:rPr altLang="en-US" lang="zh-CN" sz="1400">
                <a:solidFill>
                  <a:schemeClr val="bg1"/>
                </a:solidFill>
                <a:latin charset="-122" panose="020b0400000000000000" pitchFamily="34" typeface="思源黑体"/>
                <a:ea charset="-122" panose="020b0400000000000000" pitchFamily="34" typeface="思源黑体"/>
                <a:sym charset="-122" panose="020b0400000000000000" pitchFamily="34" typeface="思源黑体"/>
              </a:rPr>
              <a:t>Vestibulum ante ipsum primis in faucibus orci luctus et ultrices posuere cubilia Curae; Donec velit neque, auctor sit amet aliquam vel</a:t>
            </a:r>
          </a:p>
        </p:txBody>
      </p:sp>
      <p:sp>
        <p:nvSpPr>
          <p:cNvPr id="19463" name="矩形 19">
            <a:extLst>
              <a:ext uri="{FF2B5EF4-FFF2-40B4-BE49-F238E27FC236}">
                <a16:creationId xmlns:a16="http://schemas.microsoft.com/office/drawing/2014/main" id="{5E84FD17-8243-4A79-8412-A83ADA67C8E2}"/>
              </a:ext>
            </a:extLst>
          </p:cNvPr>
          <p:cNvSpPr>
            <a:spLocks noChangeArrowheads="1"/>
          </p:cNvSpPr>
          <p:nvPr/>
        </p:nvSpPr>
        <p:spPr bwMode="auto">
          <a:xfrm>
            <a:off x="1835150" y="3943350"/>
            <a:ext cx="2063750" cy="36576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algn="ctr" eaLnBrk="1" hangingPunct="1"/>
            <a:r>
              <a:rPr altLang="en-US" lang="zh-CN">
                <a:solidFill>
                  <a:schemeClr val="bg1"/>
                </a:solidFill>
                <a:latin charset="-122" panose="020b0400000000000000" pitchFamily="34" typeface="思源黑体"/>
                <a:ea charset="-122" panose="020b0400000000000000" pitchFamily="34" typeface="思源黑体"/>
                <a:sym charset="-122" panose="020b0400000000000000" pitchFamily="34" typeface="思源黑体"/>
              </a:rPr>
              <a:t>ADD YOUR TEXT</a:t>
            </a:r>
          </a:p>
        </p:txBody>
      </p:sp>
      <p:sp>
        <p:nvSpPr>
          <p:cNvPr id="19464" name="矩形 20">
            <a:extLst>
              <a:ext uri="{FF2B5EF4-FFF2-40B4-BE49-F238E27FC236}">
                <a16:creationId xmlns:a16="http://schemas.microsoft.com/office/drawing/2014/main" id="{BA9D05EB-557B-4383-8B73-4BBCFAAD9361}"/>
              </a:ext>
            </a:extLst>
          </p:cNvPr>
          <p:cNvSpPr>
            <a:spLocks noChangeArrowheads="1"/>
          </p:cNvSpPr>
          <p:nvPr/>
        </p:nvSpPr>
        <p:spPr bwMode="auto">
          <a:xfrm>
            <a:off x="4899025" y="4313238"/>
            <a:ext cx="2317750" cy="137160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algn="ctr" eaLnBrk="1" hangingPunct="1"/>
            <a:r>
              <a:rPr altLang="en-US" lang="zh-CN" sz="1400">
                <a:solidFill>
                  <a:schemeClr val="bg1"/>
                </a:solidFill>
                <a:latin charset="-122" panose="020b0400000000000000" pitchFamily="34" typeface="思源黑体"/>
                <a:ea charset="-122" panose="020b0400000000000000" pitchFamily="34" typeface="思源黑体"/>
                <a:sym charset="-122" panose="020b0400000000000000" pitchFamily="34" typeface="思源黑体"/>
              </a:rPr>
              <a:t>Vestibulum ante ipsum primis in faucibus orci luctus et ultrices posuere cubilia Curae; Donec velit neque, auctor sit amet aliquam vel</a:t>
            </a:r>
          </a:p>
        </p:txBody>
      </p:sp>
      <p:sp>
        <p:nvSpPr>
          <p:cNvPr id="19465" name="矩形 21">
            <a:extLst>
              <a:ext uri="{FF2B5EF4-FFF2-40B4-BE49-F238E27FC236}">
                <a16:creationId xmlns:a16="http://schemas.microsoft.com/office/drawing/2014/main" id="{CB048F41-EF64-4E64-8F20-5967284135AD}"/>
              </a:ext>
            </a:extLst>
          </p:cNvPr>
          <p:cNvSpPr>
            <a:spLocks noChangeArrowheads="1"/>
          </p:cNvSpPr>
          <p:nvPr/>
        </p:nvSpPr>
        <p:spPr bwMode="auto">
          <a:xfrm>
            <a:off x="5026025" y="3943350"/>
            <a:ext cx="2063750" cy="36576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algn="ctr" eaLnBrk="1" hangingPunct="1"/>
            <a:r>
              <a:rPr altLang="en-US" lang="zh-CN">
                <a:solidFill>
                  <a:schemeClr val="bg1"/>
                </a:solidFill>
                <a:latin charset="-122" panose="020b0400000000000000" pitchFamily="34" typeface="思源黑体"/>
                <a:ea charset="-122" panose="020b0400000000000000" pitchFamily="34" typeface="思源黑体"/>
                <a:sym charset="-122" panose="020b0400000000000000" pitchFamily="34" typeface="思源黑体"/>
              </a:rPr>
              <a:t>ADD YOUR TEXT</a:t>
            </a:r>
          </a:p>
        </p:txBody>
      </p:sp>
      <p:sp>
        <p:nvSpPr>
          <p:cNvPr id="19466" name="矩形 22">
            <a:extLst>
              <a:ext uri="{FF2B5EF4-FFF2-40B4-BE49-F238E27FC236}">
                <a16:creationId xmlns:a16="http://schemas.microsoft.com/office/drawing/2014/main" id="{9FF0B2F8-15F5-408D-BA79-16C85E726BEA}"/>
              </a:ext>
            </a:extLst>
          </p:cNvPr>
          <p:cNvSpPr>
            <a:spLocks noChangeArrowheads="1"/>
          </p:cNvSpPr>
          <p:nvPr/>
        </p:nvSpPr>
        <p:spPr bwMode="auto">
          <a:xfrm>
            <a:off x="8216899" y="4313238"/>
            <a:ext cx="2317750" cy="137160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algn="ctr" eaLnBrk="1" hangingPunct="1"/>
            <a:r>
              <a:rPr altLang="en-US" lang="zh-CN" sz="1400">
                <a:solidFill>
                  <a:schemeClr val="bg1"/>
                </a:solidFill>
                <a:latin charset="-122" panose="020b0400000000000000" pitchFamily="34" typeface="思源黑体"/>
                <a:ea charset="-122" panose="020b0400000000000000" pitchFamily="34" typeface="思源黑体"/>
                <a:sym charset="-122" panose="020b0400000000000000" pitchFamily="34" typeface="思源黑体"/>
              </a:rPr>
              <a:t>Vestibulum ante ipsum primis in faucibus orci luctus et ultrices posuere cubilia Curae; Donec velit neque, auctor sit amet aliquam vel</a:t>
            </a:r>
          </a:p>
        </p:txBody>
      </p:sp>
      <p:sp>
        <p:nvSpPr>
          <p:cNvPr id="19467" name="矩形 23">
            <a:extLst>
              <a:ext uri="{FF2B5EF4-FFF2-40B4-BE49-F238E27FC236}">
                <a16:creationId xmlns:a16="http://schemas.microsoft.com/office/drawing/2014/main" id="{5D385886-989D-4B5D-B966-0A9EB6EA81BC}"/>
              </a:ext>
            </a:extLst>
          </p:cNvPr>
          <p:cNvSpPr>
            <a:spLocks noChangeArrowheads="1"/>
          </p:cNvSpPr>
          <p:nvPr/>
        </p:nvSpPr>
        <p:spPr bwMode="auto">
          <a:xfrm>
            <a:off x="8343899" y="3943350"/>
            <a:ext cx="2063750" cy="36576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algn="ctr" eaLnBrk="1" hangingPunct="1"/>
            <a:r>
              <a:rPr altLang="en-US" lang="zh-CN">
                <a:solidFill>
                  <a:schemeClr val="bg1"/>
                </a:solidFill>
                <a:latin charset="-122" panose="020b0400000000000000" pitchFamily="34" typeface="思源黑体"/>
                <a:ea charset="-122" panose="020b0400000000000000" pitchFamily="34" typeface="思源黑体"/>
                <a:sym charset="-122" panose="020b0400000000000000" pitchFamily="34" typeface="思源黑体"/>
              </a:rPr>
              <a:t>ADD YOUR TEXT</a:t>
            </a:r>
          </a:p>
        </p:txBody>
      </p:sp>
      <p:sp>
        <p:nvSpPr>
          <p:cNvPr id="19468" name="矩形 1">
            <a:extLst>
              <a:ext uri="{FF2B5EF4-FFF2-40B4-BE49-F238E27FC236}">
                <a16:creationId xmlns:a16="http://schemas.microsoft.com/office/drawing/2014/main" id="{5E438ADD-DE5E-49E7-9B5D-8A60251818B7}"/>
              </a:ext>
            </a:extLst>
          </p:cNvPr>
          <p:cNvSpPr>
            <a:spLocks noChangeArrowheads="1"/>
          </p:cNvSpPr>
          <p:nvPr/>
        </p:nvSpPr>
        <p:spPr bwMode="auto">
          <a:xfrm>
            <a:off x="2522379" y="2622550"/>
            <a:ext cx="706755" cy="39624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none">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algn="ctr" eaLnBrk="1" hangingPunct="1"/>
            <a:r>
              <a:rPr altLang="zh-CN" lang="en-US" sz="2000">
                <a:solidFill>
                  <a:schemeClr val="bg1"/>
                </a:solidFill>
                <a:latin charset="-122" panose="020b0400000000000000" pitchFamily="34" typeface="思源黑体"/>
                <a:ea charset="-122" panose="020b0400000000000000" pitchFamily="34" typeface="思源黑体"/>
                <a:sym charset="-122" panose="020b0400000000000000" pitchFamily="34" typeface="思源黑体"/>
              </a:rPr>
              <a:t>15%</a:t>
            </a:r>
          </a:p>
        </p:txBody>
      </p:sp>
      <p:sp>
        <p:nvSpPr>
          <p:cNvPr id="19469" name="矩形 24">
            <a:extLst>
              <a:ext uri="{FF2B5EF4-FFF2-40B4-BE49-F238E27FC236}">
                <a16:creationId xmlns:a16="http://schemas.microsoft.com/office/drawing/2014/main" id="{D8B26D40-B4C6-4AF0-A0A4-1A116B2CC46F}"/>
              </a:ext>
            </a:extLst>
          </p:cNvPr>
          <p:cNvSpPr>
            <a:spLocks noChangeArrowheads="1"/>
          </p:cNvSpPr>
          <p:nvPr/>
        </p:nvSpPr>
        <p:spPr bwMode="auto">
          <a:xfrm>
            <a:off x="5614830" y="2633663"/>
            <a:ext cx="706755" cy="39624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none">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algn="ctr" eaLnBrk="1" hangingPunct="1"/>
            <a:r>
              <a:rPr altLang="zh-CN" lang="en-US" sz="2000">
                <a:solidFill>
                  <a:schemeClr val="bg1"/>
                </a:solidFill>
                <a:latin charset="-122" panose="020b0400000000000000" pitchFamily="34" typeface="思源黑体"/>
                <a:ea charset="-122" panose="020b0400000000000000" pitchFamily="34" typeface="思源黑体"/>
                <a:sym charset="-122" panose="020b0400000000000000" pitchFamily="34" typeface="思源黑体"/>
              </a:rPr>
              <a:t>38%</a:t>
            </a:r>
          </a:p>
        </p:txBody>
      </p:sp>
      <p:sp>
        <p:nvSpPr>
          <p:cNvPr id="19470" name="矩形 25">
            <a:extLst>
              <a:ext uri="{FF2B5EF4-FFF2-40B4-BE49-F238E27FC236}">
                <a16:creationId xmlns:a16="http://schemas.microsoft.com/office/drawing/2014/main" id="{3FFE76EF-DE99-44D7-94C6-6760C4B1D354}"/>
              </a:ext>
            </a:extLst>
          </p:cNvPr>
          <p:cNvSpPr>
            <a:spLocks noChangeArrowheads="1"/>
          </p:cNvSpPr>
          <p:nvPr/>
        </p:nvSpPr>
        <p:spPr bwMode="auto">
          <a:xfrm>
            <a:off x="9021604" y="2643188"/>
            <a:ext cx="706755" cy="39624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none">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algn="ctr" eaLnBrk="1" hangingPunct="1"/>
            <a:r>
              <a:rPr altLang="zh-CN" lang="en-US" sz="2000">
                <a:solidFill>
                  <a:schemeClr val="bg1"/>
                </a:solidFill>
                <a:latin charset="-122" panose="020b0400000000000000" pitchFamily="34" typeface="思源黑体"/>
                <a:ea charset="-122" panose="020b0400000000000000" pitchFamily="34" typeface="思源黑体"/>
                <a:sym charset="-122" panose="020b0400000000000000" pitchFamily="34" typeface="思源黑体"/>
              </a:rPr>
              <a:t>73%</a:t>
            </a:r>
          </a:p>
        </p:txBody>
      </p:sp>
      <p:grpSp>
        <p:nvGrpSpPr>
          <p:cNvPr id="31" name="组合 30">
            <a:extLst>
              <a:ext uri="{FF2B5EF4-FFF2-40B4-BE49-F238E27FC236}">
                <a16:creationId xmlns:a16="http://schemas.microsoft.com/office/drawing/2014/main" id="{ACA41E28-E617-4200-9A57-915449F06A02}"/>
              </a:ext>
            </a:extLst>
          </p:cNvPr>
          <p:cNvGrpSpPr/>
          <p:nvPr/>
        </p:nvGrpSpPr>
        <p:grpSpPr>
          <a:xfrm>
            <a:off x="1208876" y="369288"/>
            <a:ext cx="7658100" cy="735806"/>
            <a:chOff x="1208876" y="369288"/>
            <a:chExt cx="7658100" cy="735806"/>
          </a:xfrm>
        </p:grpSpPr>
        <p:sp>
          <p:nvSpPr>
            <p:cNvPr id="32" name="文本框 31">
              <a:extLst>
                <a:ext uri="{FF2B5EF4-FFF2-40B4-BE49-F238E27FC236}">
                  <a16:creationId xmlns:a16="http://schemas.microsoft.com/office/drawing/2014/main" id="{183C6448-E37F-4B48-83E5-2A41DAE5990C}"/>
                </a:ext>
              </a:extLst>
            </p:cNvPr>
            <p:cNvSpPr txBox="1"/>
            <p:nvPr/>
          </p:nvSpPr>
          <p:spPr>
            <a:xfrm>
              <a:off x="1208876" y="369288"/>
              <a:ext cx="7658100" cy="457200"/>
            </a:xfrm>
            <a:prstGeom prst="rect">
              <a:avLst/>
            </a:prstGeom>
            <a:noFill/>
          </p:spPr>
          <p:txBody>
            <a:bodyPr rtlCol="0" wrap="square">
              <a:spAutoFit/>
            </a:bodyPr>
            <a:lstStyle/>
            <a:p>
              <a:r>
                <a:rPr altLang="en-US" lang="zh-CN" sz="2400">
                  <a:gradFill>
                    <a:gsLst>
                      <a:gs pos="885">
                        <a:schemeClr val="accent1">
                          <a:alpha val="10000"/>
                        </a:schemeClr>
                      </a:gs>
                      <a:gs pos="75000">
                        <a:schemeClr val="accent1">
                          <a:alpha val="73000"/>
                        </a:schemeClr>
                      </a:gs>
                    </a:gsLst>
                    <a:lin ang="5400000" scaled="1"/>
                  </a:gradFill>
                  <a:latin charset="-122" panose="020b0400000000000000" pitchFamily="34" typeface="思源黑体"/>
                  <a:ea charset="-122" panose="020b0400000000000000" pitchFamily="34" typeface="思源黑体"/>
                  <a:sym charset="-122" panose="020b0400000000000000" pitchFamily="34" typeface="思源黑体"/>
                </a:rPr>
                <a:t>在此输入标题内容</a:t>
              </a:r>
            </a:p>
          </p:txBody>
        </p:sp>
        <p:sp>
          <p:nvSpPr>
            <p:cNvPr id="33" name="文本框 32">
              <a:extLst>
                <a:ext uri="{FF2B5EF4-FFF2-40B4-BE49-F238E27FC236}">
                  <a16:creationId xmlns:a16="http://schemas.microsoft.com/office/drawing/2014/main" id="{5A2DC4C6-0CD2-4A3C-92A8-7744455042A5}"/>
                </a:ext>
              </a:extLst>
            </p:cNvPr>
            <p:cNvSpPr txBox="1"/>
            <p:nvPr/>
          </p:nvSpPr>
          <p:spPr>
            <a:xfrm>
              <a:off x="1208876" y="797317"/>
              <a:ext cx="7658100" cy="304800"/>
            </a:xfrm>
            <a:prstGeom prst="rect">
              <a:avLst/>
            </a:prstGeom>
            <a:noFill/>
          </p:spPr>
          <p:txBody>
            <a:bodyPr rtlCol="0" wrap="square">
              <a:spAutoFit/>
            </a:bodyPr>
            <a:lstStyle/>
            <a:p>
              <a:r>
                <a:rPr altLang="zh-CN" lang="en-US" sz="1400">
                  <a:solidFill>
                    <a:schemeClr val="bg2"/>
                  </a:solidFill>
                  <a:latin charset="-122" panose="020b0400000000000000" pitchFamily="34" typeface="思源黑体"/>
                  <a:ea charset="-122" panose="020b0400000000000000" pitchFamily="34" typeface="思源黑体"/>
                  <a:sym charset="-122" panose="020b0400000000000000" pitchFamily="34" typeface="思源黑体"/>
                </a:rPr>
                <a:t>Use "Title Only" Layout</a:t>
              </a:r>
            </a:p>
          </p:txBody>
        </p:sp>
      </p:grpSp>
      <p:grpSp>
        <p:nvGrpSpPr>
          <p:cNvPr id="34" name="组合 33">
            <a:extLst>
              <a:ext uri="{FF2B5EF4-FFF2-40B4-BE49-F238E27FC236}">
                <a16:creationId xmlns:a16="http://schemas.microsoft.com/office/drawing/2014/main" id="{7AA29089-122B-4077-BA72-2833A2EE3D24}"/>
              </a:ext>
            </a:extLst>
          </p:cNvPr>
          <p:cNvGrpSpPr/>
          <p:nvPr/>
        </p:nvGrpSpPr>
        <p:grpSpPr>
          <a:xfrm>
            <a:off x="538226" y="153800"/>
            <a:ext cx="811275" cy="1299746"/>
            <a:chOff x="538226" y="153800"/>
            <a:chExt cx="811275" cy="1299746"/>
          </a:xfrm>
        </p:grpSpPr>
        <p:sp>
          <p:nvSpPr>
            <p:cNvPr id="35" name="文本框 34">
              <a:extLst>
                <a:ext uri="{FF2B5EF4-FFF2-40B4-BE49-F238E27FC236}">
                  <a16:creationId xmlns:a16="http://schemas.microsoft.com/office/drawing/2014/main" id="{8138708D-4BF1-4B57-8D2D-72EB0B586B2E}"/>
                </a:ext>
              </a:extLst>
            </p:cNvPr>
            <p:cNvSpPr txBox="1"/>
            <p:nvPr/>
          </p:nvSpPr>
          <p:spPr>
            <a:xfrm>
              <a:off x="538226" y="153800"/>
              <a:ext cx="567647" cy="1097280"/>
            </a:xfrm>
            <a:prstGeom prst="rect">
              <a:avLst/>
            </a:prstGeom>
            <a:noFill/>
          </p:spPr>
          <p:txBody>
            <a:bodyPr rtlCol="0" wrap="square">
              <a:spAutoFit/>
            </a:bodyPr>
            <a:lstStyle>
              <a:defPPr>
                <a:defRPr lang="en-US"/>
              </a:defPPr>
              <a:lvl1pPr>
                <a:defRPr sz="8000">
                  <a:gradFill>
                    <a:gsLst>
                      <a:gs pos="36000">
                        <a:schemeClr val="bg1"/>
                      </a:gs>
                      <a:gs pos="100000">
                        <a:schemeClr val="tx1">
                          <a:lumMod val="50000"/>
                          <a:lumOff val="50000"/>
                        </a:schemeClr>
                      </a:gs>
                    </a:gsLst>
                    <a:lin ang="5400000" scaled="1"/>
                  </a:gradFill>
                  <a:latin charset="-122" panose="00000500000000000000" pitchFamily="2" typeface="字魂5号-无外润黑体"/>
                  <a:ea charset="-122" panose="00000500000000000000" pitchFamily="2" typeface="字魂5号-无外润黑体"/>
                </a:defRPr>
              </a:lvl1pPr>
            </a:lstStyle>
            <a:p>
              <a:r>
                <a:rPr altLang="zh-CN" lang="en-US" sz="6600">
                  <a:gradFill>
                    <a:gsLst>
                      <a:gs pos="36000">
                        <a:schemeClr val="bg1"/>
                      </a:gs>
                      <a:gs pos="70000">
                        <a:schemeClr val="tx1">
                          <a:lumMod val="50000"/>
                          <a:lumOff val="50000"/>
                          <a:alpha val="0"/>
                        </a:schemeClr>
                      </a:gs>
                    </a:gsLst>
                    <a:lin ang="5400000" scaled="1"/>
                  </a:gradFill>
                  <a:latin charset="-122" panose="020b0300000000000000" pitchFamily="34" typeface="思源黑体 CN Light"/>
                  <a:ea charset="-122" panose="00000500000000000000" pitchFamily="2" typeface="字魂54号-贤黑"/>
                  <a:sym charset="-122" panose="020b0400000000000000" pitchFamily="34" typeface="思源黑体"/>
                </a:rPr>
                <a:t>1</a:t>
              </a:r>
            </a:p>
          </p:txBody>
        </p:sp>
        <p:grpSp>
          <p:nvGrpSpPr>
            <p:cNvPr id="36" name="组合 35">
              <a:extLst>
                <a:ext uri="{FF2B5EF4-FFF2-40B4-BE49-F238E27FC236}">
                  <a16:creationId xmlns:a16="http://schemas.microsoft.com/office/drawing/2014/main" id="{E4168FC8-80E0-4085-A0E5-2B02E72DCCE4}"/>
                </a:ext>
              </a:extLst>
            </p:cNvPr>
            <p:cNvGrpSpPr/>
            <p:nvPr/>
          </p:nvGrpSpPr>
          <p:grpSpPr>
            <a:xfrm rot="1279383">
              <a:off x="538418" y="260428"/>
              <a:ext cx="811083" cy="1193118"/>
              <a:chOff x="5326021" y="1359499"/>
              <a:chExt cx="2273644" cy="3344573"/>
            </a:xfrm>
          </p:grpSpPr>
          <p:cxnSp>
            <p:nvCxnSpPr>
              <p:cNvPr id="37" name="直接连接符 36">
                <a:extLst>
                  <a:ext uri="{FF2B5EF4-FFF2-40B4-BE49-F238E27FC236}">
                    <a16:creationId xmlns:a16="http://schemas.microsoft.com/office/drawing/2014/main" id="{F3301E71-8982-49BD-B2FD-943D6109E1A3}"/>
                  </a:ext>
                </a:extLst>
              </p:cNvPr>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8" name="任意多边形: 形状 37">
                <a:extLst>
                  <a:ext uri="{FF2B5EF4-FFF2-40B4-BE49-F238E27FC236}">
                    <a16:creationId xmlns:a16="http://schemas.microsoft.com/office/drawing/2014/main" id="{35CA3E13-71F7-45F1-83F1-BB5F95F8E808}"/>
                  </a:ext>
                </a:extLst>
              </p:cNvPr>
              <p:cNvSpPr/>
              <p:nvPr/>
            </p:nvSpPr>
            <p:spPr>
              <a:xfrm rot="2008142">
                <a:off x="5326021" y="3632692"/>
                <a:ext cx="319543" cy="1071380"/>
              </a:xfrm>
              <a:custGeom>
                <a:gdLst>
                  <a:gd fmla="*/ 278285 w 319543" name="connsiteX0"/>
                  <a:gd fmla="*/ 0 h 1071380" name="connsiteY0"/>
                  <a:gd fmla="*/ 319543 w 319543" name="connsiteX1"/>
                  <a:gd fmla="*/ 0 h 1071380" name="connsiteY1"/>
                  <a:gd fmla="*/ 319543 w 319543" name="connsiteX2"/>
                  <a:gd fmla="*/ 601405 h 1071380" name="connsiteY2"/>
                  <a:gd fmla="*/ 0 w 319543" name="connsiteX3"/>
                  <a:gd fmla="*/ 1071380 h 1071380" name="connsiteY3"/>
                  <a:gd fmla="*/ 0 w 319543" name="connsiteX4"/>
                  <a:gd fmla="*/ 409295 h 1071380"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1071380" w="319543">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400"/>
              </a:p>
            </p:txBody>
          </p:sp>
        </p:grpSp>
      </p:grpSp>
    </p:spTree>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6" presetSubtype="32">
                                  <p:stCondLst>
                                    <p:cond delay="0"/>
                                  </p:stCondLst>
                                  <p:childTnLst>
                                    <p:set>
                                      <p:cBhvr>
                                        <p:cTn dur="1" fill="hold" id="6">
                                          <p:stCondLst>
                                            <p:cond delay="0"/>
                                          </p:stCondLst>
                                        </p:cTn>
                                        <p:tgtEl>
                                          <p:spTgt spid="19459"/>
                                        </p:tgtEl>
                                        <p:attrNameLst>
                                          <p:attrName>style.visibility</p:attrName>
                                        </p:attrNameLst>
                                      </p:cBhvr>
                                      <p:to>
                                        <p:strVal val="visible"/>
                                      </p:to>
                                    </p:set>
                                    <p:animEffect filter="circle(out)" transition="in">
                                      <p:cBhvr>
                                        <p:cTn dur="2000" id="7"/>
                                        <p:tgtEl>
                                          <p:spTgt spid="19459"/>
                                        </p:tgtEl>
                                      </p:cBhvr>
                                    </p:animEffect>
                                  </p:childTnLst>
                                </p:cTn>
                              </p:par>
                            </p:childTnLst>
                          </p:cTn>
                        </p:par>
                        <p:par>
                          <p:cTn fill="hold" id="8" nodeType="afterGroup">
                            <p:stCondLst>
                              <p:cond delay="2000"/>
                            </p:stCondLst>
                            <p:childTnLst>
                              <p:par>
                                <p:cTn fill="hold" id="9" nodeType="afterEffect" presetClass="entr" presetID="6" presetSubtype="32">
                                  <p:stCondLst>
                                    <p:cond delay="0"/>
                                  </p:stCondLst>
                                  <p:childTnLst>
                                    <p:set>
                                      <p:cBhvr>
                                        <p:cTn dur="1" fill="hold" id="10">
                                          <p:stCondLst>
                                            <p:cond delay="0"/>
                                          </p:stCondLst>
                                        </p:cTn>
                                        <p:tgtEl>
                                          <p:spTgt spid="19460"/>
                                        </p:tgtEl>
                                        <p:attrNameLst>
                                          <p:attrName>style.visibility</p:attrName>
                                        </p:attrNameLst>
                                      </p:cBhvr>
                                      <p:to>
                                        <p:strVal val="visible"/>
                                      </p:to>
                                    </p:set>
                                    <p:animEffect filter="circle(out)" transition="in">
                                      <p:cBhvr>
                                        <p:cTn dur="2000" id="11"/>
                                        <p:tgtEl>
                                          <p:spTgt spid="19460"/>
                                        </p:tgtEl>
                                      </p:cBhvr>
                                    </p:animEffect>
                                  </p:childTnLst>
                                </p:cTn>
                              </p:par>
                            </p:childTnLst>
                          </p:cTn>
                        </p:par>
                        <p:par>
                          <p:cTn fill="hold" id="12" nodeType="afterGroup">
                            <p:stCondLst>
                              <p:cond delay="4000"/>
                            </p:stCondLst>
                            <p:childTnLst>
                              <p:par>
                                <p:cTn fill="hold" id="13" nodeType="afterEffect" presetClass="entr" presetID="6" presetSubtype="32">
                                  <p:stCondLst>
                                    <p:cond delay="0"/>
                                  </p:stCondLst>
                                  <p:childTnLst>
                                    <p:set>
                                      <p:cBhvr>
                                        <p:cTn dur="1" fill="hold" id="14">
                                          <p:stCondLst>
                                            <p:cond delay="0"/>
                                          </p:stCondLst>
                                        </p:cTn>
                                        <p:tgtEl>
                                          <p:spTgt spid="19461"/>
                                        </p:tgtEl>
                                        <p:attrNameLst>
                                          <p:attrName>style.visibility</p:attrName>
                                        </p:attrNameLst>
                                      </p:cBhvr>
                                      <p:to>
                                        <p:strVal val="visible"/>
                                      </p:to>
                                    </p:set>
                                    <p:animEffect filter="circle(out)" transition="in">
                                      <p:cBhvr>
                                        <p:cTn dur="2000" id="15"/>
                                        <p:tgtEl>
                                          <p:spTgt spid="19461"/>
                                        </p:tgtEl>
                                      </p:cBhvr>
                                    </p:animEffect>
                                  </p:childTnLst>
                                </p:cTn>
                              </p:par>
                            </p:childTnLst>
                          </p:cTn>
                        </p:par>
                        <p:par>
                          <p:cTn fill="hold" id="16" nodeType="afterGroup">
                            <p:stCondLst>
                              <p:cond delay="6000"/>
                            </p:stCondLst>
                            <p:childTnLst>
                              <p:par>
                                <p:cTn fill="hold" grpId="0" id="17" nodeType="afterEffect" presetClass="entr" presetID="6" presetSubtype="32">
                                  <p:stCondLst>
                                    <p:cond delay="0"/>
                                  </p:stCondLst>
                                  <p:childTnLst>
                                    <p:set>
                                      <p:cBhvr>
                                        <p:cTn dur="1" fill="hold" id="18">
                                          <p:stCondLst>
                                            <p:cond delay="0"/>
                                          </p:stCondLst>
                                        </p:cTn>
                                        <p:tgtEl>
                                          <p:spTgt spid="19462"/>
                                        </p:tgtEl>
                                        <p:attrNameLst>
                                          <p:attrName>style.visibility</p:attrName>
                                        </p:attrNameLst>
                                      </p:cBhvr>
                                      <p:to>
                                        <p:strVal val="visible"/>
                                      </p:to>
                                    </p:set>
                                    <p:animEffect filter="circle(out)" transition="in">
                                      <p:cBhvr>
                                        <p:cTn dur="2000" id="19"/>
                                        <p:tgtEl>
                                          <p:spTgt spid="19462"/>
                                        </p:tgtEl>
                                      </p:cBhvr>
                                    </p:animEffect>
                                  </p:childTnLst>
                                </p:cTn>
                              </p:par>
                            </p:childTnLst>
                          </p:cTn>
                        </p:par>
                        <p:par>
                          <p:cTn fill="hold" id="20" nodeType="afterGroup">
                            <p:stCondLst>
                              <p:cond delay="8000"/>
                            </p:stCondLst>
                            <p:childTnLst>
                              <p:par>
                                <p:cTn fill="hold" grpId="0" id="21" nodeType="afterEffect" presetClass="entr" presetID="6" presetSubtype="32">
                                  <p:stCondLst>
                                    <p:cond delay="0"/>
                                  </p:stCondLst>
                                  <p:childTnLst>
                                    <p:set>
                                      <p:cBhvr>
                                        <p:cTn dur="1" fill="hold" id="22">
                                          <p:stCondLst>
                                            <p:cond delay="0"/>
                                          </p:stCondLst>
                                        </p:cTn>
                                        <p:tgtEl>
                                          <p:spTgt spid="19463"/>
                                        </p:tgtEl>
                                        <p:attrNameLst>
                                          <p:attrName>style.visibility</p:attrName>
                                        </p:attrNameLst>
                                      </p:cBhvr>
                                      <p:to>
                                        <p:strVal val="visible"/>
                                      </p:to>
                                    </p:set>
                                    <p:animEffect filter="circle(out)" transition="in">
                                      <p:cBhvr>
                                        <p:cTn dur="2000" id="23"/>
                                        <p:tgtEl>
                                          <p:spTgt spid="19463"/>
                                        </p:tgtEl>
                                      </p:cBhvr>
                                    </p:animEffect>
                                  </p:childTnLst>
                                </p:cTn>
                              </p:par>
                            </p:childTnLst>
                          </p:cTn>
                        </p:par>
                        <p:par>
                          <p:cTn fill="hold" id="24" nodeType="afterGroup">
                            <p:stCondLst>
                              <p:cond delay="10000"/>
                            </p:stCondLst>
                            <p:childTnLst>
                              <p:par>
                                <p:cTn fill="hold" grpId="0" id="25" nodeType="afterEffect" presetClass="entr" presetID="6" presetSubtype="32">
                                  <p:stCondLst>
                                    <p:cond delay="0"/>
                                  </p:stCondLst>
                                  <p:childTnLst>
                                    <p:set>
                                      <p:cBhvr>
                                        <p:cTn dur="1" fill="hold" id="26">
                                          <p:stCondLst>
                                            <p:cond delay="0"/>
                                          </p:stCondLst>
                                        </p:cTn>
                                        <p:tgtEl>
                                          <p:spTgt spid="19464"/>
                                        </p:tgtEl>
                                        <p:attrNameLst>
                                          <p:attrName>style.visibility</p:attrName>
                                        </p:attrNameLst>
                                      </p:cBhvr>
                                      <p:to>
                                        <p:strVal val="visible"/>
                                      </p:to>
                                    </p:set>
                                    <p:animEffect filter="circle(out)" transition="in">
                                      <p:cBhvr>
                                        <p:cTn dur="2000" id="27"/>
                                        <p:tgtEl>
                                          <p:spTgt spid="19464"/>
                                        </p:tgtEl>
                                      </p:cBhvr>
                                    </p:animEffect>
                                  </p:childTnLst>
                                </p:cTn>
                              </p:par>
                            </p:childTnLst>
                          </p:cTn>
                        </p:par>
                        <p:par>
                          <p:cTn fill="hold" id="28" nodeType="afterGroup">
                            <p:stCondLst>
                              <p:cond delay="12000"/>
                            </p:stCondLst>
                            <p:childTnLst>
                              <p:par>
                                <p:cTn fill="hold" grpId="0" id="29" nodeType="afterEffect" presetClass="entr" presetID="6" presetSubtype="32">
                                  <p:stCondLst>
                                    <p:cond delay="0"/>
                                  </p:stCondLst>
                                  <p:childTnLst>
                                    <p:set>
                                      <p:cBhvr>
                                        <p:cTn dur="1" fill="hold" id="30">
                                          <p:stCondLst>
                                            <p:cond delay="0"/>
                                          </p:stCondLst>
                                        </p:cTn>
                                        <p:tgtEl>
                                          <p:spTgt spid="19465"/>
                                        </p:tgtEl>
                                        <p:attrNameLst>
                                          <p:attrName>style.visibility</p:attrName>
                                        </p:attrNameLst>
                                      </p:cBhvr>
                                      <p:to>
                                        <p:strVal val="visible"/>
                                      </p:to>
                                    </p:set>
                                    <p:animEffect filter="circle(out)" transition="in">
                                      <p:cBhvr>
                                        <p:cTn dur="2000" id="31"/>
                                        <p:tgtEl>
                                          <p:spTgt spid="19465"/>
                                        </p:tgtEl>
                                      </p:cBhvr>
                                    </p:animEffect>
                                  </p:childTnLst>
                                </p:cTn>
                              </p:par>
                            </p:childTnLst>
                          </p:cTn>
                        </p:par>
                        <p:par>
                          <p:cTn fill="hold" id="32" nodeType="afterGroup">
                            <p:stCondLst>
                              <p:cond delay="14000"/>
                            </p:stCondLst>
                            <p:childTnLst>
                              <p:par>
                                <p:cTn fill="hold" grpId="0" id="33" nodeType="afterEffect" presetClass="entr" presetID="6" presetSubtype="32">
                                  <p:stCondLst>
                                    <p:cond delay="0"/>
                                  </p:stCondLst>
                                  <p:childTnLst>
                                    <p:set>
                                      <p:cBhvr>
                                        <p:cTn dur="1" fill="hold" id="34">
                                          <p:stCondLst>
                                            <p:cond delay="0"/>
                                          </p:stCondLst>
                                        </p:cTn>
                                        <p:tgtEl>
                                          <p:spTgt spid="19466"/>
                                        </p:tgtEl>
                                        <p:attrNameLst>
                                          <p:attrName>style.visibility</p:attrName>
                                        </p:attrNameLst>
                                      </p:cBhvr>
                                      <p:to>
                                        <p:strVal val="visible"/>
                                      </p:to>
                                    </p:set>
                                    <p:animEffect filter="circle(out)" transition="in">
                                      <p:cBhvr>
                                        <p:cTn dur="2000" id="35"/>
                                        <p:tgtEl>
                                          <p:spTgt spid="19466"/>
                                        </p:tgtEl>
                                      </p:cBhvr>
                                    </p:animEffect>
                                  </p:childTnLst>
                                </p:cTn>
                              </p:par>
                            </p:childTnLst>
                          </p:cTn>
                        </p:par>
                        <p:par>
                          <p:cTn fill="hold" id="36" nodeType="afterGroup">
                            <p:stCondLst>
                              <p:cond delay="16000"/>
                            </p:stCondLst>
                            <p:childTnLst>
                              <p:par>
                                <p:cTn fill="hold" grpId="0" id="37" nodeType="afterEffect" presetClass="entr" presetID="6" presetSubtype="32">
                                  <p:stCondLst>
                                    <p:cond delay="0"/>
                                  </p:stCondLst>
                                  <p:childTnLst>
                                    <p:set>
                                      <p:cBhvr>
                                        <p:cTn dur="1" fill="hold" id="38">
                                          <p:stCondLst>
                                            <p:cond delay="0"/>
                                          </p:stCondLst>
                                        </p:cTn>
                                        <p:tgtEl>
                                          <p:spTgt spid="19467"/>
                                        </p:tgtEl>
                                        <p:attrNameLst>
                                          <p:attrName>style.visibility</p:attrName>
                                        </p:attrNameLst>
                                      </p:cBhvr>
                                      <p:to>
                                        <p:strVal val="visible"/>
                                      </p:to>
                                    </p:set>
                                    <p:animEffect filter="circle(out)" transition="in">
                                      <p:cBhvr>
                                        <p:cTn dur="2000" id="39"/>
                                        <p:tgtEl>
                                          <p:spTgt spid="19467"/>
                                        </p:tgtEl>
                                      </p:cBhvr>
                                    </p:animEffect>
                                  </p:childTnLst>
                                </p:cTn>
                              </p:par>
                            </p:childTnLst>
                          </p:cTn>
                        </p:par>
                        <p:par>
                          <p:cTn fill="hold" id="40" nodeType="afterGroup">
                            <p:stCondLst>
                              <p:cond delay="18000"/>
                            </p:stCondLst>
                            <p:childTnLst>
                              <p:par>
                                <p:cTn fill="hold" grpId="0" id="41" nodeType="afterEffect" presetClass="entr" presetID="6" presetSubtype="32">
                                  <p:stCondLst>
                                    <p:cond delay="0"/>
                                  </p:stCondLst>
                                  <p:childTnLst>
                                    <p:set>
                                      <p:cBhvr>
                                        <p:cTn dur="1" fill="hold" id="42">
                                          <p:stCondLst>
                                            <p:cond delay="0"/>
                                          </p:stCondLst>
                                        </p:cTn>
                                        <p:tgtEl>
                                          <p:spTgt spid="19468"/>
                                        </p:tgtEl>
                                        <p:attrNameLst>
                                          <p:attrName>style.visibility</p:attrName>
                                        </p:attrNameLst>
                                      </p:cBhvr>
                                      <p:to>
                                        <p:strVal val="visible"/>
                                      </p:to>
                                    </p:set>
                                    <p:animEffect filter="circle(out)" transition="in">
                                      <p:cBhvr>
                                        <p:cTn dur="2000" id="43"/>
                                        <p:tgtEl>
                                          <p:spTgt spid="19468"/>
                                        </p:tgtEl>
                                      </p:cBhvr>
                                    </p:animEffect>
                                  </p:childTnLst>
                                </p:cTn>
                              </p:par>
                            </p:childTnLst>
                          </p:cTn>
                        </p:par>
                        <p:par>
                          <p:cTn fill="hold" id="44" nodeType="afterGroup">
                            <p:stCondLst>
                              <p:cond delay="20000"/>
                            </p:stCondLst>
                            <p:childTnLst>
                              <p:par>
                                <p:cTn fill="hold" grpId="0" id="45" nodeType="afterEffect" presetClass="entr" presetID="6" presetSubtype="32">
                                  <p:stCondLst>
                                    <p:cond delay="0"/>
                                  </p:stCondLst>
                                  <p:childTnLst>
                                    <p:set>
                                      <p:cBhvr>
                                        <p:cTn dur="1" fill="hold" id="46">
                                          <p:stCondLst>
                                            <p:cond delay="0"/>
                                          </p:stCondLst>
                                        </p:cTn>
                                        <p:tgtEl>
                                          <p:spTgt spid="19469"/>
                                        </p:tgtEl>
                                        <p:attrNameLst>
                                          <p:attrName>style.visibility</p:attrName>
                                        </p:attrNameLst>
                                      </p:cBhvr>
                                      <p:to>
                                        <p:strVal val="visible"/>
                                      </p:to>
                                    </p:set>
                                    <p:animEffect filter="circle(out)" transition="in">
                                      <p:cBhvr>
                                        <p:cTn dur="2000" id="47"/>
                                        <p:tgtEl>
                                          <p:spTgt spid="19469"/>
                                        </p:tgtEl>
                                      </p:cBhvr>
                                    </p:animEffect>
                                  </p:childTnLst>
                                </p:cTn>
                              </p:par>
                            </p:childTnLst>
                          </p:cTn>
                        </p:par>
                        <p:par>
                          <p:cTn fill="hold" id="48" nodeType="afterGroup">
                            <p:stCondLst>
                              <p:cond delay="22000"/>
                            </p:stCondLst>
                            <p:childTnLst>
                              <p:par>
                                <p:cTn fill="hold" grpId="0" id="49" nodeType="afterEffect" presetClass="entr" presetID="6" presetSubtype="32">
                                  <p:stCondLst>
                                    <p:cond delay="0"/>
                                  </p:stCondLst>
                                  <p:childTnLst>
                                    <p:set>
                                      <p:cBhvr>
                                        <p:cTn dur="1" fill="hold" id="50">
                                          <p:stCondLst>
                                            <p:cond delay="0"/>
                                          </p:stCondLst>
                                        </p:cTn>
                                        <p:tgtEl>
                                          <p:spTgt spid="19470"/>
                                        </p:tgtEl>
                                        <p:attrNameLst>
                                          <p:attrName>style.visibility</p:attrName>
                                        </p:attrNameLst>
                                      </p:cBhvr>
                                      <p:to>
                                        <p:strVal val="visible"/>
                                      </p:to>
                                    </p:set>
                                    <p:animEffect filter="circle(out)" transition="in">
                                      <p:cBhvr>
                                        <p:cTn dur="2000" id="51"/>
                                        <p:tgtEl>
                                          <p:spTgt spid="19470"/>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9462"/>
      <p:bldP grpId="0" spid="19463"/>
      <p:bldP grpId="0" spid="19464"/>
      <p:bldP grpId="0" spid="19465"/>
      <p:bldP grpId="0" spid="19466"/>
      <p:bldP grpId="0" spid="19467"/>
      <p:bldP grpId="0" spid="19468"/>
      <p:bldP grpId="0" spid="19469"/>
      <p:bldP grpId="0" spid="19470"/>
    </p:bldLst>
  </p:timing>
</p:sld>
</file>

<file path=ppt/slides/slide7.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9" name="矩形 8">
            <a:extLst>
              <a:ext uri="{FF2B5EF4-FFF2-40B4-BE49-F238E27FC236}">
                <a16:creationId xmlns:a16="http://schemas.microsoft.com/office/drawing/2014/main" id="{2B2DF731-B830-4EE9-885C-F384EF00E196}"/>
              </a:ext>
            </a:extLst>
          </p:cNvPr>
          <p:cNvSpPr/>
          <p:nvPr/>
        </p:nvSpPr>
        <p:spPr>
          <a:xfrm>
            <a:off x="5607050" y="1484313"/>
            <a:ext cx="6584950" cy="4392612"/>
          </a:xfrm>
          <a:prstGeom prst="rect">
            <a:avLst/>
          </a:prstGeom>
          <a:blipFill dpi="0" rotWithShape="1">
            <a:blip r:embed="rId3">
              <a:extLst>
                <a:ext uri="{28A0092B-C50C-407E-A947-70E740481C1C}">
                  <a14:useLocalDpi val="0"/>
                </a:ext>
              </a:extLst>
            </a:blip>
            <a:stretch>
              <a:fillRect/>
            </a:stretch>
          </a:blipFill>
          <a:ln algn="ctr" cap="flat" cmpd="sng" w="12700">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5" name="矩形 4">
            <a:extLst>
              <a:ext uri="{FF2B5EF4-FFF2-40B4-BE49-F238E27FC236}">
                <a16:creationId xmlns:a16="http://schemas.microsoft.com/office/drawing/2014/main" id="{97821279-274E-4067-8838-713F00ECB601}"/>
              </a:ext>
            </a:extLst>
          </p:cNvPr>
          <p:cNvSpPr/>
          <p:nvPr/>
        </p:nvSpPr>
        <p:spPr>
          <a:xfrm>
            <a:off x="839788" y="1597025"/>
            <a:ext cx="4767262" cy="914400"/>
          </a:xfrm>
          <a:prstGeom prst="rect">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6" name="矩形 5">
            <a:extLst>
              <a:ext uri="{FF2B5EF4-FFF2-40B4-BE49-F238E27FC236}">
                <a16:creationId xmlns:a16="http://schemas.microsoft.com/office/drawing/2014/main" id="{5C3F0DD0-A7E2-4A6A-B499-25719301D2F4}"/>
              </a:ext>
            </a:extLst>
          </p:cNvPr>
          <p:cNvSpPr/>
          <p:nvPr/>
        </p:nvSpPr>
        <p:spPr>
          <a:xfrm>
            <a:off x="839788" y="2693988"/>
            <a:ext cx="4767262" cy="914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7" name="矩形 6">
            <a:extLst>
              <a:ext uri="{FF2B5EF4-FFF2-40B4-BE49-F238E27FC236}">
                <a16:creationId xmlns:a16="http://schemas.microsoft.com/office/drawing/2014/main" id="{41E52739-7EEA-4563-ADA4-2866F120223A}"/>
              </a:ext>
            </a:extLst>
          </p:cNvPr>
          <p:cNvSpPr/>
          <p:nvPr/>
        </p:nvSpPr>
        <p:spPr>
          <a:xfrm>
            <a:off x="839788" y="3789363"/>
            <a:ext cx="4767262" cy="914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8" name="矩形 7">
            <a:extLst>
              <a:ext uri="{FF2B5EF4-FFF2-40B4-BE49-F238E27FC236}">
                <a16:creationId xmlns:a16="http://schemas.microsoft.com/office/drawing/2014/main" id="{85317937-2015-49C0-9221-5D10BA2DBCBD}"/>
              </a:ext>
            </a:extLst>
          </p:cNvPr>
          <p:cNvSpPr/>
          <p:nvPr/>
        </p:nvSpPr>
        <p:spPr>
          <a:xfrm>
            <a:off x="839788" y="4886325"/>
            <a:ext cx="4767262" cy="91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latin charset="-122" panose="020b0503020204020204" pitchFamily="34" typeface="微软雅黑"/>
              <a:ea charset="-122" panose="020b0400000000000000" pitchFamily="34" typeface="思源黑体"/>
              <a:sym charset="-122" panose="020b0400000000000000" pitchFamily="34" typeface="思源黑体"/>
            </a:endParaRPr>
          </a:p>
        </p:txBody>
      </p:sp>
      <p:sp>
        <p:nvSpPr>
          <p:cNvPr id="11272" name="矩形 8">
            <a:extLst>
              <a:ext uri="{FF2B5EF4-FFF2-40B4-BE49-F238E27FC236}">
                <a16:creationId xmlns:a16="http://schemas.microsoft.com/office/drawing/2014/main" id="{55716311-E699-499B-9109-854B255E7C5A}"/>
              </a:ext>
            </a:extLst>
          </p:cNvPr>
          <p:cNvSpPr>
            <a:spLocks noChangeArrowheads="1"/>
          </p:cNvSpPr>
          <p:nvPr/>
        </p:nvSpPr>
        <p:spPr bwMode="auto">
          <a:xfrm>
            <a:off x="1206500" y="1619250"/>
            <a:ext cx="4038600" cy="91440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r>
              <a:rPr altLang="zh-CN" lang="en-US">
                <a:latin charset="-122" panose="020b0400000000000000" pitchFamily="34" typeface="思源黑体"/>
                <a:ea charset="-122" panose="020b0400000000000000" pitchFamily="34" typeface="思源黑体"/>
                <a:sym charset="-122" panose="020b0400000000000000" pitchFamily="34" typeface="思源黑体"/>
              </a:rPr>
              <a:t>DONEC SOLLICITUDIN MOLESTIE MALESUADA. DONEC RUTRUM CONGUE LEO.</a:t>
            </a:r>
          </a:p>
        </p:txBody>
      </p:sp>
      <p:sp>
        <p:nvSpPr>
          <p:cNvPr id="11273" name="矩形 9">
            <a:extLst>
              <a:ext uri="{FF2B5EF4-FFF2-40B4-BE49-F238E27FC236}">
                <a16:creationId xmlns:a16="http://schemas.microsoft.com/office/drawing/2014/main" id="{FDC7BAF3-1D00-47B9-A5CF-F0F3A8046FE9}"/>
              </a:ext>
            </a:extLst>
          </p:cNvPr>
          <p:cNvSpPr>
            <a:spLocks noChangeArrowheads="1"/>
          </p:cNvSpPr>
          <p:nvPr/>
        </p:nvSpPr>
        <p:spPr bwMode="auto">
          <a:xfrm>
            <a:off x="1206500" y="2914650"/>
            <a:ext cx="3503613" cy="51816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r>
              <a:rPr altLang="zh-CN" lang="en-US" sz="1400">
                <a:latin charset="-122" panose="020b0400000000000000" pitchFamily="34" typeface="思源黑体"/>
                <a:ea charset="-122" panose="020b0400000000000000" pitchFamily="34" typeface="思源黑体"/>
                <a:sym charset="-122" panose="020b0400000000000000" pitchFamily="34" typeface="思源黑体"/>
              </a:rPr>
              <a:t>Donec sollicitudin molestie malesuada. Donec rutrum congue leo.</a:t>
            </a:r>
          </a:p>
        </p:txBody>
      </p:sp>
      <p:sp>
        <p:nvSpPr>
          <p:cNvPr id="11274" name="矩形 10">
            <a:extLst>
              <a:ext uri="{FF2B5EF4-FFF2-40B4-BE49-F238E27FC236}">
                <a16:creationId xmlns:a16="http://schemas.microsoft.com/office/drawing/2014/main" id="{3DC1FBE7-107B-46A4-9052-3F4B051A8128}"/>
              </a:ext>
            </a:extLst>
          </p:cNvPr>
          <p:cNvSpPr>
            <a:spLocks noChangeArrowheads="1"/>
          </p:cNvSpPr>
          <p:nvPr/>
        </p:nvSpPr>
        <p:spPr bwMode="auto">
          <a:xfrm>
            <a:off x="1206500" y="3986213"/>
            <a:ext cx="3503613" cy="51816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r>
              <a:rPr altLang="zh-CN" lang="en-US" sz="1400">
                <a:latin charset="-122" panose="020b0400000000000000" pitchFamily="34" typeface="思源黑体"/>
                <a:ea charset="-122" panose="020b0400000000000000" pitchFamily="34" typeface="思源黑体"/>
                <a:sym charset="-122" panose="020b0400000000000000" pitchFamily="34" typeface="思源黑体"/>
              </a:rPr>
              <a:t>Donec sollicitudin molestie malesuada. Donec rutrum congue leo.</a:t>
            </a:r>
          </a:p>
        </p:txBody>
      </p:sp>
      <p:sp>
        <p:nvSpPr>
          <p:cNvPr id="11275" name="矩形 11">
            <a:extLst>
              <a:ext uri="{FF2B5EF4-FFF2-40B4-BE49-F238E27FC236}">
                <a16:creationId xmlns:a16="http://schemas.microsoft.com/office/drawing/2014/main" id="{A1B7EF83-0C22-4B88-9748-54A8DF4CCC04}"/>
              </a:ext>
            </a:extLst>
          </p:cNvPr>
          <p:cNvSpPr>
            <a:spLocks noChangeArrowheads="1"/>
          </p:cNvSpPr>
          <p:nvPr/>
        </p:nvSpPr>
        <p:spPr bwMode="auto">
          <a:xfrm>
            <a:off x="1206500" y="5081588"/>
            <a:ext cx="3503613" cy="51816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r>
              <a:rPr altLang="zh-CN" lang="en-US" sz="1400">
                <a:latin charset="-122" panose="020b0400000000000000" pitchFamily="34" typeface="思源黑体"/>
                <a:ea charset="-122" panose="020b0400000000000000" pitchFamily="34" typeface="思源黑体"/>
                <a:sym charset="-122" panose="020b0400000000000000" pitchFamily="34" typeface="思源黑体"/>
              </a:rPr>
              <a:t>Donec sollicitudin molestie malesuada. Donec rutrum congue leo.</a:t>
            </a:r>
          </a:p>
        </p:txBody>
      </p:sp>
      <p:grpSp>
        <p:nvGrpSpPr>
          <p:cNvPr id="19" name="组合 18">
            <a:extLst>
              <a:ext uri="{FF2B5EF4-FFF2-40B4-BE49-F238E27FC236}">
                <a16:creationId xmlns:a16="http://schemas.microsoft.com/office/drawing/2014/main" id="{2DB69F2F-468D-46DA-A379-D09264C6ADE5}"/>
              </a:ext>
            </a:extLst>
          </p:cNvPr>
          <p:cNvGrpSpPr/>
          <p:nvPr/>
        </p:nvGrpSpPr>
        <p:grpSpPr>
          <a:xfrm>
            <a:off x="1208876" y="369288"/>
            <a:ext cx="7658100" cy="735806"/>
            <a:chOff x="1208876" y="369288"/>
            <a:chExt cx="7658100" cy="735806"/>
          </a:xfrm>
        </p:grpSpPr>
        <p:sp>
          <p:nvSpPr>
            <p:cNvPr id="20" name="文本框 19">
              <a:extLst>
                <a:ext uri="{FF2B5EF4-FFF2-40B4-BE49-F238E27FC236}">
                  <a16:creationId xmlns:a16="http://schemas.microsoft.com/office/drawing/2014/main" id="{42E04D5E-FFBE-4FDE-90B3-64C966AA3FCA}"/>
                </a:ext>
              </a:extLst>
            </p:cNvPr>
            <p:cNvSpPr txBox="1"/>
            <p:nvPr/>
          </p:nvSpPr>
          <p:spPr>
            <a:xfrm>
              <a:off x="1208876" y="369288"/>
              <a:ext cx="7658100" cy="457200"/>
            </a:xfrm>
            <a:prstGeom prst="rect">
              <a:avLst/>
            </a:prstGeom>
            <a:noFill/>
          </p:spPr>
          <p:txBody>
            <a:bodyPr rtlCol="0" wrap="square">
              <a:spAutoFit/>
            </a:bodyPr>
            <a:lstStyle/>
            <a:p>
              <a:r>
                <a:rPr altLang="en-US" lang="zh-CN" sz="2400">
                  <a:gradFill>
                    <a:gsLst>
                      <a:gs pos="885">
                        <a:schemeClr val="accent1">
                          <a:alpha val="10000"/>
                        </a:schemeClr>
                      </a:gs>
                      <a:gs pos="75000">
                        <a:schemeClr val="accent1">
                          <a:alpha val="73000"/>
                        </a:schemeClr>
                      </a:gs>
                    </a:gsLst>
                    <a:lin ang="5400000" scaled="1"/>
                  </a:gradFill>
                  <a:latin charset="-122" panose="020b0400000000000000" pitchFamily="34" typeface="思源黑体"/>
                  <a:ea charset="-122" panose="020b0400000000000000" pitchFamily="34" typeface="思源黑体"/>
                  <a:sym charset="-122" panose="020b0400000000000000" pitchFamily="34" typeface="思源黑体"/>
                </a:rPr>
                <a:t>在此输入标题内容</a:t>
              </a:r>
            </a:p>
          </p:txBody>
        </p:sp>
        <p:sp>
          <p:nvSpPr>
            <p:cNvPr id="21" name="文本框 20">
              <a:extLst>
                <a:ext uri="{FF2B5EF4-FFF2-40B4-BE49-F238E27FC236}">
                  <a16:creationId xmlns:a16="http://schemas.microsoft.com/office/drawing/2014/main" id="{D9F71279-4808-4F83-826B-FAA9CF4DE598}"/>
                </a:ext>
              </a:extLst>
            </p:cNvPr>
            <p:cNvSpPr txBox="1"/>
            <p:nvPr/>
          </p:nvSpPr>
          <p:spPr>
            <a:xfrm>
              <a:off x="1208876" y="797317"/>
              <a:ext cx="7658100" cy="304800"/>
            </a:xfrm>
            <a:prstGeom prst="rect">
              <a:avLst/>
            </a:prstGeom>
            <a:noFill/>
          </p:spPr>
          <p:txBody>
            <a:bodyPr rtlCol="0" wrap="square">
              <a:spAutoFit/>
            </a:bodyPr>
            <a:lstStyle/>
            <a:p>
              <a:r>
                <a:rPr altLang="zh-CN" lang="en-US" sz="1400">
                  <a:solidFill>
                    <a:schemeClr val="bg2"/>
                  </a:solidFill>
                  <a:latin charset="-122" panose="020b0400000000000000" pitchFamily="34" typeface="思源黑体"/>
                  <a:ea charset="-122" panose="020b0400000000000000" pitchFamily="34" typeface="思源黑体"/>
                  <a:sym charset="-122" panose="020b0400000000000000" pitchFamily="34" typeface="思源黑体"/>
                </a:rPr>
                <a:t>Use "Title Only" Layout</a:t>
              </a:r>
            </a:p>
          </p:txBody>
        </p:sp>
      </p:grpSp>
      <p:grpSp>
        <p:nvGrpSpPr>
          <p:cNvPr id="22" name="组合 21">
            <a:extLst>
              <a:ext uri="{FF2B5EF4-FFF2-40B4-BE49-F238E27FC236}">
                <a16:creationId xmlns:a16="http://schemas.microsoft.com/office/drawing/2014/main" id="{C72475D7-5A89-4F63-8ACA-ABAC5D1CC21B}"/>
              </a:ext>
            </a:extLst>
          </p:cNvPr>
          <p:cNvGrpSpPr/>
          <p:nvPr/>
        </p:nvGrpSpPr>
        <p:grpSpPr>
          <a:xfrm>
            <a:off x="538226" y="153800"/>
            <a:ext cx="811275" cy="1299746"/>
            <a:chOff x="538226" y="153800"/>
            <a:chExt cx="811275" cy="1299746"/>
          </a:xfrm>
        </p:grpSpPr>
        <p:sp>
          <p:nvSpPr>
            <p:cNvPr id="23" name="文本框 22">
              <a:extLst>
                <a:ext uri="{FF2B5EF4-FFF2-40B4-BE49-F238E27FC236}">
                  <a16:creationId xmlns:a16="http://schemas.microsoft.com/office/drawing/2014/main" id="{A50BFC67-3CA1-4CC4-B03C-48353C18B4C1}"/>
                </a:ext>
              </a:extLst>
            </p:cNvPr>
            <p:cNvSpPr txBox="1"/>
            <p:nvPr/>
          </p:nvSpPr>
          <p:spPr>
            <a:xfrm>
              <a:off x="538226" y="153800"/>
              <a:ext cx="567647" cy="1097280"/>
            </a:xfrm>
            <a:prstGeom prst="rect">
              <a:avLst/>
            </a:prstGeom>
            <a:noFill/>
          </p:spPr>
          <p:txBody>
            <a:bodyPr rtlCol="0" wrap="square">
              <a:spAutoFit/>
            </a:bodyPr>
            <a:lstStyle>
              <a:defPPr>
                <a:defRPr lang="en-US"/>
              </a:defPPr>
              <a:lvl1pPr>
                <a:defRPr sz="8000">
                  <a:gradFill>
                    <a:gsLst>
                      <a:gs pos="36000">
                        <a:schemeClr val="bg1"/>
                      </a:gs>
                      <a:gs pos="100000">
                        <a:schemeClr val="tx1">
                          <a:lumMod val="50000"/>
                          <a:lumOff val="50000"/>
                        </a:schemeClr>
                      </a:gs>
                    </a:gsLst>
                    <a:lin ang="5400000" scaled="1"/>
                  </a:gradFill>
                  <a:latin charset="-122" panose="00000500000000000000" pitchFamily="2" typeface="字魂5号-无外润黑体"/>
                  <a:ea charset="-122" panose="00000500000000000000" pitchFamily="2" typeface="字魂5号-无外润黑体"/>
                </a:defRPr>
              </a:lvl1pPr>
            </a:lstStyle>
            <a:p>
              <a:r>
                <a:rPr altLang="zh-CN" lang="en-US" sz="6600">
                  <a:gradFill>
                    <a:gsLst>
                      <a:gs pos="36000">
                        <a:schemeClr val="bg1"/>
                      </a:gs>
                      <a:gs pos="70000">
                        <a:schemeClr val="tx1">
                          <a:lumMod val="50000"/>
                          <a:lumOff val="50000"/>
                          <a:alpha val="0"/>
                        </a:schemeClr>
                      </a:gs>
                    </a:gsLst>
                    <a:lin ang="5400000" scaled="1"/>
                  </a:gradFill>
                  <a:latin charset="-122" panose="020b0300000000000000" pitchFamily="34" typeface="思源黑体 CN Light"/>
                  <a:ea charset="-122" panose="00000500000000000000" pitchFamily="2" typeface="字魂54号-贤黑"/>
                  <a:sym charset="-122" panose="020b0400000000000000" pitchFamily="34" typeface="思源黑体"/>
                </a:rPr>
                <a:t>1</a:t>
              </a:r>
            </a:p>
          </p:txBody>
        </p:sp>
        <p:grpSp>
          <p:nvGrpSpPr>
            <p:cNvPr id="24" name="组合 23">
              <a:extLst>
                <a:ext uri="{FF2B5EF4-FFF2-40B4-BE49-F238E27FC236}">
                  <a16:creationId xmlns:a16="http://schemas.microsoft.com/office/drawing/2014/main" id="{167DDDD2-AC1B-4E36-AEE1-AB70FAE3D46F}"/>
                </a:ext>
              </a:extLst>
            </p:cNvPr>
            <p:cNvGrpSpPr/>
            <p:nvPr/>
          </p:nvGrpSpPr>
          <p:grpSpPr>
            <a:xfrm rot="1279383">
              <a:off x="538418" y="260428"/>
              <a:ext cx="811083" cy="1193118"/>
              <a:chOff x="5326021" y="1359499"/>
              <a:chExt cx="2273644" cy="3344573"/>
            </a:xfrm>
          </p:grpSpPr>
          <p:cxnSp>
            <p:nvCxnSpPr>
              <p:cNvPr id="25" name="直接连接符 24">
                <a:extLst>
                  <a:ext uri="{FF2B5EF4-FFF2-40B4-BE49-F238E27FC236}">
                    <a16:creationId xmlns:a16="http://schemas.microsoft.com/office/drawing/2014/main" id="{90EFA0FB-82CB-43EA-B17F-D551DAD0B00A}"/>
                  </a:ext>
                </a:extLst>
              </p:cNvPr>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6" name="任意多边形: 形状 25">
                <a:extLst>
                  <a:ext uri="{FF2B5EF4-FFF2-40B4-BE49-F238E27FC236}">
                    <a16:creationId xmlns:a16="http://schemas.microsoft.com/office/drawing/2014/main" id="{FCEB9E32-0769-45EA-871D-C563046B29E1}"/>
                  </a:ext>
                </a:extLst>
              </p:cNvPr>
              <p:cNvSpPr/>
              <p:nvPr/>
            </p:nvSpPr>
            <p:spPr>
              <a:xfrm rot="2008142">
                <a:off x="5326021" y="3632692"/>
                <a:ext cx="319543" cy="1071380"/>
              </a:xfrm>
              <a:custGeom>
                <a:gdLst>
                  <a:gd fmla="*/ 278285 w 319543" name="connsiteX0"/>
                  <a:gd fmla="*/ 0 h 1071380" name="connsiteY0"/>
                  <a:gd fmla="*/ 319543 w 319543" name="connsiteX1"/>
                  <a:gd fmla="*/ 0 h 1071380" name="connsiteY1"/>
                  <a:gd fmla="*/ 319543 w 319543" name="connsiteX2"/>
                  <a:gd fmla="*/ 601405 h 1071380" name="connsiteY2"/>
                  <a:gd fmla="*/ 0 w 319543" name="connsiteX3"/>
                  <a:gd fmla="*/ 1071380 h 1071380" name="connsiteY3"/>
                  <a:gd fmla="*/ 0 w 319543" name="connsiteX4"/>
                  <a:gd fmla="*/ 409295 h 1071380"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1071380" w="319543">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400"/>
              </a:p>
            </p:txBody>
          </p:sp>
        </p:grpSp>
      </p:grpSp>
    </p:spTree>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stCondLst>
                      <p:childTnLst>
                        <p:par>
                          <p:cTn fill="hold" id="4" nodeType="afterGroup">
                            <p:stCondLst>
                              <p:cond delay="0"/>
                            </p:stCondLst>
                            <p:childTnLst>
                              <p:par>
                                <p:cTn fill="hold" grpId="0" id="5" nodeType="clickEffect" presetClass="entr" presetID="22" presetSubtype="2">
                                  <p:stCondLst>
                                    <p:cond delay="0"/>
                                  </p:stCondLst>
                                  <p:childTnLst>
                                    <p:set>
                                      <p:cBhvr>
                                        <p:cTn dur="1" fill="hold" id="6">
                                          <p:stCondLst>
                                            <p:cond delay="0"/>
                                          </p:stCondLst>
                                        </p:cTn>
                                        <p:tgtEl>
                                          <p:spTgt spid="5"/>
                                        </p:tgtEl>
                                        <p:attrNameLst>
                                          <p:attrName>style.visibility</p:attrName>
                                        </p:attrNameLst>
                                      </p:cBhvr>
                                      <p:to>
                                        <p:strVal val="visible"/>
                                      </p:to>
                                    </p:set>
                                    <p:animEffect filter="wipe(right)" transition="in">
                                      <p:cBhvr>
                                        <p:cTn dur="500" id="7"/>
                                        <p:tgtEl>
                                          <p:spTgt spid="5"/>
                                        </p:tgtEl>
                                      </p:cBhvr>
                                    </p:animEffect>
                                  </p:childTnLst>
                                </p:cTn>
                              </p:par>
                              <p:par>
                                <p:cTn fill="hold" grpId="0" id="8" nodeType="withEffect" presetClass="entr" presetID="22" presetSubtype="2">
                                  <p:stCondLst>
                                    <p:cond delay="0"/>
                                  </p:stCondLst>
                                  <p:childTnLst>
                                    <p:set>
                                      <p:cBhvr>
                                        <p:cTn dur="1" fill="hold" id="9">
                                          <p:stCondLst>
                                            <p:cond delay="0"/>
                                          </p:stCondLst>
                                        </p:cTn>
                                        <p:tgtEl>
                                          <p:spTgt spid="6"/>
                                        </p:tgtEl>
                                        <p:attrNameLst>
                                          <p:attrName>style.visibility</p:attrName>
                                        </p:attrNameLst>
                                      </p:cBhvr>
                                      <p:to>
                                        <p:strVal val="visible"/>
                                      </p:to>
                                    </p:set>
                                    <p:animEffect filter="wipe(right)" transition="in">
                                      <p:cBhvr>
                                        <p:cTn dur="500" id="10"/>
                                        <p:tgtEl>
                                          <p:spTgt spid="6"/>
                                        </p:tgtEl>
                                      </p:cBhvr>
                                    </p:animEffect>
                                  </p:childTnLst>
                                </p:cTn>
                              </p:par>
                              <p:par>
                                <p:cTn fill="hold" grpId="0" id="11" nodeType="withEffect" presetClass="entr" presetID="22" presetSubtype="2">
                                  <p:stCondLst>
                                    <p:cond delay="0"/>
                                  </p:stCondLst>
                                  <p:childTnLst>
                                    <p:set>
                                      <p:cBhvr>
                                        <p:cTn dur="1" fill="hold" id="12">
                                          <p:stCondLst>
                                            <p:cond delay="0"/>
                                          </p:stCondLst>
                                        </p:cTn>
                                        <p:tgtEl>
                                          <p:spTgt spid="7"/>
                                        </p:tgtEl>
                                        <p:attrNameLst>
                                          <p:attrName>style.visibility</p:attrName>
                                        </p:attrNameLst>
                                      </p:cBhvr>
                                      <p:to>
                                        <p:strVal val="visible"/>
                                      </p:to>
                                    </p:set>
                                    <p:animEffect filter="wipe(right)" transition="in">
                                      <p:cBhvr>
                                        <p:cTn dur="500" id="13"/>
                                        <p:tgtEl>
                                          <p:spTgt spid="7"/>
                                        </p:tgtEl>
                                      </p:cBhvr>
                                    </p:animEffect>
                                  </p:childTnLst>
                                </p:cTn>
                              </p:par>
                              <p:par>
                                <p:cTn fill="hold" grpId="0" id="14" nodeType="withEffect" presetClass="entr" presetID="22" presetSubtype="2">
                                  <p:stCondLst>
                                    <p:cond delay="0"/>
                                  </p:stCondLst>
                                  <p:childTnLst>
                                    <p:set>
                                      <p:cBhvr>
                                        <p:cTn dur="1" fill="hold" id="15">
                                          <p:stCondLst>
                                            <p:cond delay="0"/>
                                          </p:stCondLst>
                                        </p:cTn>
                                        <p:tgtEl>
                                          <p:spTgt spid="8"/>
                                        </p:tgtEl>
                                        <p:attrNameLst>
                                          <p:attrName>style.visibility</p:attrName>
                                        </p:attrNameLst>
                                      </p:cBhvr>
                                      <p:to>
                                        <p:strVal val="visible"/>
                                      </p:to>
                                    </p:set>
                                    <p:animEffect filter="wipe(right)" transition="in">
                                      <p:cBhvr>
                                        <p:cTn dur="500" id="16"/>
                                        <p:tgtEl>
                                          <p:spTgt spid="8"/>
                                        </p:tgtEl>
                                      </p:cBhvr>
                                    </p:animEffect>
                                  </p:childTnLst>
                                </p:cTn>
                              </p:par>
                              <p:par>
                                <p:cTn fill="hold" grpId="0" id="17" nodeType="withEffect" presetClass="entr" presetID="22" presetSubtype="2">
                                  <p:stCondLst>
                                    <p:cond delay="0"/>
                                  </p:stCondLst>
                                  <p:childTnLst>
                                    <p:set>
                                      <p:cBhvr>
                                        <p:cTn dur="1" fill="hold" id="18">
                                          <p:stCondLst>
                                            <p:cond delay="0"/>
                                          </p:stCondLst>
                                        </p:cTn>
                                        <p:tgtEl>
                                          <p:spTgt spid="11272"/>
                                        </p:tgtEl>
                                        <p:attrNameLst>
                                          <p:attrName>style.visibility</p:attrName>
                                        </p:attrNameLst>
                                      </p:cBhvr>
                                      <p:to>
                                        <p:strVal val="visible"/>
                                      </p:to>
                                    </p:set>
                                    <p:animEffect filter="wipe(right)" transition="in">
                                      <p:cBhvr>
                                        <p:cTn dur="500" id="19"/>
                                        <p:tgtEl>
                                          <p:spTgt spid="11272"/>
                                        </p:tgtEl>
                                      </p:cBhvr>
                                    </p:animEffect>
                                  </p:childTnLst>
                                </p:cTn>
                              </p:par>
                              <p:par>
                                <p:cTn fill="hold" grpId="0" id="20" nodeType="withEffect" presetClass="entr" presetID="22" presetSubtype="2">
                                  <p:stCondLst>
                                    <p:cond delay="0"/>
                                  </p:stCondLst>
                                  <p:childTnLst>
                                    <p:set>
                                      <p:cBhvr>
                                        <p:cTn dur="1" fill="hold" id="21">
                                          <p:stCondLst>
                                            <p:cond delay="0"/>
                                          </p:stCondLst>
                                        </p:cTn>
                                        <p:tgtEl>
                                          <p:spTgt spid="11273"/>
                                        </p:tgtEl>
                                        <p:attrNameLst>
                                          <p:attrName>style.visibility</p:attrName>
                                        </p:attrNameLst>
                                      </p:cBhvr>
                                      <p:to>
                                        <p:strVal val="visible"/>
                                      </p:to>
                                    </p:set>
                                    <p:animEffect filter="wipe(right)" transition="in">
                                      <p:cBhvr>
                                        <p:cTn dur="500" id="22"/>
                                        <p:tgtEl>
                                          <p:spTgt spid="11273"/>
                                        </p:tgtEl>
                                      </p:cBhvr>
                                    </p:animEffect>
                                  </p:childTnLst>
                                </p:cTn>
                              </p:par>
                              <p:par>
                                <p:cTn fill="hold" grpId="0" id="23" nodeType="withEffect" presetClass="entr" presetID="22" presetSubtype="2">
                                  <p:stCondLst>
                                    <p:cond delay="0"/>
                                  </p:stCondLst>
                                  <p:childTnLst>
                                    <p:set>
                                      <p:cBhvr>
                                        <p:cTn dur="1" fill="hold" id="24">
                                          <p:stCondLst>
                                            <p:cond delay="0"/>
                                          </p:stCondLst>
                                        </p:cTn>
                                        <p:tgtEl>
                                          <p:spTgt spid="11274"/>
                                        </p:tgtEl>
                                        <p:attrNameLst>
                                          <p:attrName>style.visibility</p:attrName>
                                        </p:attrNameLst>
                                      </p:cBhvr>
                                      <p:to>
                                        <p:strVal val="visible"/>
                                      </p:to>
                                    </p:set>
                                    <p:animEffect filter="wipe(right)" transition="in">
                                      <p:cBhvr>
                                        <p:cTn dur="500" id="25"/>
                                        <p:tgtEl>
                                          <p:spTgt spid="11274"/>
                                        </p:tgtEl>
                                      </p:cBhvr>
                                    </p:animEffect>
                                  </p:childTnLst>
                                </p:cTn>
                              </p:par>
                              <p:par>
                                <p:cTn fill="hold" grpId="0" id="26" nodeType="withEffect" presetClass="entr" presetID="22" presetSubtype="2">
                                  <p:stCondLst>
                                    <p:cond delay="0"/>
                                  </p:stCondLst>
                                  <p:childTnLst>
                                    <p:set>
                                      <p:cBhvr>
                                        <p:cTn dur="1" fill="hold" id="27">
                                          <p:stCondLst>
                                            <p:cond delay="0"/>
                                          </p:stCondLst>
                                        </p:cTn>
                                        <p:tgtEl>
                                          <p:spTgt spid="11275"/>
                                        </p:tgtEl>
                                        <p:attrNameLst>
                                          <p:attrName>style.visibility</p:attrName>
                                        </p:attrNameLst>
                                      </p:cBhvr>
                                      <p:to>
                                        <p:strVal val="visible"/>
                                      </p:to>
                                    </p:set>
                                    <p:animEffect filter="wipe(right)" transition="in">
                                      <p:cBhvr>
                                        <p:cTn dur="500" id="28"/>
                                        <p:tgtEl>
                                          <p:spTgt spid="11275"/>
                                        </p:tgtEl>
                                      </p:cBhvr>
                                    </p:animEffect>
                                  </p:childTnLst>
                                </p:cTn>
                              </p:par>
                            </p:childTnLst>
                          </p:cTn>
                        </p:par>
                        <p:par>
                          <p:cTn fill="hold" id="29" nodeType="afterGroup">
                            <p:stCondLst>
                              <p:cond delay="500"/>
                            </p:stCondLst>
                            <p:childTnLst>
                              <p:par>
                                <p:cTn fill="hold" grpId="0" id="30" nodeType="afterEffect" presetClass="entr" presetID="42" presetSubtype="0">
                                  <p:stCondLst>
                                    <p:cond delay="0"/>
                                  </p:stCondLst>
                                  <p:childTnLst>
                                    <p:set>
                                      <p:cBhvr>
                                        <p:cTn dur="1" fill="hold" id="31">
                                          <p:stCondLst>
                                            <p:cond delay="0"/>
                                          </p:stCondLst>
                                        </p:cTn>
                                        <p:tgtEl>
                                          <p:spTgt spid="9"/>
                                        </p:tgtEl>
                                        <p:attrNameLst>
                                          <p:attrName>style.visibility</p:attrName>
                                        </p:attrNameLst>
                                      </p:cBhvr>
                                      <p:to>
                                        <p:strVal val="visible"/>
                                      </p:to>
                                    </p:set>
                                    <p:animEffect filter="fade" transition="in">
                                      <p:cBhvr>
                                        <p:cTn dur="1000" id="32"/>
                                        <p:tgtEl>
                                          <p:spTgt spid="9"/>
                                        </p:tgtEl>
                                      </p:cBhvr>
                                    </p:animEffect>
                                    <p:anim calcmode="lin" valueType="num">
                                      <p:cBhvr>
                                        <p:cTn dur="1000" fill="hold" id="33"/>
                                        <p:tgtEl>
                                          <p:spTgt spid="9"/>
                                        </p:tgtEl>
                                        <p:attrNameLst>
                                          <p:attrName>ppt_x</p:attrName>
                                        </p:attrNameLst>
                                      </p:cBhvr>
                                      <p:tavLst>
                                        <p:tav tm="0">
                                          <p:val>
                                            <p:strVal val="#ppt_x"/>
                                          </p:val>
                                        </p:tav>
                                        <p:tav tm="100000">
                                          <p:val>
                                            <p:strVal val="#ppt_x"/>
                                          </p:val>
                                        </p:tav>
                                      </p:tavLst>
                                    </p:anim>
                                    <p:anim calcmode="lin" valueType="num">
                                      <p:cBhvr>
                                        <p:cTn dur="1000" fill="hold" id="34"/>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9"/>
      <p:bldP grpId="0" spid="5"/>
      <p:bldP grpId="0" spid="6"/>
      <p:bldP grpId="0" spid="7"/>
      <p:bldP grpId="0" spid="8"/>
      <p:bldP grpId="0" spid="11272"/>
      <p:bldP grpId="0" spid="11273"/>
      <p:bldP grpId="0" spid="11274"/>
      <p:bldP grpId="0" spid="11275"/>
    </p:bldLst>
  </p:timing>
</p:sld>
</file>

<file path=ppt/slides/slide8.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8" name="矩形 7">
            <a:extLst>
              <a:ext uri="{FF2B5EF4-FFF2-40B4-BE49-F238E27FC236}">
                <a16:creationId xmlns:a16="http://schemas.microsoft.com/office/drawing/2014/main" id="{24B180E1-B389-4050-A133-B403D20E5F7D}"/>
              </a:ext>
            </a:extLst>
          </p:cNvPr>
          <p:cNvSpPr/>
          <p:nvPr/>
        </p:nvSpPr>
        <p:spPr>
          <a:xfrm>
            <a:off x="838200" y="1473200"/>
            <a:ext cx="10515600" cy="4406900"/>
          </a:xfrm>
          <a:prstGeom prst="rect">
            <a:avLst/>
          </a:prstGeom>
          <a:blipFill dpi="0" rotWithShape="1">
            <a:blip r:embed="rId3">
              <a:extLst>
                <a:ext uri="{28A0092B-C50C-407E-A947-70E740481C1C}">
                  <a14:useLocalDpi val="0"/>
                </a:ext>
              </a:extLst>
            </a:blip>
            <a:stretch>
              <a:fillRect/>
            </a:stretch>
          </a:blipFill>
          <a:ln algn="ctr" cap="flat" cmpd="sng" w="12700">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8" name="矩形 17">
            <a:extLst>
              <a:ext uri="{FF2B5EF4-FFF2-40B4-BE49-F238E27FC236}">
                <a16:creationId xmlns:a16="http://schemas.microsoft.com/office/drawing/2014/main" id="{35120054-3DC1-4049-B78B-6EA3ACB129AD}"/>
              </a:ext>
            </a:extLst>
          </p:cNvPr>
          <p:cNvSpPr/>
          <p:nvPr/>
        </p:nvSpPr>
        <p:spPr>
          <a:xfrm>
            <a:off x="838200" y="1473200"/>
            <a:ext cx="4978400" cy="4403725"/>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grpSp>
        <p:nvGrpSpPr>
          <p:cNvPr id="10245" name="组合 2">
            <a:extLst>
              <a:ext uri="{FF2B5EF4-FFF2-40B4-BE49-F238E27FC236}">
                <a16:creationId xmlns:a16="http://schemas.microsoft.com/office/drawing/2014/main" id="{E97C1AC4-54A0-4090-A485-139276A86AC9}"/>
              </a:ext>
            </a:extLst>
          </p:cNvPr>
          <p:cNvGrpSpPr/>
          <p:nvPr/>
        </p:nvGrpSpPr>
        <p:grpSpPr>
          <a:xfrm>
            <a:off x="1275896" y="3304990"/>
            <a:ext cx="4122738" cy="1330695"/>
            <a:chOff x="6096000" y="3339321"/>
            <a:chExt cx="4123508" cy="981486"/>
          </a:xfrm>
        </p:grpSpPr>
        <p:sp>
          <p:nvSpPr>
            <p:cNvPr id="6" name="矩形 5">
              <a:extLst>
                <a:ext uri="{FF2B5EF4-FFF2-40B4-BE49-F238E27FC236}">
                  <a16:creationId xmlns:a16="http://schemas.microsoft.com/office/drawing/2014/main" id="{FA95BC62-D091-4DFA-BD67-7A72818FBA45}"/>
                </a:ext>
              </a:extLst>
            </p:cNvPr>
            <p:cNvSpPr/>
            <p:nvPr/>
          </p:nvSpPr>
          <p:spPr>
            <a:xfrm>
              <a:off x="6096000" y="3339321"/>
              <a:ext cx="4123508" cy="533032"/>
            </a:xfrm>
            <a:prstGeom prst="rect">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solidFill>
                  <a:schemeClr val="bg1"/>
                </a:solidFill>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7" name="矩形 6">
              <a:extLst>
                <a:ext uri="{FF2B5EF4-FFF2-40B4-BE49-F238E27FC236}">
                  <a16:creationId xmlns:a16="http://schemas.microsoft.com/office/drawing/2014/main" id="{F3A0B3A9-F533-4B5A-B31B-0F75F5FCE0B0}"/>
                </a:ext>
              </a:extLst>
            </p:cNvPr>
            <p:cNvSpPr/>
            <p:nvPr/>
          </p:nvSpPr>
          <p:spPr>
            <a:xfrm>
              <a:off x="6096000" y="3854786"/>
              <a:ext cx="4123508" cy="46602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solidFill>
                  <a:schemeClr val="bg1"/>
                </a:solidFill>
                <a:latin charset="-122" panose="020b0400000000000000" pitchFamily="34" typeface="思源黑体"/>
                <a:ea charset="-122" panose="020b0400000000000000" pitchFamily="34" typeface="思源黑体"/>
                <a:sym charset="-122" panose="020b0400000000000000" pitchFamily="34" typeface="思源黑体"/>
              </a:endParaRPr>
            </a:p>
          </p:txBody>
        </p:sp>
      </p:grpSp>
      <p:sp>
        <p:nvSpPr>
          <p:cNvPr id="10246" name="任意多边形 7">
            <a:extLst>
              <a:ext uri="{FF2B5EF4-FFF2-40B4-BE49-F238E27FC236}">
                <a16:creationId xmlns:a16="http://schemas.microsoft.com/office/drawing/2014/main" id="{B9FFAC35-FB28-4CE8-9135-4FD25B0BAB0D}"/>
              </a:ext>
            </a:extLst>
          </p:cNvPr>
          <p:cNvSpPr>
            <a:spLocks noChangeAspect="1"/>
          </p:cNvSpPr>
          <p:nvPr/>
        </p:nvSpPr>
        <p:spPr bwMode="auto">
          <a:xfrm>
            <a:off x="1387021" y="4119516"/>
            <a:ext cx="360363" cy="314325"/>
          </a:xfrm>
          <a:custGeom>
            <a:gdLst>
              <a:gd fmla="*/ 1566874 w 241301" name="T0"/>
              <a:gd fmla="*/ 442073 h 211138" name="T1"/>
              <a:gd fmla="*/ 1678796 w 241301" name="T2"/>
              <a:gd fmla="*/ 442073 h 211138" name="T3"/>
              <a:gd fmla="*/ 1790716 w 241301" name="T4"/>
              <a:gd fmla="*/ 552584 h 211138" name="T5"/>
              <a:gd fmla="*/ 1790716 w 241301" name="T6"/>
              <a:gd fmla="*/ 1436729 h 211138" name="T7"/>
              <a:gd fmla="*/ 1678796 w 241301" name="T8"/>
              <a:gd fmla="*/ 1547246 h 211138" name="T9"/>
              <a:gd fmla="*/ 1566874 w 241301" name="T10"/>
              <a:gd fmla="*/ 1547246 h 211138" name="T11"/>
              <a:gd fmla="*/ 1566874 w 241301" name="T12"/>
              <a:gd fmla="*/ 442073 h 211138" name="T13"/>
              <a:gd fmla="*/ 341652 w 241301" name="T14"/>
              <a:gd fmla="*/ 442073 h 211138" name="T15"/>
              <a:gd fmla="*/ 1449064 w 241301" name="T16"/>
              <a:gd fmla="*/ 442073 h 211138" name="T17"/>
              <a:gd fmla="*/ 1449064 w 241301" name="T18"/>
              <a:gd fmla="*/ 1547246 h 211138" name="T19"/>
              <a:gd fmla="*/ 341652 w 241301" name="T20"/>
              <a:gd fmla="*/ 1547246 h 211138" name="T21"/>
              <a:gd fmla="*/ 111921 w 241301" name="T22"/>
              <a:gd fmla="*/ 442073 h 211138" name="T23"/>
              <a:gd fmla="*/ 223844 w 241301" name="T24"/>
              <a:gd fmla="*/ 442073 h 211138" name="T25"/>
              <a:gd fmla="*/ 223844 w 241301" name="T26"/>
              <a:gd fmla="*/ 1547246 h 211138" name="T27"/>
              <a:gd fmla="*/ 111921 w 241301" name="T28"/>
              <a:gd fmla="*/ 1547246 h 211138" name="T29"/>
              <a:gd fmla="*/ 0 w 241301" name="T30"/>
              <a:gd fmla="*/ 1436729 h 211138" name="T31"/>
              <a:gd fmla="*/ 0 w 241301" name="T32"/>
              <a:gd fmla="*/ 552584 h 211138" name="T33"/>
              <a:gd fmla="*/ 111921 w 241301" name="T34"/>
              <a:gd fmla="*/ 442073 h 211138" name="T35"/>
              <a:gd fmla="*/ 675444 w 241301" name="T36"/>
              <a:gd fmla="*/ 0 h 211138" name="T37"/>
              <a:gd fmla="*/ 1115266 w 241301" name="T38"/>
              <a:gd fmla="*/ 0 h 211138" name="T39"/>
              <a:gd fmla="*/ 1225223 w 241301" name="T40"/>
              <a:gd fmla="*/ 108584 h 211138" name="T41"/>
              <a:gd fmla="*/ 1225223 w 241301" name="T42"/>
              <a:gd fmla="*/ 325732 h 211138" name="T43"/>
              <a:gd fmla="*/ 1115266 w 241301" name="T44"/>
              <a:gd fmla="*/ 325732 h 211138" name="T45"/>
              <a:gd fmla="*/ 1115266 w 241301" name="T46"/>
              <a:gd fmla="*/ 162870 h 211138" name="T47"/>
              <a:gd fmla="*/ 1060286 w 241301" name="T48"/>
              <a:gd fmla="*/ 108584 h 211138" name="T49"/>
              <a:gd fmla="*/ 730420 w 241301" name="T50"/>
              <a:gd fmla="*/ 108584 h 211138" name="T51"/>
              <a:gd fmla="*/ 675444 w 241301" name="T52"/>
              <a:gd fmla="*/ 162870 h 211138" name="T53"/>
              <a:gd fmla="*/ 675444 w 241301" name="T54"/>
              <a:gd fmla="*/ 325732 h 211138" name="T55"/>
              <a:gd fmla="*/ 565488 w 241301" name="T56"/>
              <a:gd fmla="*/ 325732 h 211138" name="T57"/>
              <a:gd fmla="*/ 565488 w 241301" name="T58"/>
              <a:gd fmla="*/ 108584 h 211138" name="T59"/>
              <a:gd fmla="*/ 675444 w 241301" name="T60"/>
              <a:gd fmla="*/ 0 h 211138" name="T61"/>
              <a:gd fmla="*/ 0 60000 65536" name="T62"/>
              <a:gd fmla="*/ 0 60000 65536" name="T63"/>
              <a:gd fmla="*/ 0 60000 65536" name="T64"/>
              <a:gd fmla="*/ 0 60000 65536" name="T65"/>
              <a:gd fmla="*/ 0 60000 65536" name="T66"/>
              <a:gd fmla="*/ 0 60000 65536" name="T67"/>
              <a:gd fmla="*/ 0 60000 65536" name="T68"/>
              <a:gd fmla="*/ 0 60000 65536" name="T69"/>
              <a:gd fmla="*/ 0 60000 65536" name="T70"/>
              <a:gd fmla="*/ 0 60000 65536" name="T71"/>
              <a:gd fmla="*/ 0 60000 65536" name="T72"/>
              <a:gd fmla="*/ 0 60000 65536" name="T73"/>
              <a:gd fmla="*/ 0 60000 65536" name="T74"/>
              <a:gd fmla="*/ 0 60000 65536" name="T75"/>
              <a:gd fmla="*/ 0 60000 65536" name="T76"/>
              <a:gd fmla="*/ 0 60000 65536" name="T77"/>
              <a:gd fmla="*/ 0 60000 65536" name="T78"/>
              <a:gd fmla="*/ 0 60000 65536" name="T79"/>
              <a:gd fmla="*/ 0 60000 65536" name="T80"/>
              <a:gd fmla="*/ 0 60000 65536" name="T81"/>
              <a:gd fmla="*/ 0 60000 65536" name="T82"/>
              <a:gd fmla="*/ 0 60000 65536" name="T83"/>
              <a:gd fmla="*/ 0 60000 65536" name="T84"/>
              <a:gd fmla="*/ 0 60000 65536" name="T85"/>
              <a:gd fmla="*/ 0 60000 65536" name="T86"/>
              <a:gd fmla="*/ 0 60000 65536" name="T87"/>
              <a:gd fmla="*/ 0 60000 65536" name="T88"/>
              <a:gd fmla="*/ 0 60000 65536" name="T89"/>
              <a:gd fmla="*/ 0 60000 65536" name="T90"/>
              <a:gd fmla="*/ 0 60000 65536" name="T91"/>
              <a:gd fmla="*/ 0 60000 65536" name="T92"/>
            </a:gd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b="b" l="0" r="r" t="0"/>
            <a:pathLst>
              <a:path h="211137" w="241301">
                <a:moveTo>
                  <a:pt x="211138" y="60325"/>
                </a:moveTo>
                <a:cubicBezTo>
                  <a:pt x="211138" y="60325"/>
                  <a:pt x="211138" y="60325"/>
                  <a:pt x="226220" y="60325"/>
                </a:cubicBezTo>
                <a:cubicBezTo>
                  <a:pt x="233760" y="60325"/>
                  <a:pt x="241301" y="67866"/>
                  <a:pt x="241301" y="75406"/>
                </a:cubicBezTo>
                <a:cubicBezTo>
                  <a:pt x="241301" y="75406"/>
                  <a:pt x="241301" y="75406"/>
                  <a:pt x="241301" y="196057"/>
                </a:cubicBezTo>
                <a:cubicBezTo>
                  <a:pt x="241301" y="203597"/>
                  <a:pt x="233760" y="211138"/>
                  <a:pt x="226220" y="211138"/>
                </a:cubicBezTo>
                <a:cubicBezTo>
                  <a:pt x="226220" y="211138"/>
                  <a:pt x="226220" y="211138"/>
                  <a:pt x="211138" y="211138"/>
                </a:cubicBezTo>
                <a:cubicBezTo>
                  <a:pt x="211138" y="211138"/>
                  <a:pt x="211138" y="211138"/>
                  <a:pt x="211138" y="60325"/>
                </a:cubicBezTo>
                <a:close/>
                <a:moveTo>
                  <a:pt x="46038" y="60325"/>
                </a:moveTo>
                <a:lnTo>
                  <a:pt x="195263" y="60325"/>
                </a:lnTo>
                <a:lnTo>
                  <a:pt x="195263" y="211138"/>
                </a:lnTo>
                <a:lnTo>
                  <a:pt x="46038" y="211138"/>
                </a:lnTo>
                <a:lnTo>
                  <a:pt x="46038" y="60325"/>
                </a:lnTo>
                <a:close/>
                <a:moveTo>
                  <a:pt x="15081" y="60325"/>
                </a:moveTo>
                <a:cubicBezTo>
                  <a:pt x="15081" y="60325"/>
                  <a:pt x="15081" y="60325"/>
                  <a:pt x="30163" y="60325"/>
                </a:cubicBezTo>
                <a:lnTo>
                  <a:pt x="30163" y="211138"/>
                </a:lnTo>
                <a:cubicBezTo>
                  <a:pt x="30163" y="211138"/>
                  <a:pt x="30163" y="211138"/>
                  <a:pt x="15081" y="211138"/>
                </a:cubicBezTo>
                <a:cubicBezTo>
                  <a:pt x="7541" y="211138"/>
                  <a:pt x="0" y="203597"/>
                  <a:pt x="0" y="196057"/>
                </a:cubicBezTo>
                <a:cubicBezTo>
                  <a:pt x="0" y="196057"/>
                  <a:pt x="0" y="196057"/>
                  <a:pt x="0" y="75406"/>
                </a:cubicBezTo>
                <a:cubicBezTo>
                  <a:pt x="0" y="67866"/>
                  <a:pt x="7541" y="60325"/>
                  <a:pt x="15081" y="60325"/>
                </a:cubicBezTo>
                <a:close/>
                <a:moveTo>
                  <a:pt x="91017" y="0"/>
                </a:moveTo>
                <a:cubicBezTo>
                  <a:pt x="91017" y="0"/>
                  <a:pt x="91017" y="0"/>
                  <a:pt x="150283" y="0"/>
                </a:cubicBezTo>
                <a:cubicBezTo>
                  <a:pt x="157692" y="0"/>
                  <a:pt x="165100" y="7408"/>
                  <a:pt x="165100" y="14817"/>
                </a:cubicBezTo>
                <a:cubicBezTo>
                  <a:pt x="165100" y="14817"/>
                  <a:pt x="165100" y="14817"/>
                  <a:pt x="165100" y="44450"/>
                </a:cubicBezTo>
                <a:cubicBezTo>
                  <a:pt x="165100" y="44450"/>
                  <a:pt x="165100" y="44450"/>
                  <a:pt x="150283" y="44450"/>
                </a:cubicBezTo>
                <a:cubicBezTo>
                  <a:pt x="150283" y="44450"/>
                  <a:pt x="150283" y="44450"/>
                  <a:pt x="150283" y="22225"/>
                </a:cubicBezTo>
                <a:cubicBezTo>
                  <a:pt x="150283" y="18521"/>
                  <a:pt x="146579" y="14817"/>
                  <a:pt x="142875" y="14817"/>
                </a:cubicBezTo>
                <a:cubicBezTo>
                  <a:pt x="142875" y="14817"/>
                  <a:pt x="142875" y="14817"/>
                  <a:pt x="98425" y="14817"/>
                </a:cubicBezTo>
                <a:cubicBezTo>
                  <a:pt x="94721" y="14817"/>
                  <a:pt x="91017" y="18521"/>
                  <a:pt x="91017" y="22225"/>
                </a:cubicBezTo>
                <a:cubicBezTo>
                  <a:pt x="91017" y="22225"/>
                  <a:pt x="91017" y="22225"/>
                  <a:pt x="91017" y="44450"/>
                </a:cubicBezTo>
                <a:cubicBezTo>
                  <a:pt x="91017" y="44450"/>
                  <a:pt x="91017" y="44450"/>
                  <a:pt x="76200" y="44450"/>
                </a:cubicBezTo>
                <a:cubicBezTo>
                  <a:pt x="76200" y="44450"/>
                  <a:pt x="76200" y="44450"/>
                  <a:pt x="76200" y="14817"/>
                </a:cubicBezTo>
                <a:cubicBezTo>
                  <a:pt x="76200" y="7408"/>
                  <a:pt x="83608" y="0"/>
                  <a:pt x="91017" y="0"/>
                </a:cubicBezTo>
                <a:close/>
              </a:path>
            </a:pathLst>
          </a:custGeom>
          <a:solidFill>
            <a:schemeClr val="bg1"/>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0247" name="Freeform 75">
            <a:extLst>
              <a:ext uri="{FF2B5EF4-FFF2-40B4-BE49-F238E27FC236}">
                <a16:creationId xmlns:a16="http://schemas.microsoft.com/office/drawing/2014/main" id="{30FB2146-29E5-492F-8EA8-A61026A27F90}"/>
              </a:ext>
            </a:extLst>
          </p:cNvPr>
          <p:cNvSpPr>
            <a:spLocks noChangeAspect="1" noEditPoints="1"/>
          </p:cNvSpPr>
          <p:nvPr/>
        </p:nvSpPr>
        <p:spPr bwMode="auto">
          <a:xfrm>
            <a:off x="1387021" y="3489278"/>
            <a:ext cx="360363" cy="360363"/>
          </a:xfrm>
          <a:custGeom>
            <a:gdLst>
              <a:gd fmla="*/ 2147483647 w 56" name="T0"/>
              <a:gd fmla="*/ 0 h 56" name="T1"/>
              <a:gd fmla="*/ 2147483647 w 56" name="T2"/>
              <a:gd fmla="*/ 0 h 56" name="T3"/>
              <a:gd fmla="*/ 0 w 56" name="T4"/>
              <a:gd fmla="*/ 2147483647 h 56" name="T5"/>
              <a:gd fmla="*/ 0 w 56" name="T6"/>
              <a:gd fmla="*/ 2147483647 h 56" name="T7"/>
              <a:gd fmla="*/ 2147483647 w 56" name="T8"/>
              <a:gd fmla="*/ 2147483647 h 56" name="T9"/>
              <a:gd fmla="*/ 2147483647 w 56" name="T10"/>
              <a:gd fmla="*/ 2147483647 h 56" name="T11"/>
              <a:gd fmla="*/ 2147483647 w 56" name="T12"/>
              <a:gd fmla="*/ 2147483647 h 56" name="T13"/>
              <a:gd fmla="*/ 2147483647 w 56" name="T14"/>
              <a:gd fmla="*/ 2147483647 h 56" name="T15"/>
              <a:gd fmla="*/ 2147483647 w 56" name="T16"/>
              <a:gd fmla="*/ 2147483647 h 56" name="T17"/>
              <a:gd fmla="*/ 2147483647 w 56" name="T18"/>
              <a:gd fmla="*/ 2147483647 h 56" name="T19"/>
              <a:gd fmla="*/ 2147483647 w 56" name="T20"/>
              <a:gd fmla="*/ 2147483647 h 56" name="T21"/>
              <a:gd fmla="*/ 2147483647 w 56" name="T22"/>
              <a:gd fmla="*/ 0 h 56" name="T23"/>
              <a:gd fmla="*/ 2147483647 w 56" name="T24"/>
              <a:gd fmla="*/ 2147483647 h 56" name="T25"/>
              <a:gd fmla="*/ 2147483647 w 56" name="T26"/>
              <a:gd fmla="*/ 2147483647 h 56" name="T27"/>
              <a:gd fmla="*/ 2147483647 w 56" name="T28"/>
              <a:gd fmla="*/ 2147483647 h 56" name="T29"/>
              <a:gd fmla="*/ 2147483647 w 56" name="T30"/>
              <a:gd fmla="*/ 2147483647 h 56" name="T31"/>
              <a:gd fmla="*/ 2147483647 w 56" name="T32"/>
              <a:gd fmla="*/ 2147483647 h 56" name="T33"/>
              <a:gd fmla="*/ 2147483647 w 56" name="T34"/>
              <a:gd fmla="*/ 2147483647 h 56" name="T35"/>
              <a:gd fmla="*/ 2147483647 w 56" name="T36"/>
              <a:gd fmla="*/ 2147483647 h 56" name="T37"/>
              <a:gd fmla="*/ 2147483647 w 56" name="T38"/>
              <a:gd fmla="*/ 2147483647 h 56" name="T39"/>
              <a:gd fmla="*/ 2147483647 w 56" name="T40"/>
              <a:gd fmla="*/ 2147483647 h 56" name="T41"/>
              <a:gd fmla="*/ 2147483647 w 56" name="T42"/>
              <a:gd fmla="*/ 2147483647 h 56" name="T43"/>
              <a:gd fmla="*/ 2147483647 w 56" name="T44"/>
              <a:gd fmla="*/ 2147483647 h 56" name="T45"/>
              <a:gd fmla="*/ 2147483647 w 56" name="T46"/>
              <a:gd fmla="*/ 2147483647 h 56" name="T47"/>
              <a:gd fmla="*/ 2147483647 w 56" name="T48"/>
              <a:gd fmla="*/ 2147483647 h 56" name="T49"/>
              <a:gd fmla="*/ 2147483647 w 56" name="T50"/>
              <a:gd fmla="*/ 2147483647 h 56" name="T51"/>
              <a:gd fmla="*/ 2147483647 w 56" name="T52"/>
              <a:gd fmla="*/ 2147483647 h 56" name="T53"/>
              <a:gd fmla="*/ 0 60000 65536" name="T54"/>
              <a:gd fmla="*/ 0 60000 65536" name="T55"/>
              <a:gd fmla="*/ 0 60000 65536" name="T56"/>
              <a:gd fmla="*/ 0 60000 65536" name="T57"/>
              <a:gd fmla="*/ 0 60000 65536" name="T58"/>
              <a:gd fmla="*/ 0 60000 65536" name="T59"/>
              <a:gd fmla="*/ 0 60000 65536" name="T60"/>
              <a:gd fmla="*/ 0 60000 65536" name="T61"/>
              <a:gd fmla="*/ 0 60000 65536" name="T62"/>
              <a:gd fmla="*/ 0 60000 65536" name="T63"/>
              <a:gd fmla="*/ 0 60000 65536" name="T64"/>
              <a:gd fmla="*/ 0 60000 65536" name="T65"/>
              <a:gd fmla="*/ 0 60000 65536" name="T66"/>
              <a:gd fmla="*/ 0 60000 65536" name="T67"/>
              <a:gd fmla="*/ 0 60000 65536" name="T68"/>
              <a:gd fmla="*/ 0 60000 65536" name="T69"/>
              <a:gd fmla="*/ 0 60000 65536" name="T70"/>
              <a:gd fmla="*/ 0 60000 65536" name="T71"/>
              <a:gd fmla="*/ 0 60000 65536" name="T72"/>
              <a:gd fmla="*/ 0 60000 65536" name="T73"/>
              <a:gd fmla="*/ 0 60000 65536" name="T74"/>
              <a:gd fmla="*/ 0 60000 65536" name="T75"/>
              <a:gd fmla="*/ 0 60000 65536" name="T76"/>
              <a:gd fmla="*/ 0 60000 65536" name="T77"/>
              <a:gd fmla="*/ 0 60000 65536" name="T78"/>
              <a:gd fmla="*/ 0 60000 65536" name="T79"/>
              <a:gd fmla="*/ 0 60000 65536" name="T80"/>
            </a:gd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b="b" l="0" r="r" t="0"/>
            <a:pathLst>
              <a:path h="56" w="56">
                <a:moveTo>
                  <a:pt x="51" y="0"/>
                </a:moveTo>
                <a:cubicBezTo>
                  <a:pt x="5" y="0"/>
                  <a:pt x="5" y="0"/>
                  <a:pt x="5" y="0"/>
                </a:cubicBezTo>
                <a:cubicBezTo>
                  <a:pt x="2" y="0"/>
                  <a:pt x="0" y="2"/>
                  <a:pt x="0" y="5"/>
                </a:cubicBezTo>
                <a:cubicBezTo>
                  <a:pt x="0" y="35"/>
                  <a:pt x="0" y="35"/>
                  <a:pt x="0" y="35"/>
                </a:cubicBezTo>
                <a:cubicBezTo>
                  <a:pt x="0" y="38"/>
                  <a:pt x="2" y="40"/>
                  <a:pt x="5" y="40"/>
                </a:cubicBezTo>
                <a:cubicBezTo>
                  <a:pt x="8" y="40"/>
                  <a:pt x="8" y="40"/>
                  <a:pt x="8" y="40"/>
                </a:cubicBezTo>
                <a:cubicBezTo>
                  <a:pt x="8" y="56"/>
                  <a:pt x="8" y="56"/>
                  <a:pt x="8" y="56"/>
                </a:cubicBezTo>
                <a:cubicBezTo>
                  <a:pt x="17" y="40"/>
                  <a:pt x="17" y="40"/>
                  <a:pt x="17" y="40"/>
                </a:cubicBezTo>
                <a:cubicBezTo>
                  <a:pt x="51" y="40"/>
                  <a:pt x="51" y="40"/>
                  <a:pt x="51" y="40"/>
                </a:cubicBezTo>
                <a:cubicBezTo>
                  <a:pt x="54" y="40"/>
                  <a:pt x="56" y="38"/>
                  <a:pt x="56" y="35"/>
                </a:cubicBezTo>
                <a:cubicBezTo>
                  <a:pt x="56" y="5"/>
                  <a:pt x="56" y="5"/>
                  <a:pt x="56" y="5"/>
                </a:cubicBezTo>
                <a:cubicBezTo>
                  <a:pt x="56" y="2"/>
                  <a:pt x="54" y="0"/>
                  <a:pt x="51" y="0"/>
                </a:cubicBezTo>
                <a:close/>
                <a:moveTo>
                  <a:pt x="48" y="32"/>
                </a:moveTo>
                <a:cubicBezTo>
                  <a:pt x="24" y="32"/>
                  <a:pt x="24" y="32"/>
                  <a:pt x="24" y="32"/>
                </a:cubicBezTo>
                <a:cubicBezTo>
                  <a:pt x="24" y="28"/>
                  <a:pt x="24" y="28"/>
                  <a:pt x="24" y="28"/>
                </a:cubicBezTo>
                <a:cubicBezTo>
                  <a:pt x="48" y="28"/>
                  <a:pt x="48" y="28"/>
                  <a:pt x="48" y="28"/>
                </a:cubicBezTo>
                <a:lnTo>
                  <a:pt x="48" y="32"/>
                </a:lnTo>
                <a:close/>
                <a:moveTo>
                  <a:pt x="48" y="20"/>
                </a:moveTo>
                <a:cubicBezTo>
                  <a:pt x="8" y="20"/>
                  <a:pt x="8" y="20"/>
                  <a:pt x="8" y="20"/>
                </a:cubicBezTo>
                <a:cubicBezTo>
                  <a:pt x="8" y="16"/>
                  <a:pt x="8" y="16"/>
                  <a:pt x="8" y="16"/>
                </a:cubicBezTo>
                <a:cubicBezTo>
                  <a:pt x="48" y="16"/>
                  <a:pt x="48" y="16"/>
                  <a:pt x="48" y="16"/>
                </a:cubicBezTo>
                <a:lnTo>
                  <a:pt x="48" y="20"/>
                </a:lnTo>
                <a:close/>
                <a:moveTo>
                  <a:pt x="48" y="12"/>
                </a:moveTo>
                <a:cubicBezTo>
                  <a:pt x="8" y="12"/>
                  <a:pt x="8" y="12"/>
                  <a:pt x="8" y="12"/>
                </a:cubicBezTo>
                <a:cubicBezTo>
                  <a:pt x="8" y="8"/>
                  <a:pt x="8" y="8"/>
                  <a:pt x="8" y="8"/>
                </a:cubicBezTo>
                <a:cubicBezTo>
                  <a:pt x="48" y="8"/>
                  <a:pt x="48" y="8"/>
                  <a:pt x="48" y="8"/>
                </a:cubicBezTo>
                <a:lnTo>
                  <a:pt x="48" y="12"/>
                </a:lnTo>
                <a:close/>
              </a:path>
            </a:pathLst>
          </a:custGeom>
          <a:solidFill>
            <a:schemeClr val="bg1"/>
          </a:solidFill>
          <a:ln>
            <a:noFill/>
          </a:ln>
          <a:extLst>
            <a:ext uri="{91240B29-F687-4F45-9708-019B960494DF}">
              <a14:hiddenLine w="9525">
                <a:solidFill>
                  <a:srgbClr val="000000"/>
                </a:solidFill>
                <a:round/>
                <a:headEnd/>
                <a:tailEnd/>
              </a14:hiddenLine>
            </a:ext>
          </a:extLst>
        </p:spPr>
        <p:txBody>
          <a:bodyPr/>
          <a:lstStyle/>
          <a:p>
            <a:endParaRPr altLang="en-US" lang="zh-CN">
              <a:latin charset="-122" panose="020b0400000000000000" pitchFamily="34" typeface="思源黑体"/>
              <a:ea charset="-122" panose="020b0400000000000000" pitchFamily="34" typeface="思源黑体"/>
              <a:sym charset="-122" panose="020b0400000000000000" pitchFamily="34" typeface="思源黑体"/>
            </a:endParaRPr>
          </a:p>
        </p:txBody>
      </p:sp>
      <p:sp>
        <p:nvSpPr>
          <p:cNvPr id="10249" name="矩形 12">
            <a:extLst>
              <a:ext uri="{FF2B5EF4-FFF2-40B4-BE49-F238E27FC236}">
                <a16:creationId xmlns:a16="http://schemas.microsoft.com/office/drawing/2014/main" id="{6FD32324-C158-4760-ADD9-C68B78617725}"/>
              </a:ext>
            </a:extLst>
          </p:cNvPr>
          <p:cNvSpPr>
            <a:spLocks noChangeArrowheads="1"/>
          </p:cNvSpPr>
          <p:nvPr/>
        </p:nvSpPr>
        <p:spPr bwMode="auto">
          <a:xfrm>
            <a:off x="1931534" y="4008391"/>
            <a:ext cx="3424237" cy="51816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r>
              <a:rPr altLang="zh-CN" lang="en-US" sz="1400">
                <a:solidFill>
                  <a:srgbClr val="4F434F"/>
                </a:solidFill>
                <a:latin charset="-122" panose="020b0400000000000000" pitchFamily="34" typeface="思源黑体"/>
                <a:ea charset="-122" panose="020b0400000000000000" pitchFamily="34" typeface="思源黑体"/>
                <a:sym charset="-122" panose="020b0400000000000000" pitchFamily="34" typeface="思源黑体"/>
              </a:rPr>
              <a:t>Donec sollicitudin molestie malesuada. Donec rutrum congue leo.</a:t>
            </a:r>
          </a:p>
        </p:txBody>
      </p:sp>
      <p:sp>
        <p:nvSpPr>
          <p:cNvPr id="10250" name="矩形 13">
            <a:extLst>
              <a:ext uri="{FF2B5EF4-FFF2-40B4-BE49-F238E27FC236}">
                <a16:creationId xmlns:a16="http://schemas.microsoft.com/office/drawing/2014/main" id="{DF765747-7826-49C6-8928-2853519AA87B}"/>
              </a:ext>
            </a:extLst>
          </p:cNvPr>
          <p:cNvSpPr>
            <a:spLocks noChangeArrowheads="1"/>
          </p:cNvSpPr>
          <p:nvPr/>
        </p:nvSpPr>
        <p:spPr bwMode="auto">
          <a:xfrm>
            <a:off x="1931534" y="3365453"/>
            <a:ext cx="3424237" cy="51816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r>
              <a:rPr altLang="zh-CN" lang="en-US" sz="1400">
                <a:solidFill>
                  <a:schemeClr val="accent3"/>
                </a:solidFill>
                <a:latin charset="-122" panose="020b0400000000000000" pitchFamily="34" typeface="思源黑体"/>
                <a:ea charset="-122" panose="020b0400000000000000" pitchFamily="34" typeface="思源黑体"/>
                <a:sym charset="-122" panose="020b0400000000000000" pitchFamily="34" typeface="思源黑体"/>
              </a:rPr>
              <a:t>Donec sollicitudin molestie malesuada. Donec rutrum congue leo.</a:t>
            </a:r>
          </a:p>
        </p:txBody>
      </p:sp>
      <p:sp>
        <p:nvSpPr>
          <p:cNvPr id="10252" name="矩形 15">
            <a:extLst>
              <a:ext uri="{FF2B5EF4-FFF2-40B4-BE49-F238E27FC236}">
                <a16:creationId xmlns:a16="http://schemas.microsoft.com/office/drawing/2014/main" id="{9E8DB791-15D5-480B-929C-A45067BB0A1E}"/>
              </a:ext>
            </a:extLst>
          </p:cNvPr>
          <p:cNvSpPr>
            <a:spLocks noChangeArrowheads="1"/>
          </p:cNvSpPr>
          <p:nvPr/>
        </p:nvSpPr>
        <p:spPr bwMode="auto">
          <a:xfrm>
            <a:off x="1554163" y="4976813"/>
            <a:ext cx="3594100" cy="51816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r>
              <a:rPr altLang="en-US" lang="zh-CN" sz="1400">
                <a:latin charset="-122" panose="020b0400000000000000" pitchFamily="34" typeface="思源黑体"/>
                <a:ea charset="-122" panose="020b0400000000000000" pitchFamily="34" typeface="思源黑体"/>
                <a:sym charset="-122" panose="020b0400000000000000" pitchFamily="34" typeface="思源黑体"/>
              </a:rPr>
              <a:t>Vestibulum ante ipsum primis in faucibus orci luctus et ultrices posuere</a:t>
            </a:r>
          </a:p>
        </p:txBody>
      </p:sp>
      <p:sp>
        <p:nvSpPr>
          <p:cNvPr id="10253" name="矩形 16">
            <a:extLst>
              <a:ext uri="{FF2B5EF4-FFF2-40B4-BE49-F238E27FC236}">
                <a16:creationId xmlns:a16="http://schemas.microsoft.com/office/drawing/2014/main" id="{770DEB38-FE0D-4057-8816-2E82A3D55F15}"/>
              </a:ext>
            </a:extLst>
          </p:cNvPr>
          <p:cNvSpPr>
            <a:spLocks noChangeArrowheads="1"/>
          </p:cNvSpPr>
          <p:nvPr/>
        </p:nvSpPr>
        <p:spPr bwMode="auto">
          <a:xfrm>
            <a:off x="839788" y="2132013"/>
            <a:ext cx="4367212" cy="82296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defRPr>
                <a:solidFill>
                  <a:schemeClr val="tx1"/>
                </a:solidFill>
                <a:latin charset="0" panose="020f0502020204030204" pitchFamily="34" typeface="Calibri"/>
                <a:ea charset="-122" panose="020b0503020204020204" pitchFamily="34" typeface="微软雅黑"/>
              </a:defRPr>
            </a:lvl1pPr>
            <a:lvl2pPr indent="-285750" marL="742950">
              <a:defRPr>
                <a:solidFill>
                  <a:schemeClr val="tx1"/>
                </a:solidFill>
                <a:latin charset="0" panose="020f0502020204030204" pitchFamily="34" typeface="Calibri"/>
                <a:ea charset="-122" panose="020b0503020204020204" pitchFamily="34" typeface="微软雅黑"/>
              </a:defRPr>
            </a:lvl2pPr>
            <a:lvl3pPr indent="-228600" marL="1143000">
              <a:defRPr>
                <a:solidFill>
                  <a:schemeClr val="tx1"/>
                </a:solidFill>
                <a:latin charset="0" panose="020f0502020204030204" pitchFamily="34" typeface="Calibri"/>
                <a:ea charset="-122" panose="020b0503020204020204" pitchFamily="34" typeface="微软雅黑"/>
              </a:defRPr>
            </a:lvl3pPr>
            <a:lvl4pPr indent="-228600" marL="1600200">
              <a:defRPr>
                <a:solidFill>
                  <a:schemeClr val="tx1"/>
                </a:solidFill>
                <a:latin charset="0" panose="020f0502020204030204" pitchFamily="34" typeface="Calibri"/>
                <a:ea charset="-122" panose="020b0503020204020204" pitchFamily="34" typeface="微软雅黑"/>
              </a:defRPr>
            </a:lvl4pPr>
            <a:lvl5pPr indent="-228600" marL="2057400">
              <a:defRPr>
                <a:solidFill>
                  <a:schemeClr val="tx1"/>
                </a:solidFill>
                <a:latin charset="0" panose="020f0502020204030204" pitchFamily="34" typeface="Calibri"/>
                <a:ea charset="-122" panose="020b0503020204020204" pitchFamily="34" typeface="微软雅黑"/>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b0503020204020204" pitchFamily="34" typeface="微软雅黑"/>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b0503020204020204" pitchFamily="34" typeface="微软雅黑"/>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b0503020204020204" pitchFamily="34" typeface="微软雅黑"/>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b0503020204020204" pitchFamily="34" typeface="微软雅黑"/>
              </a:defRPr>
            </a:lvl9pPr>
          </a:lstStyle>
          <a:p>
            <a:pPr eaLnBrk="1" hangingPunct="1"/>
            <a:r>
              <a:rPr altLang="en-US" b="1" lang="zh-CN" sz="2400">
                <a:solidFill>
                  <a:schemeClr val="accent1"/>
                </a:solidFill>
                <a:latin charset="-122" panose="020b0400000000000000" pitchFamily="34" typeface="思源黑体"/>
                <a:ea charset="-122" panose="020b0400000000000000" pitchFamily="34" typeface="思源黑体"/>
                <a:sym charset="-122" panose="020b0400000000000000" pitchFamily="34" typeface="思源黑体"/>
              </a:rPr>
              <a:t>VESTIBULUM ANTE IPSUM FAUCIBUS ORCI</a:t>
            </a:r>
          </a:p>
        </p:txBody>
      </p:sp>
      <p:grpSp>
        <p:nvGrpSpPr>
          <p:cNvPr id="23" name="组合 22">
            <a:extLst>
              <a:ext uri="{FF2B5EF4-FFF2-40B4-BE49-F238E27FC236}">
                <a16:creationId xmlns:a16="http://schemas.microsoft.com/office/drawing/2014/main" id="{1D74AA4C-505B-4671-B6DB-907CCFA85E63}"/>
              </a:ext>
            </a:extLst>
          </p:cNvPr>
          <p:cNvGrpSpPr/>
          <p:nvPr/>
        </p:nvGrpSpPr>
        <p:grpSpPr>
          <a:xfrm>
            <a:off x="1208876" y="369288"/>
            <a:ext cx="7658100" cy="735806"/>
            <a:chOff x="1208876" y="369288"/>
            <a:chExt cx="7658100" cy="735806"/>
          </a:xfrm>
        </p:grpSpPr>
        <p:sp>
          <p:nvSpPr>
            <p:cNvPr id="24" name="文本框 23">
              <a:extLst>
                <a:ext uri="{FF2B5EF4-FFF2-40B4-BE49-F238E27FC236}">
                  <a16:creationId xmlns:a16="http://schemas.microsoft.com/office/drawing/2014/main" id="{A240118C-3512-4BD5-BD45-E2AFAF129C4D}"/>
                </a:ext>
              </a:extLst>
            </p:cNvPr>
            <p:cNvSpPr txBox="1"/>
            <p:nvPr/>
          </p:nvSpPr>
          <p:spPr>
            <a:xfrm>
              <a:off x="1208876" y="369288"/>
              <a:ext cx="7658100" cy="457200"/>
            </a:xfrm>
            <a:prstGeom prst="rect">
              <a:avLst/>
            </a:prstGeom>
            <a:noFill/>
          </p:spPr>
          <p:txBody>
            <a:bodyPr rtlCol="0" wrap="square">
              <a:spAutoFit/>
            </a:bodyPr>
            <a:lstStyle/>
            <a:p>
              <a:r>
                <a:rPr altLang="en-US" lang="zh-CN" sz="2400">
                  <a:gradFill>
                    <a:gsLst>
                      <a:gs pos="885">
                        <a:schemeClr val="accent1">
                          <a:alpha val="10000"/>
                        </a:schemeClr>
                      </a:gs>
                      <a:gs pos="75000">
                        <a:schemeClr val="accent1">
                          <a:alpha val="73000"/>
                        </a:schemeClr>
                      </a:gs>
                    </a:gsLst>
                    <a:lin ang="5400000" scaled="1"/>
                  </a:gradFill>
                  <a:latin charset="-122" panose="020b0400000000000000" pitchFamily="34" typeface="思源黑体"/>
                  <a:ea charset="-122" panose="020b0400000000000000" pitchFamily="34" typeface="思源黑体"/>
                  <a:sym charset="-122" panose="020b0400000000000000" pitchFamily="34" typeface="思源黑体"/>
                </a:rPr>
                <a:t>在此输入标题内容</a:t>
              </a:r>
            </a:p>
          </p:txBody>
        </p:sp>
        <p:sp>
          <p:nvSpPr>
            <p:cNvPr id="25" name="文本框 24">
              <a:extLst>
                <a:ext uri="{FF2B5EF4-FFF2-40B4-BE49-F238E27FC236}">
                  <a16:creationId xmlns:a16="http://schemas.microsoft.com/office/drawing/2014/main" id="{70021118-738D-46DF-AC34-06F5C2417C1E}"/>
                </a:ext>
              </a:extLst>
            </p:cNvPr>
            <p:cNvSpPr txBox="1"/>
            <p:nvPr/>
          </p:nvSpPr>
          <p:spPr>
            <a:xfrm>
              <a:off x="1208876" y="797317"/>
              <a:ext cx="7658100" cy="304800"/>
            </a:xfrm>
            <a:prstGeom prst="rect">
              <a:avLst/>
            </a:prstGeom>
            <a:noFill/>
          </p:spPr>
          <p:txBody>
            <a:bodyPr rtlCol="0" wrap="square">
              <a:spAutoFit/>
            </a:bodyPr>
            <a:lstStyle/>
            <a:p>
              <a:r>
                <a:rPr altLang="zh-CN" lang="en-US" sz="1400">
                  <a:solidFill>
                    <a:schemeClr val="bg2"/>
                  </a:solidFill>
                  <a:latin charset="-122" panose="020b0400000000000000" pitchFamily="34" typeface="思源黑体"/>
                  <a:ea charset="-122" panose="020b0400000000000000" pitchFamily="34" typeface="思源黑体"/>
                  <a:sym charset="-122" panose="020b0400000000000000" pitchFamily="34" typeface="思源黑体"/>
                </a:rPr>
                <a:t>Use "Title Only" Layout</a:t>
              </a:r>
            </a:p>
          </p:txBody>
        </p:sp>
      </p:grpSp>
      <p:grpSp>
        <p:nvGrpSpPr>
          <p:cNvPr id="26" name="组合 25">
            <a:extLst>
              <a:ext uri="{FF2B5EF4-FFF2-40B4-BE49-F238E27FC236}">
                <a16:creationId xmlns:a16="http://schemas.microsoft.com/office/drawing/2014/main" id="{DD1876C8-1634-4378-9A9A-A898675F54AF}"/>
              </a:ext>
            </a:extLst>
          </p:cNvPr>
          <p:cNvGrpSpPr/>
          <p:nvPr/>
        </p:nvGrpSpPr>
        <p:grpSpPr>
          <a:xfrm>
            <a:off x="538226" y="153800"/>
            <a:ext cx="811275" cy="1299746"/>
            <a:chOff x="538226" y="153800"/>
            <a:chExt cx="811275" cy="1299746"/>
          </a:xfrm>
        </p:grpSpPr>
        <p:sp>
          <p:nvSpPr>
            <p:cNvPr id="27" name="文本框 26">
              <a:extLst>
                <a:ext uri="{FF2B5EF4-FFF2-40B4-BE49-F238E27FC236}">
                  <a16:creationId xmlns:a16="http://schemas.microsoft.com/office/drawing/2014/main" id="{ABAF3EAF-8016-42C7-A2AC-BE22874368CD}"/>
                </a:ext>
              </a:extLst>
            </p:cNvPr>
            <p:cNvSpPr txBox="1"/>
            <p:nvPr/>
          </p:nvSpPr>
          <p:spPr>
            <a:xfrm>
              <a:off x="538226" y="153800"/>
              <a:ext cx="567647" cy="1097280"/>
            </a:xfrm>
            <a:prstGeom prst="rect">
              <a:avLst/>
            </a:prstGeom>
            <a:noFill/>
          </p:spPr>
          <p:txBody>
            <a:bodyPr rtlCol="0" wrap="square">
              <a:spAutoFit/>
            </a:bodyPr>
            <a:lstStyle>
              <a:defPPr>
                <a:defRPr lang="en-US"/>
              </a:defPPr>
              <a:lvl1pPr>
                <a:defRPr sz="8000">
                  <a:gradFill>
                    <a:gsLst>
                      <a:gs pos="36000">
                        <a:schemeClr val="bg1"/>
                      </a:gs>
                      <a:gs pos="100000">
                        <a:schemeClr val="tx1">
                          <a:lumMod val="50000"/>
                          <a:lumOff val="50000"/>
                        </a:schemeClr>
                      </a:gs>
                    </a:gsLst>
                    <a:lin ang="5400000" scaled="1"/>
                  </a:gradFill>
                  <a:latin charset="-122" panose="00000500000000000000" pitchFamily="2" typeface="字魂5号-无外润黑体"/>
                  <a:ea charset="-122" panose="00000500000000000000" pitchFamily="2" typeface="字魂5号-无外润黑体"/>
                </a:defRPr>
              </a:lvl1pPr>
            </a:lstStyle>
            <a:p>
              <a:r>
                <a:rPr altLang="zh-CN" lang="en-US" sz="6600">
                  <a:gradFill>
                    <a:gsLst>
                      <a:gs pos="36000">
                        <a:schemeClr val="bg1"/>
                      </a:gs>
                      <a:gs pos="70000">
                        <a:schemeClr val="tx1">
                          <a:lumMod val="50000"/>
                          <a:lumOff val="50000"/>
                          <a:alpha val="0"/>
                        </a:schemeClr>
                      </a:gs>
                    </a:gsLst>
                    <a:lin ang="5400000" scaled="1"/>
                  </a:gradFill>
                  <a:latin charset="-122" panose="020b0300000000000000" pitchFamily="34" typeface="思源黑体 CN Light"/>
                  <a:ea charset="-122" panose="00000500000000000000" pitchFamily="2" typeface="字魂54号-贤黑"/>
                  <a:sym charset="-122" panose="020b0400000000000000" pitchFamily="34" typeface="思源黑体"/>
                </a:rPr>
                <a:t>1</a:t>
              </a:r>
            </a:p>
          </p:txBody>
        </p:sp>
        <p:grpSp>
          <p:nvGrpSpPr>
            <p:cNvPr id="28" name="组合 27">
              <a:extLst>
                <a:ext uri="{FF2B5EF4-FFF2-40B4-BE49-F238E27FC236}">
                  <a16:creationId xmlns:a16="http://schemas.microsoft.com/office/drawing/2014/main" id="{3D5C5D45-79A8-4727-8990-2102E3C40A79}"/>
                </a:ext>
              </a:extLst>
            </p:cNvPr>
            <p:cNvGrpSpPr/>
            <p:nvPr/>
          </p:nvGrpSpPr>
          <p:grpSpPr>
            <a:xfrm rot="1279383">
              <a:off x="538418" y="260428"/>
              <a:ext cx="811083" cy="1193118"/>
              <a:chOff x="5326021" y="1359499"/>
              <a:chExt cx="2273644" cy="3344573"/>
            </a:xfrm>
          </p:grpSpPr>
          <p:cxnSp>
            <p:nvCxnSpPr>
              <p:cNvPr id="29" name="直接连接符 28">
                <a:extLst>
                  <a:ext uri="{FF2B5EF4-FFF2-40B4-BE49-F238E27FC236}">
                    <a16:creationId xmlns:a16="http://schemas.microsoft.com/office/drawing/2014/main" id="{700DE454-B50F-4944-B4B4-14068B590562}"/>
                  </a:ext>
                </a:extLst>
              </p:cNvPr>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0" name="任意多边形: 形状 29">
                <a:extLst>
                  <a:ext uri="{FF2B5EF4-FFF2-40B4-BE49-F238E27FC236}">
                    <a16:creationId xmlns:a16="http://schemas.microsoft.com/office/drawing/2014/main" id="{11ABC91D-FE9C-487E-B2E2-ADE3ABA1286B}"/>
                  </a:ext>
                </a:extLst>
              </p:cNvPr>
              <p:cNvSpPr/>
              <p:nvPr/>
            </p:nvSpPr>
            <p:spPr>
              <a:xfrm rot="2008142">
                <a:off x="5326021" y="3632692"/>
                <a:ext cx="319543" cy="1071380"/>
              </a:xfrm>
              <a:custGeom>
                <a:gdLst>
                  <a:gd fmla="*/ 278285 w 319543" name="connsiteX0"/>
                  <a:gd fmla="*/ 0 h 1071380" name="connsiteY0"/>
                  <a:gd fmla="*/ 319543 w 319543" name="connsiteX1"/>
                  <a:gd fmla="*/ 0 h 1071380" name="connsiteY1"/>
                  <a:gd fmla="*/ 319543 w 319543" name="connsiteX2"/>
                  <a:gd fmla="*/ 601405 h 1071380" name="connsiteY2"/>
                  <a:gd fmla="*/ 0 w 319543" name="connsiteX3"/>
                  <a:gd fmla="*/ 1071380 h 1071380" name="connsiteY3"/>
                  <a:gd fmla="*/ 0 w 319543" name="connsiteX4"/>
                  <a:gd fmla="*/ 409295 h 1071380"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1071380" w="319543">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400"/>
              </a:p>
            </p:txBody>
          </p:sp>
        </p:grpSp>
      </p:grpSp>
    </p:spTree>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afterEffect" presetClass="entr" presetID="42" presetSubtype="0">
                                  <p:stCondLst>
                                    <p:cond delay="0"/>
                                  </p:stCondLst>
                                  <p:childTnLst>
                                    <p:set>
                                      <p:cBhvr>
                                        <p:cTn dur="1" fill="hold" id="6">
                                          <p:stCondLst>
                                            <p:cond delay="0"/>
                                          </p:stCondLst>
                                        </p:cTn>
                                        <p:tgtEl>
                                          <p:spTgt spid="8"/>
                                        </p:tgtEl>
                                        <p:attrNameLst>
                                          <p:attrName>style.visibility</p:attrName>
                                        </p:attrNameLst>
                                      </p:cBhvr>
                                      <p:to>
                                        <p:strVal val="visible"/>
                                      </p:to>
                                    </p:set>
                                    <p:animEffect filter="fade" transition="in">
                                      <p:cBhvr>
                                        <p:cTn dur="1000" id="7"/>
                                        <p:tgtEl>
                                          <p:spTgt spid="8"/>
                                        </p:tgtEl>
                                      </p:cBhvr>
                                    </p:animEffect>
                                    <p:anim calcmode="lin" valueType="num">
                                      <p:cBhvr>
                                        <p:cTn dur="1000" fill="hold" id="8"/>
                                        <p:tgtEl>
                                          <p:spTgt spid="8"/>
                                        </p:tgtEl>
                                        <p:attrNameLst>
                                          <p:attrName>ppt_x</p:attrName>
                                        </p:attrNameLst>
                                      </p:cBhvr>
                                      <p:tavLst>
                                        <p:tav tm="0">
                                          <p:val>
                                            <p:strVal val="#ppt_x"/>
                                          </p:val>
                                        </p:tav>
                                        <p:tav tm="100000">
                                          <p:val>
                                            <p:strVal val="#ppt_x"/>
                                          </p:val>
                                        </p:tav>
                                      </p:tavLst>
                                    </p:anim>
                                    <p:anim calcmode="lin" valueType="num">
                                      <p:cBhvr>
                                        <p:cTn dur="1000" fill="hold" id="9"/>
                                        <p:tgtEl>
                                          <p:spTgt spid="8"/>
                                        </p:tgtEl>
                                        <p:attrNameLst>
                                          <p:attrName>ppt_y</p:attrName>
                                        </p:attrNameLst>
                                      </p:cBhvr>
                                      <p:tavLst>
                                        <p:tav tm="0">
                                          <p:val>
                                            <p:strVal val="#ppt_y+.1"/>
                                          </p:val>
                                        </p:tav>
                                        <p:tav tm="100000">
                                          <p:val>
                                            <p:strVal val="#ppt_y"/>
                                          </p:val>
                                        </p:tav>
                                      </p:tavLst>
                                    </p:anim>
                                  </p:childTnLst>
                                </p:cTn>
                              </p:par>
                            </p:childTnLst>
                          </p:cTn>
                        </p:par>
                        <p:par>
                          <p:cTn fill="hold" id="10" nodeType="afterGroup">
                            <p:stCondLst>
                              <p:cond delay="1000"/>
                            </p:stCondLst>
                            <p:childTnLst>
                              <p:par>
                                <p:cTn fill="hold" grpId="0" id="11" nodeType="afterEffect" presetClass="entr" presetID="42" presetSubtype="0">
                                  <p:stCondLst>
                                    <p:cond delay="0"/>
                                  </p:stCondLst>
                                  <p:childTnLst>
                                    <p:set>
                                      <p:cBhvr>
                                        <p:cTn dur="1" fill="hold" id="12">
                                          <p:stCondLst>
                                            <p:cond delay="0"/>
                                          </p:stCondLst>
                                        </p:cTn>
                                        <p:tgtEl>
                                          <p:spTgt spid="18"/>
                                        </p:tgtEl>
                                        <p:attrNameLst>
                                          <p:attrName>style.visibility</p:attrName>
                                        </p:attrNameLst>
                                      </p:cBhvr>
                                      <p:to>
                                        <p:strVal val="visible"/>
                                      </p:to>
                                    </p:set>
                                    <p:animEffect filter="fade" transition="in">
                                      <p:cBhvr>
                                        <p:cTn dur="1000" id="13"/>
                                        <p:tgtEl>
                                          <p:spTgt spid="18"/>
                                        </p:tgtEl>
                                      </p:cBhvr>
                                    </p:animEffect>
                                    <p:anim calcmode="lin" valueType="num">
                                      <p:cBhvr>
                                        <p:cTn dur="1000" fill="hold" id="14"/>
                                        <p:tgtEl>
                                          <p:spTgt spid="18"/>
                                        </p:tgtEl>
                                        <p:attrNameLst>
                                          <p:attrName>ppt_x</p:attrName>
                                        </p:attrNameLst>
                                      </p:cBhvr>
                                      <p:tavLst>
                                        <p:tav tm="0">
                                          <p:val>
                                            <p:strVal val="#ppt_x"/>
                                          </p:val>
                                        </p:tav>
                                        <p:tav tm="100000">
                                          <p:val>
                                            <p:strVal val="#ppt_x"/>
                                          </p:val>
                                        </p:tav>
                                      </p:tavLst>
                                    </p:anim>
                                    <p:anim calcmode="lin" valueType="num">
                                      <p:cBhvr>
                                        <p:cTn dur="1000" fill="hold" id="15"/>
                                        <p:tgtEl>
                                          <p:spTgt spid="18"/>
                                        </p:tgtEl>
                                        <p:attrNameLst>
                                          <p:attrName>ppt_y</p:attrName>
                                        </p:attrNameLst>
                                      </p:cBhvr>
                                      <p:tavLst>
                                        <p:tav tm="0">
                                          <p:val>
                                            <p:strVal val="#ppt_y+.1"/>
                                          </p:val>
                                        </p:tav>
                                        <p:tav tm="100000">
                                          <p:val>
                                            <p:strVal val="#ppt_y"/>
                                          </p:val>
                                        </p:tav>
                                      </p:tavLst>
                                    </p:anim>
                                  </p:childTnLst>
                                </p:cTn>
                              </p:par>
                            </p:childTnLst>
                          </p:cTn>
                        </p:par>
                        <p:par>
                          <p:cTn fill="hold" id="16" nodeType="afterGroup">
                            <p:stCondLst>
                              <p:cond delay="2000"/>
                            </p:stCondLst>
                            <p:childTnLst>
                              <p:par>
                                <p:cTn fill="hold" id="17" nodeType="afterEffect" presetClass="entr" presetID="42" presetSubtype="0">
                                  <p:stCondLst>
                                    <p:cond delay="0"/>
                                  </p:stCondLst>
                                  <p:childTnLst>
                                    <p:set>
                                      <p:cBhvr>
                                        <p:cTn dur="1" fill="hold" id="18">
                                          <p:stCondLst>
                                            <p:cond delay="0"/>
                                          </p:stCondLst>
                                        </p:cTn>
                                        <p:tgtEl>
                                          <p:spTgt spid="10245"/>
                                        </p:tgtEl>
                                        <p:attrNameLst>
                                          <p:attrName>style.visibility</p:attrName>
                                        </p:attrNameLst>
                                      </p:cBhvr>
                                      <p:to>
                                        <p:strVal val="visible"/>
                                      </p:to>
                                    </p:set>
                                    <p:animEffect filter="fade" transition="in">
                                      <p:cBhvr>
                                        <p:cTn dur="1000" id="19"/>
                                        <p:tgtEl>
                                          <p:spTgt spid="10245"/>
                                        </p:tgtEl>
                                      </p:cBhvr>
                                    </p:animEffect>
                                    <p:anim calcmode="lin" valueType="num">
                                      <p:cBhvr>
                                        <p:cTn dur="1000" fill="hold" id="20"/>
                                        <p:tgtEl>
                                          <p:spTgt spid="10245"/>
                                        </p:tgtEl>
                                        <p:attrNameLst>
                                          <p:attrName>ppt_x</p:attrName>
                                        </p:attrNameLst>
                                      </p:cBhvr>
                                      <p:tavLst>
                                        <p:tav tm="0">
                                          <p:val>
                                            <p:strVal val="#ppt_x"/>
                                          </p:val>
                                        </p:tav>
                                        <p:tav tm="100000">
                                          <p:val>
                                            <p:strVal val="#ppt_x"/>
                                          </p:val>
                                        </p:tav>
                                      </p:tavLst>
                                    </p:anim>
                                    <p:anim calcmode="lin" valueType="num">
                                      <p:cBhvr>
                                        <p:cTn dur="1000" fill="hold" id="21"/>
                                        <p:tgtEl>
                                          <p:spTgt spid="10245"/>
                                        </p:tgtEl>
                                        <p:attrNameLst>
                                          <p:attrName>ppt_y</p:attrName>
                                        </p:attrNameLst>
                                      </p:cBhvr>
                                      <p:tavLst>
                                        <p:tav tm="0">
                                          <p:val>
                                            <p:strVal val="#ppt_y+.1"/>
                                          </p:val>
                                        </p:tav>
                                        <p:tav tm="100000">
                                          <p:val>
                                            <p:strVal val="#ppt_y"/>
                                          </p:val>
                                        </p:tav>
                                      </p:tavLst>
                                    </p:anim>
                                  </p:childTnLst>
                                </p:cTn>
                              </p:par>
                            </p:childTnLst>
                          </p:cTn>
                        </p:par>
                        <p:par>
                          <p:cTn fill="hold" id="22" nodeType="afterGroup">
                            <p:stCondLst>
                              <p:cond delay="3000"/>
                            </p:stCondLst>
                            <p:childTnLst>
                              <p:par>
                                <p:cTn fill="hold" grpId="0" id="23" nodeType="afterEffect" presetClass="entr" presetID="42" presetSubtype="0">
                                  <p:stCondLst>
                                    <p:cond delay="0"/>
                                  </p:stCondLst>
                                  <p:childTnLst>
                                    <p:set>
                                      <p:cBhvr>
                                        <p:cTn dur="1" fill="hold" id="24">
                                          <p:stCondLst>
                                            <p:cond delay="0"/>
                                          </p:stCondLst>
                                        </p:cTn>
                                        <p:tgtEl>
                                          <p:spTgt spid="10246"/>
                                        </p:tgtEl>
                                        <p:attrNameLst>
                                          <p:attrName>style.visibility</p:attrName>
                                        </p:attrNameLst>
                                      </p:cBhvr>
                                      <p:to>
                                        <p:strVal val="visible"/>
                                      </p:to>
                                    </p:set>
                                    <p:animEffect filter="fade" transition="in">
                                      <p:cBhvr>
                                        <p:cTn dur="1000" id="25"/>
                                        <p:tgtEl>
                                          <p:spTgt spid="10246"/>
                                        </p:tgtEl>
                                      </p:cBhvr>
                                    </p:animEffect>
                                    <p:anim calcmode="lin" valueType="num">
                                      <p:cBhvr>
                                        <p:cTn dur="1000" fill="hold" id="26"/>
                                        <p:tgtEl>
                                          <p:spTgt spid="10246"/>
                                        </p:tgtEl>
                                        <p:attrNameLst>
                                          <p:attrName>ppt_x</p:attrName>
                                        </p:attrNameLst>
                                      </p:cBhvr>
                                      <p:tavLst>
                                        <p:tav tm="0">
                                          <p:val>
                                            <p:strVal val="#ppt_x"/>
                                          </p:val>
                                        </p:tav>
                                        <p:tav tm="100000">
                                          <p:val>
                                            <p:strVal val="#ppt_x"/>
                                          </p:val>
                                        </p:tav>
                                      </p:tavLst>
                                    </p:anim>
                                    <p:anim calcmode="lin" valueType="num">
                                      <p:cBhvr>
                                        <p:cTn dur="1000" fill="hold" id="27"/>
                                        <p:tgtEl>
                                          <p:spTgt spid="10246"/>
                                        </p:tgtEl>
                                        <p:attrNameLst>
                                          <p:attrName>ppt_y</p:attrName>
                                        </p:attrNameLst>
                                      </p:cBhvr>
                                      <p:tavLst>
                                        <p:tav tm="0">
                                          <p:val>
                                            <p:strVal val="#ppt_y+.1"/>
                                          </p:val>
                                        </p:tav>
                                        <p:tav tm="100000">
                                          <p:val>
                                            <p:strVal val="#ppt_y"/>
                                          </p:val>
                                        </p:tav>
                                      </p:tavLst>
                                    </p:anim>
                                  </p:childTnLst>
                                </p:cTn>
                              </p:par>
                            </p:childTnLst>
                          </p:cTn>
                        </p:par>
                        <p:par>
                          <p:cTn fill="hold" id="28" nodeType="afterGroup">
                            <p:stCondLst>
                              <p:cond delay="4000"/>
                            </p:stCondLst>
                            <p:childTnLst>
                              <p:par>
                                <p:cTn fill="hold" grpId="0" id="29" nodeType="afterEffect" presetClass="entr" presetID="42" presetSubtype="0">
                                  <p:stCondLst>
                                    <p:cond delay="0"/>
                                  </p:stCondLst>
                                  <p:childTnLst>
                                    <p:set>
                                      <p:cBhvr>
                                        <p:cTn dur="1" fill="hold" id="30">
                                          <p:stCondLst>
                                            <p:cond delay="0"/>
                                          </p:stCondLst>
                                        </p:cTn>
                                        <p:tgtEl>
                                          <p:spTgt spid="10247"/>
                                        </p:tgtEl>
                                        <p:attrNameLst>
                                          <p:attrName>style.visibility</p:attrName>
                                        </p:attrNameLst>
                                      </p:cBhvr>
                                      <p:to>
                                        <p:strVal val="visible"/>
                                      </p:to>
                                    </p:set>
                                    <p:animEffect filter="fade" transition="in">
                                      <p:cBhvr>
                                        <p:cTn dur="1000" id="31"/>
                                        <p:tgtEl>
                                          <p:spTgt spid="10247"/>
                                        </p:tgtEl>
                                      </p:cBhvr>
                                    </p:animEffect>
                                    <p:anim calcmode="lin" valueType="num">
                                      <p:cBhvr>
                                        <p:cTn dur="1000" fill="hold" id="32"/>
                                        <p:tgtEl>
                                          <p:spTgt spid="10247"/>
                                        </p:tgtEl>
                                        <p:attrNameLst>
                                          <p:attrName>ppt_x</p:attrName>
                                        </p:attrNameLst>
                                      </p:cBhvr>
                                      <p:tavLst>
                                        <p:tav tm="0">
                                          <p:val>
                                            <p:strVal val="#ppt_x"/>
                                          </p:val>
                                        </p:tav>
                                        <p:tav tm="100000">
                                          <p:val>
                                            <p:strVal val="#ppt_x"/>
                                          </p:val>
                                        </p:tav>
                                      </p:tavLst>
                                    </p:anim>
                                    <p:anim calcmode="lin" valueType="num">
                                      <p:cBhvr>
                                        <p:cTn dur="1000" fill="hold" id="33"/>
                                        <p:tgtEl>
                                          <p:spTgt spid="10247"/>
                                        </p:tgtEl>
                                        <p:attrNameLst>
                                          <p:attrName>ppt_y</p:attrName>
                                        </p:attrNameLst>
                                      </p:cBhvr>
                                      <p:tavLst>
                                        <p:tav tm="0">
                                          <p:val>
                                            <p:strVal val="#ppt_y+.1"/>
                                          </p:val>
                                        </p:tav>
                                        <p:tav tm="100000">
                                          <p:val>
                                            <p:strVal val="#ppt_y"/>
                                          </p:val>
                                        </p:tav>
                                      </p:tavLst>
                                    </p:anim>
                                  </p:childTnLst>
                                </p:cTn>
                              </p:par>
                            </p:childTnLst>
                          </p:cTn>
                        </p:par>
                        <p:par>
                          <p:cTn fill="hold" id="34" nodeType="afterGroup">
                            <p:stCondLst>
                              <p:cond delay="5000"/>
                            </p:stCondLst>
                            <p:childTnLst>
                              <p:par>
                                <p:cTn fill="hold" grpId="0" id="35" nodeType="afterEffect" presetClass="entr" presetID="42" presetSubtype="0">
                                  <p:stCondLst>
                                    <p:cond delay="0"/>
                                  </p:stCondLst>
                                  <p:childTnLst>
                                    <p:set>
                                      <p:cBhvr>
                                        <p:cTn dur="1" fill="hold" id="36">
                                          <p:stCondLst>
                                            <p:cond delay="0"/>
                                          </p:stCondLst>
                                        </p:cTn>
                                        <p:tgtEl>
                                          <p:spTgt spid="10249"/>
                                        </p:tgtEl>
                                        <p:attrNameLst>
                                          <p:attrName>style.visibility</p:attrName>
                                        </p:attrNameLst>
                                      </p:cBhvr>
                                      <p:to>
                                        <p:strVal val="visible"/>
                                      </p:to>
                                    </p:set>
                                    <p:animEffect filter="fade" transition="in">
                                      <p:cBhvr>
                                        <p:cTn dur="1000" id="37"/>
                                        <p:tgtEl>
                                          <p:spTgt spid="10249"/>
                                        </p:tgtEl>
                                      </p:cBhvr>
                                    </p:animEffect>
                                    <p:anim calcmode="lin" valueType="num">
                                      <p:cBhvr>
                                        <p:cTn dur="1000" fill="hold" id="38"/>
                                        <p:tgtEl>
                                          <p:spTgt spid="10249"/>
                                        </p:tgtEl>
                                        <p:attrNameLst>
                                          <p:attrName>ppt_x</p:attrName>
                                        </p:attrNameLst>
                                      </p:cBhvr>
                                      <p:tavLst>
                                        <p:tav tm="0">
                                          <p:val>
                                            <p:strVal val="#ppt_x"/>
                                          </p:val>
                                        </p:tav>
                                        <p:tav tm="100000">
                                          <p:val>
                                            <p:strVal val="#ppt_x"/>
                                          </p:val>
                                        </p:tav>
                                      </p:tavLst>
                                    </p:anim>
                                    <p:anim calcmode="lin" valueType="num">
                                      <p:cBhvr>
                                        <p:cTn dur="1000" fill="hold" id="39"/>
                                        <p:tgtEl>
                                          <p:spTgt spid="10249"/>
                                        </p:tgtEl>
                                        <p:attrNameLst>
                                          <p:attrName>ppt_y</p:attrName>
                                        </p:attrNameLst>
                                      </p:cBhvr>
                                      <p:tavLst>
                                        <p:tav tm="0">
                                          <p:val>
                                            <p:strVal val="#ppt_y+.1"/>
                                          </p:val>
                                        </p:tav>
                                        <p:tav tm="100000">
                                          <p:val>
                                            <p:strVal val="#ppt_y"/>
                                          </p:val>
                                        </p:tav>
                                      </p:tavLst>
                                    </p:anim>
                                  </p:childTnLst>
                                </p:cTn>
                              </p:par>
                            </p:childTnLst>
                          </p:cTn>
                        </p:par>
                        <p:par>
                          <p:cTn fill="hold" id="40" nodeType="afterGroup">
                            <p:stCondLst>
                              <p:cond delay="6000"/>
                            </p:stCondLst>
                            <p:childTnLst>
                              <p:par>
                                <p:cTn fill="hold" grpId="0" id="41" nodeType="afterEffect" presetClass="entr" presetID="42" presetSubtype="0">
                                  <p:stCondLst>
                                    <p:cond delay="0"/>
                                  </p:stCondLst>
                                  <p:childTnLst>
                                    <p:set>
                                      <p:cBhvr>
                                        <p:cTn dur="1" fill="hold" id="42">
                                          <p:stCondLst>
                                            <p:cond delay="0"/>
                                          </p:stCondLst>
                                        </p:cTn>
                                        <p:tgtEl>
                                          <p:spTgt spid="10250"/>
                                        </p:tgtEl>
                                        <p:attrNameLst>
                                          <p:attrName>style.visibility</p:attrName>
                                        </p:attrNameLst>
                                      </p:cBhvr>
                                      <p:to>
                                        <p:strVal val="visible"/>
                                      </p:to>
                                    </p:set>
                                    <p:animEffect filter="fade" transition="in">
                                      <p:cBhvr>
                                        <p:cTn dur="1000" id="43"/>
                                        <p:tgtEl>
                                          <p:spTgt spid="10250"/>
                                        </p:tgtEl>
                                      </p:cBhvr>
                                    </p:animEffect>
                                    <p:anim calcmode="lin" valueType="num">
                                      <p:cBhvr>
                                        <p:cTn dur="1000" fill="hold" id="44"/>
                                        <p:tgtEl>
                                          <p:spTgt spid="10250"/>
                                        </p:tgtEl>
                                        <p:attrNameLst>
                                          <p:attrName>ppt_x</p:attrName>
                                        </p:attrNameLst>
                                      </p:cBhvr>
                                      <p:tavLst>
                                        <p:tav tm="0">
                                          <p:val>
                                            <p:strVal val="#ppt_x"/>
                                          </p:val>
                                        </p:tav>
                                        <p:tav tm="100000">
                                          <p:val>
                                            <p:strVal val="#ppt_x"/>
                                          </p:val>
                                        </p:tav>
                                      </p:tavLst>
                                    </p:anim>
                                    <p:anim calcmode="lin" valueType="num">
                                      <p:cBhvr>
                                        <p:cTn dur="1000" fill="hold" id="45"/>
                                        <p:tgtEl>
                                          <p:spTgt spid="10250"/>
                                        </p:tgtEl>
                                        <p:attrNameLst>
                                          <p:attrName>ppt_y</p:attrName>
                                        </p:attrNameLst>
                                      </p:cBhvr>
                                      <p:tavLst>
                                        <p:tav tm="0">
                                          <p:val>
                                            <p:strVal val="#ppt_y+.1"/>
                                          </p:val>
                                        </p:tav>
                                        <p:tav tm="100000">
                                          <p:val>
                                            <p:strVal val="#ppt_y"/>
                                          </p:val>
                                        </p:tav>
                                      </p:tavLst>
                                    </p:anim>
                                  </p:childTnLst>
                                </p:cTn>
                              </p:par>
                            </p:childTnLst>
                          </p:cTn>
                        </p:par>
                        <p:par>
                          <p:cTn fill="hold" id="46" nodeType="afterGroup">
                            <p:stCondLst>
                              <p:cond delay="7000"/>
                            </p:stCondLst>
                            <p:childTnLst>
                              <p:par>
                                <p:cTn fill="hold" grpId="0" id="47" nodeType="afterEffect" presetClass="entr" presetID="42" presetSubtype="0">
                                  <p:stCondLst>
                                    <p:cond delay="0"/>
                                  </p:stCondLst>
                                  <p:childTnLst>
                                    <p:set>
                                      <p:cBhvr>
                                        <p:cTn dur="1" fill="hold" id="48">
                                          <p:stCondLst>
                                            <p:cond delay="0"/>
                                          </p:stCondLst>
                                        </p:cTn>
                                        <p:tgtEl>
                                          <p:spTgt spid="10252"/>
                                        </p:tgtEl>
                                        <p:attrNameLst>
                                          <p:attrName>style.visibility</p:attrName>
                                        </p:attrNameLst>
                                      </p:cBhvr>
                                      <p:to>
                                        <p:strVal val="visible"/>
                                      </p:to>
                                    </p:set>
                                    <p:animEffect filter="fade" transition="in">
                                      <p:cBhvr>
                                        <p:cTn dur="1000" id="49"/>
                                        <p:tgtEl>
                                          <p:spTgt spid="10252"/>
                                        </p:tgtEl>
                                      </p:cBhvr>
                                    </p:animEffect>
                                    <p:anim calcmode="lin" valueType="num">
                                      <p:cBhvr>
                                        <p:cTn dur="1000" fill="hold" id="50"/>
                                        <p:tgtEl>
                                          <p:spTgt spid="10252"/>
                                        </p:tgtEl>
                                        <p:attrNameLst>
                                          <p:attrName>ppt_x</p:attrName>
                                        </p:attrNameLst>
                                      </p:cBhvr>
                                      <p:tavLst>
                                        <p:tav tm="0">
                                          <p:val>
                                            <p:strVal val="#ppt_x"/>
                                          </p:val>
                                        </p:tav>
                                        <p:tav tm="100000">
                                          <p:val>
                                            <p:strVal val="#ppt_x"/>
                                          </p:val>
                                        </p:tav>
                                      </p:tavLst>
                                    </p:anim>
                                    <p:anim calcmode="lin" valueType="num">
                                      <p:cBhvr>
                                        <p:cTn dur="1000" fill="hold" id="51"/>
                                        <p:tgtEl>
                                          <p:spTgt spid="10252"/>
                                        </p:tgtEl>
                                        <p:attrNameLst>
                                          <p:attrName>ppt_y</p:attrName>
                                        </p:attrNameLst>
                                      </p:cBhvr>
                                      <p:tavLst>
                                        <p:tav tm="0">
                                          <p:val>
                                            <p:strVal val="#ppt_y+.1"/>
                                          </p:val>
                                        </p:tav>
                                        <p:tav tm="100000">
                                          <p:val>
                                            <p:strVal val="#ppt_y"/>
                                          </p:val>
                                        </p:tav>
                                      </p:tavLst>
                                    </p:anim>
                                  </p:childTnLst>
                                </p:cTn>
                              </p:par>
                            </p:childTnLst>
                          </p:cTn>
                        </p:par>
                        <p:par>
                          <p:cTn fill="hold" id="52" nodeType="afterGroup">
                            <p:stCondLst>
                              <p:cond delay="8000"/>
                            </p:stCondLst>
                            <p:childTnLst>
                              <p:par>
                                <p:cTn fill="hold" grpId="0" id="53" nodeType="afterEffect" presetClass="entr" presetID="42" presetSubtype="0">
                                  <p:stCondLst>
                                    <p:cond delay="0"/>
                                  </p:stCondLst>
                                  <p:childTnLst>
                                    <p:set>
                                      <p:cBhvr>
                                        <p:cTn dur="1" fill="hold" id="54">
                                          <p:stCondLst>
                                            <p:cond delay="0"/>
                                          </p:stCondLst>
                                        </p:cTn>
                                        <p:tgtEl>
                                          <p:spTgt spid="10253"/>
                                        </p:tgtEl>
                                        <p:attrNameLst>
                                          <p:attrName>style.visibility</p:attrName>
                                        </p:attrNameLst>
                                      </p:cBhvr>
                                      <p:to>
                                        <p:strVal val="visible"/>
                                      </p:to>
                                    </p:set>
                                    <p:animEffect filter="fade" transition="in">
                                      <p:cBhvr>
                                        <p:cTn dur="1000" id="55"/>
                                        <p:tgtEl>
                                          <p:spTgt spid="10253"/>
                                        </p:tgtEl>
                                      </p:cBhvr>
                                    </p:animEffect>
                                    <p:anim calcmode="lin" valueType="num">
                                      <p:cBhvr>
                                        <p:cTn dur="1000" fill="hold" id="56"/>
                                        <p:tgtEl>
                                          <p:spTgt spid="10253"/>
                                        </p:tgtEl>
                                        <p:attrNameLst>
                                          <p:attrName>ppt_x</p:attrName>
                                        </p:attrNameLst>
                                      </p:cBhvr>
                                      <p:tavLst>
                                        <p:tav tm="0">
                                          <p:val>
                                            <p:strVal val="#ppt_x"/>
                                          </p:val>
                                        </p:tav>
                                        <p:tav tm="100000">
                                          <p:val>
                                            <p:strVal val="#ppt_x"/>
                                          </p:val>
                                        </p:tav>
                                      </p:tavLst>
                                    </p:anim>
                                    <p:anim calcmode="lin" valueType="num">
                                      <p:cBhvr>
                                        <p:cTn dur="1000" fill="hold" id="57"/>
                                        <p:tgtEl>
                                          <p:spTgt spid="10253"/>
                                        </p:tgtEl>
                                        <p:attrNameLst>
                                          <p:attrName>ppt_y</p:attrName>
                                        </p:attrNameLst>
                                      </p:cBhvr>
                                      <p:tavLst>
                                        <p:tav tm="0">
                                          <p:val>
                                            <p:strVal val="#ppt_y+.1"/>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8"/>
      <p:bldP grpId="0" spid="18"/>
      <p:bldP grpId="0" spid="10246"/>
      <p:bldP grpId="0" spid="10247"/>
      <p:bldP grpId="0" spid="10249"/>
      <p:bldP grpId="0" spid="10250"/>
      <p:bldP grpId="0" spid="10252"/>
      <p:bldP grpId="0" spid="10253"/>
    </p:bldLst>
  </p:timing>
</p:sld>
</file>

<file path=ppt/slides/slide9.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pic>
        <p:nvPicPr>
          <p:cNvPr descr="iPhone6_mockup_front_white.png" id="2" name="Picture 1"/>
          <p:cNvPicPr>
            <a:picLocks noChangeAspect="1"/>
          </p:cNvPicPr>
          <p:nvPr/>
        </p:nvPicPr>
        <p:blipFill>
          <a:blip r:embed="rId3">
            <a:extLst>
              <a:ext uri="{BEBA8EAE-BF5A-486C-A8C5-ECC9F3942E4B}">
                <a14:imgProps>
                  <a14:imgLayer xmlns:d3p1="http://schemas.openxmlformats.org/officeDocument/2006/relationships" d3p1:embed="">
                    <a14:imgEffect>
                      <a14:sharpenSoften amount="50000"/>
                    </a14:imgEffect>
                    <a14:imgEffect>
                      <a14:saturation sat="300000"/>
                    </a14:imgEffect>
                  </a14:imgLayer>
                </a14:imgProps>
              </a:ext>
              <a:ext uri="{28A0092B-C50C-407E-A947-70E740481C1C}">
                <a14:useLocalDpi val="0"/>
              </a:ext>
            </a:extLst>
          </a:blip>
          <a:stretch>
            <a:fillRect/>
          </a:stretch>
        </p:blipFill>
        <p:spPr>
          <a:xfrm>
            <a:off x="408450" y="951205"/>
            <a:ext cx="3551227" cy="5381962"/>
          </a:xfrm>
          <a:prstGeom prst="rect">
            <a:avLst/>
          </a:prstGeom>
        </p:spPr>
      </p:pic>
      <p:sp>
        <p:nvSpPr>
          <p:cNvPr id="6" name="Rectangle 5"/>
          <p:cNvSpPr/>
          <p:nvPr/>
        </p:nvSpPr>
        <p:spPr>
          <a:xfrm>
            <a:off x="11117943" y="0"/>
            <a:ext cx="478972"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lang="id-ID">
              <a:latin charset="-122" panose="020b0400000000000000" pitchFamily="34" typeface="思源黑体"/>
              <a:ea charset="-122" panose="020b0400000000000000" pitchFamily="34" typeface="思源黑体"/>
              <a:sym charset="-122" panose="020b0400000000000000" pitchFamily="34" typeface="思源黑体"/>
            </a:endParaRPr>
          </a:p>
        </p:txBody>
      </p:sp>
      <p:cxnSp>
        <p:nvCxnSpPr>
          <p:cNvPr id="7" name="Straight Connector 6"/>
          <p:cNvCxnSpPr/>
          <p:nvPr/>
        </p:nvCxnSpPr>
        <p:spPr>
          <a:xfrm>
            <a:off x="4723544" y="4111401"/>
            <a:ext cx="2229642"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4616274" y="4796135"/>
            <a:ext cx="5778679" cy="1120140"/>
          </a:xfrm>
          <a:prstGeom prst="rect">
            <a:avLst/>
          </a:prstGeom>
        </p:spPr>
        <p:txBody>
          <a:bodyPr wrap="square">
            <a:spAutoFit/>
          </a:bodyPr>
          <a:lstStyle/>
          <a:p>
            <a:pPr algn="just">
              <a:lnSpc>
                <a:spcPct val="150000"/>
              </a:lnSpc>
            </a:pPr>
            <a:r>
              <a:rPr i="0" lang="id-ID" sz="900">
                <a:solidFill>
                  <a:schemeClr val="bg1">
                    <a:lumMod val="95000"/>
                  </a:schemeClr>
                </a:solidFill>
                <a:effectLst/>
                <a:latin charset="-122" panose="020b0400000000000000" pitchFamily="34" typeface="思源黑体"/>
                <a:ea charset="-122" panose="020b0400000000000000" pitchFamily="34" typeface="思源黑体"/>
                <a:cs charset="0" panose="020f0502020204030203" pitchFamily="34" typeface="Lato"/>
                <a:sym charset="-122" panose="020b0400000000000000" pitchFamily="34" typeface="思源黑体"/>
              </a:rPr>
              <a:t>Lorem ipsum dolor sit amet, lacus nulla ac netus nibh aliquet, porttitor ligula justo libero vivamus porttitor dolor, conubia mollit. Sapien nam suspendisse, tincidunt eget ante tincidunt, eros in auctor fringilla praesent at diam. In et quam est eget mi. Pellentesque nunc orci eu enim, eget in fringilla vitae, et eros praesent dolor porttitor. Lacinia lectus nonummy, accumsan mauris in sed justotincidunt, eros in auctor fringilla praesent at diam. </a:t>
            </a:r>
          </a:p>
        </p:txBody>
      </p:sp>
      <p:sp>
        <p:nvSpPr>
          <p:cNvPr id="9" name="Subtitle 2"/>
          <p:cNvSpPr txBox="1"/>
          <p:nvPr/>
        </p:nvSpPr>
        <p:spPr>
          <a:xfrm>
            <a:off x="4616273" y="2977883"/>
            <a:ext cx="4203877" cy="920424"/>
          </a:xfrm>
          <a:prstGeom prst="rect">
            <a:avLst/>
          </a:prstGeom>
        </p:spPr>
        <p:txBody>
          <a:bodyPr>
            <a:noAutofit/>
          </a:bodyPr>
          <a:lstStyle>
            <a:lvl1pPr algn="l" defTabSz="914400" eaLnBrk="1" hangingPunct="1" indent="-228600" latinLnBrk="0" marL="228600" rtl="0">
              <a:lnSpc>
                <a:spcPct val="90000"/>
              </a:lnSpc>
              <a:spcBef>
                <a:spcPts val="1000"/>
              </a:spcBef>
              <a:buFont charset="0" panose="020b0604020202020204" pitchFamily="34" typeface="Arial"/>
              <a:buChar char="•"/>
              <a:defRPr kern="1200" sz="2800">
                <a:solidFill>
                  <a:schemeClr val="tx1"/>
                </a:solidFill>
                <a:latin typeface="+mn-lt"/>
                <a:ea typeface="+mn-ea"/>
                <a:cs typeface="+mn-cs"/>
              </a:defRPr>
            </a:lvl1pPr>
            <a:lvl2pPr algn="l" defTabSz="914400" eaLnBrk="1" hangingPunct="1" indent="-228600" latinLnBrk="0" marL="685800" rtl="0">
              <a:lnSpc>
                <a:spcPct val="90000"/>
              </a:lnSpc>
              <a:spcBef>
                <a:spcPts val="500"/>
              </a:spcBef>
              <a:buFont charset="0" panose="020b0604020202020204" pitchFamily="34" typeface="Arial"/>
              <a:buChar char="•"/>
              <a:defRPr kern="1200" sz="2400">
                <a:solidFill>
                  <a:schemeClr val="tx1"/>
                </a:solidFill>
                <a:latin typeface="+mn-lt"/>
                <a:ea typeface="+mn-ea"/>
                <a:cs typeface="+mn-cs"/>
              </a:defRPr>
            </a:lvl2pPr>
            <a:lvl3pPr algn="l" defTabSz="914400" eaLnBrk="1" hangingPunct="1" indent="-228600" latinLnBrk="0" marL="1143000" rtl="0">
              <a:lnSpc>
                <a:spcPct val="90000"/>
              </a:lnSpc>
              <a:spcBef>
                <a:spcPts val="500"/>
              </a:spcBef>
              <a:buFont charset="0" panose="020b0604020202020204" pitchFamily="34" typeface="Arial"/>
              <a:buChar char="•"/>
              <a:defRPr kern="1200" sz="2000">
                <a:solidFill>
                  <a:schemeClr val="tx1"/>
                </a:solidFill>
                <a:latin typeface="+mn-lt"/>
                <a:ea typeface="+mn-ea"/>
                <a:cs typeface="+mn-cs"/>
              </a:defRPr>
            </a:lvl3pPr>
            <a:lvl4pPr algn="l" defTabSz="914400" eaLnBrk="1" hangingPunct="1" indent="-228600" latinLnBrk="0" marL="16002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4pPr>
            <a:lvl5pPr algn="l" defTabSz="914400" eaLnBrk="1" hangingPunct="1" indent="-228600" latinLnBrk="0" marL="20574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5pPr>
            <a:lvl6pPr algn="l" defTabSz="914400" eaLnBrk="1" hangingPunct="1" indent="-228600" latinLnBrk="0" marL="25146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6pPr>
            <a:lvl7pPr algn="l" defTabSz="914400" eaLnBrk="1" hangingPunct="1" indent="-228600" latinLnBrk="0" marL="29718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7pPr>
            <a:lvl8pPr algn="l" defTabSz="914400" eaLnBrk="1" hangingPunct="1" indent="-228600" latinLnBrk="0" marL="34290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8pPr>
            <a:lvl9pPr algn="l" defTabSz="914400" eaLnBrk="1" hangingPunct="1" indent="-228600" latinLnBrk="0" marL="3886200"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9pPr>
          </a:lstStyle>
          <a:p>
            <a:pPr indent="0" marL="0">
              <a:buNone/>
            </a:pPr>
            <a:r>
              <a:rPr lang="id-ID" sz="3200">
                <a:solidFill>
                  <a:schemeClr val="accent1"/>
                </a:solidFill>
                <a:latin charset="-122" panose="020b0400000000000000" pitchFamily="34" typeface="思源黑体"/>
                <a:ea charset="-122" panose="020b0400000000000000" pitchFamily="34" typeface="思源黑体"/>
                <a:cs charset="0" panose="020f0502020204030203" pitchFamily="34" typeface="Lato"/>
                <a:sym charset="-122" panose="020b0400000000000000" pitchFamily="34" typeface="思源黑体"/>
              </a:rPr>
              <a:t>PHONE DEVICE MOCKUP SLIDE</a:t>
            </a:r>
          </a:p>
        </p:txBody>
      </p:sp>
      <p:pic>
        <p:nvPicPr>
          <p:cNvPr id="5" name="图片占位符 4">
            <a:extLst>
              <a:ext uri="{FF2B5EF4-FFF2-40B4-BE49-F238E27FC236}">
                <a16:creationId xmlns:a16="http://schemas.microsoft.com/office/drawing/2014/main" id="{3D952977-714A-4564-8CD0-3984011E6C15}"/>
              </a:ext>
            </a:extLst>
          </p:cNvPr>
          <p:cNvPicPr>
            <a:picLocks noChangeAspect="1" noGrp="1"/>
          </p:cNvPicPr>
          <p:nvPr>
            <p:ph idx="10" sz="quarter" type="pic"/>
          </p:nvPr>
        </p:nvPicPr>
        <p:blipFill>
          <a:blip r:embed="rId4">
            <a:extLst>
              <a:ext uri="{28A0092B-C50C-407E-A947-70E740481C1C}">
                <a14:useLocalDpi val="0"/>
              </a:ext>
            </a:extLst>
          </a:blip>
          <a:stretch>
            <a:fillRect/>
          </a:stretch>
        </p:blipFill>
        <p:spPr>
          <a:xfrm>
            <a:off x="1103450" y="1806129"/>
            <a:ext cx="2132872" cy="3672114"/>
          </a:xfrm>
        </p:spPr>
      </p:pic>
      <p:grpSp>
        <p:nvGrpSpPr>
          <p:cNvPr id="10" name="组合 9">
            <a:extLst>
              <a:ext uri="{FF2B5EF4-FFF2-40B4-BE49-F238E27FC236}">
                <a16:creationId xmlns:a16="http://schemas.microsoft.com/office/drawing/2014/main" id="{741D8CF4-EA35-42C2-AA79-B30895129B73}"/>
              </a:ext>
            </a:extLst>
          </p:cNvPr>
          <p:cNvGrpSpPr/>
          <p:nvPr/>
        </p:nvGrpSpPr>
        <p:grpSpPr>
          <a:xfrm>
            <a:off x="1208876" y="369288"/>
            <a:ext cx="7658100" cy="735806"/>
            <a:chOff x="1208876" y="369288"/>
            <a:chExt cx="7658100" cy="735806"/>
          </a:xfrm>
        </p:grpSpPr>
        <p:sp>
          <p:nvSpPr>
            <p:cNvPr id="11" name="文本框 10">
              <a:extLst>
                <a:ext uri="{FF2B5EF4-FFF2-40B4-BE49-F238E27FC236}">
                  <a16:creationId xmlns:a16="http://schemas.microsoft.com/office/drawing/2014/main" id="{3A7872F4-DDA4-4F8A-B162-CD8529363A76}"/>
                </a:ext>
              </a:extLst>
            </p:cNvPr>
            <p:cNvSpPr txBox="1"/>
            <p:nvPr/>
          </p:nvSpPr>
          <p:spPr>
            <a:xfrm>
              <a:off x="1208876" y="369288"/>
              <a:ext cx="7658100" cy="457200"/>
            </a:xfrm>
            <a:prstGeom prst="rect">
              <a:avLst/>
            </a:prstGeom>
            <a:noFill/>
          </p:spPr>
          <p:txBody>
            <a:bodyPr rtlCol="0" wrap="square">
              <a:spAutoFit/>
            </a:bodyPr>
            <a:lstStyle/>
            <a:p>
              <a:r>
                <a:rPr altLang="en-US" lang="zh-CN" sz="2400">
                  <a:gradFill>
                    <a:gsLst>
                      <a:gs pos="885">
                        <a:schemeClr val="accent1">
                          <a:alpha val="10000"/>
                        </a:schemeClr>
                      </a:gs>
                      <a:gs pos="75000">
                        <a:schemeClr val="accent1">
                          <a:alpha val="73000"/>
                        </a:schemeClr>
                      </a:gs>
                    </a:gsLst>
                    <a:lin ang="5400000" scaled="1"/>
                  </a:gradFill>
                  <a:latin charset="-122" panose="020b0400000000000000" pitchFamily="34" typeface="思源黑体"/>
                  <a:ea charset="-122" panose="020b0400000000000000" pitchFamily="34" typeface="思源黑体"/>
                  <a:sym charset="-122" panose="020b0400000000000000" pitchFamily="34" typeface="思源黑体"/>
                </a:rPr>
                <a:t>在此输入标题内容</a:t>
              </a:r>
            </a:p>
          </p:txBody>
        </p:sp>
        <p:sp>
          <p:nvSpPr>
            <p:cNvPr id="12" name="文本框 11">
              <a:extLst>
                <a:ext uri="{FF2B5EF4-FFF2-40B4-BE49-F238E27FC236}">
                  <a16:creationId xmlns:a16="http://schemas.microsoft.com/office/drawing/2014/main" id="{B9C01D49-A309-4753-BB90-F8994EC80BB8}"/>
                </a:ext>
              </a:extLst>
            </p:cNvPr>
            <p:cNvSpPr txBox="1"/>
            <p:nvPr/>
          </p:nvSpPr>
          <p:spPr>
            <a:xfrm>
              <a:off x="1208876" y="797317"/>
              <a:ext cx="7658100" cy="304800"/>
            </a:xfrm>
            <a:prstGeom prst="rect">
              <a:avLst/>
            </a:prstGeom>
            <a:noFill/>
          </p:spPr>
          <p:txBody>
            <a:bodyPr rtlCol="0" wrap="square">
              <a:spAutoFit/>
            </a:bodyPr>
            <a:lstStyle/>
            <a:p>
              <a:r>
                <a:rPr altLang="zh-CN" lang="en-US" sz="1400">
                  <a:solidFill>
                    <a:schemeClr val="bg2"/>
                  </a:solidFill>
                  <a:latin charset="-122" panose="020b0400000000000000" pitchFamily="34" typeface="思源黑体"/>
                  <a:ea charset="-122" panose="020b0400000000000000" pitchFamily="34" typeface="思源黑体"/>
                  <a:sym charset="-122" panose="020b0400000000000000" pitchFamily="34" typeface="思源黑体"/>
                </a:rPr>
                <a:t>Use "Title Only" Layout</a:t>
              </a:r>
            </a:p>
          </p:txBody>
        </p:sp>
      </p:grpSp>
      <p:grpSp>
        <p:nvGrpSpPr>
          <p:cNvPr id="13" name="组合 12">
            <a:extLst>
              <a:ext uri="{FF2B5EF4-FFF2-40B4-BE49-F238E27FC236}">
                <a16:creationId xmlns:a16="http://schemas.microsoft.com/office/drawing/2014/main" id="{A5112FD4-E390-4023-A316-2D025F906F1C}"/>
              </a:ext>
            </a:extLst>
          </p:cNvPr>
          <p:cNvGrpSpPr/>
          <p:nvPr/>
        </p:nvGrpSpPr>
        <p:grpSpPr>
          <a:xfrm>
            <a:off x="538226" y="153800"/>
            <a:ext cx="811275" cy="1299746"/>
            <a:chOff x="538226" y="153800"/>
            <a:chExt cx="811275" cy="1299746"/>
          </a:xfrm>
        </p:grpSpPr>
        <p:sp>
          <p:nvSpPr>
            <p:cNvPr id="14" name="文本框 13">
              <a:extLst>
                <a:ext uri="{FF2B5EF4-FFF2-40B4-BE49-F238E27FC236}">
                  <a16:creationId xmlns:a16="http://schemas.microsoft.com/office/drawing/2014/main" id="{FB273636-8045-4A08-84AF-DD8F132E093F}"/>
                </a:ext>
              </a:extLst>
            </p:cNvPr>
            <p:cNvSpPr txBox="1"/>
            <p:nvPr/>
          </p:nvSpPr>
          <p:spPr>
            <a:xfrm>
              <a:off x="538226" y="153800"/>
              <a:ext cx="567647" cy="1097280"/>
            </a:xfrm>
            <a:prstGeom prst="rect">
              <a:avLst/>
            </a:prstGeom>
            <a:noFill/>
          </p:spPr>
          <p:txBody>
            <a:bodyPr rtlCol="0" wrap="square">
              <a:spAutoFit/>
            </a:bodyPr>
            <a:lstStyle>
              <a:defPPr>
                <a:defRPr lang="en-US"/>
              </a:defPPr>
              <a:lvl1pPr>
                <a:defRPr sz="8000">
                  <a:gradFill>
                    <a:gsLst>
                      <a:gs pos="36000">
                        <a:schemeClr val="bg1"/>
                      </a:gs>
                      <a:gs pos="100000">
                        <a:schemeClr val="tx1">
                          <a:lumMod val="50000"/>
                          <a:lumOff val="50000"/>
                        </a:schemeClr>
                      </a:gs>
                    </a:gsLst>
                    <a:lin ang="5400000" scaled="1"/>
                  </a:gradFill>
                  <a:latin charset="-122" panose="00000500000000000000" pitchFamily="2" typeface="字魂5号-无外润黑体"/>
                  <a:ea charset="-122" panose="00000500000000000000" pitchFamily="2" typeface="字魂5号-无外润黑体"/>
                </a:defRPr>
              </a:lvl1pPr>
            </a:lstStyle>
            <a:p>
              <a:r>
                <a:rPr altLang="zh-CN" lang="en-US" sz="6600">
                  <a:gradFill>
                    <a:gsLst>
                      <a:gs pos="36000">
                        <a:schemeClr val="bg1"/>
                      </a:gs>
                      <a:gs pos="70000">
                        <a:schemeClr val="tx1">
                          <a:lumMod val="50000"/>
                          <a:lumOff val="50000"/>
                          <a:alpha val="0"/>
                        </a:schemeClr>
                      </a:gs>
                    </a:gsLst>
                    <a:lin ang="5400000" scaled="1"/>
                  </a:gradFill>
                  <a:latin charset="-122" panose="020b0300000000000000" pitchFamily="34" typeface="思源黑体 CN Light"/>
                  <a:ea charset="-122" panose="00000500000000000000" pitchFamily="2" typeface="字魂54号-贤黑"/>
                  <a:sym charset="-122" panose="020b0400000000000000" pitchFamily="34" typeface="思源黑体"/>
                </a:rPr>
                <a:t>1</a:t>
              </a:r>
            </a:p>
          </p:txBody>
        </p:sp>
        <p:grpSp>
          <p:nvGrpSpPr>
            <p:cNvPr id="15" name="组合 14">
              <a:extLst>
                <a:ext uri="{FF2B5EF4-FFF2-40B4-BE49-F238E27FC236}">
                  <a16:creationId xmlns:a16="http://schemas.microsoft.com/office/drawing/2014/main" id="{1F5F1A7E-CD64-40A7-8357-653909F4538B}"/>
                </a:ext>
              </a:extLst>
            </p:cNvPr>
            <p:cNvGrpSpPr/>
            <p:nvPr/>
          </p:nvGrpSpPr>
          <p:grpSpPr>
            <a:xfrm rot="1279383">
              <a:off x="538418" y="260428"/>
              <a:ext cx="811083" cy="1193118"/>
              <a:chOff x="5326021" y="1359499"/>
              <a:chExt cx="2273644" cy="3344573"/>
            </a:xfrm>
          </p:grpSpPr>
          <p:cxnSp>
            <p:nvCxnSpPr>
              <p:cNvPr id="16" name="直接连接符 15">
                <a:extLst>
                  <a:ext uri="{FF2B5EF4-FFF2-40B4-BE49-F238E27FC236}">
                    <a16:creationId xmlns:a16="http://schemas.microsoft.com/office/drawing/2014/main" id="{0EDAFC0A-2AE9-4202-B22F-B547F83C04C6}"/>
                  </a:ext>
                </a:extLst>
              </p:cNvPr>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任意多边形: 形状 16">
                <a:extLst>
                  <a:ext uri="{FF2B5EF4-FFF2-40B4-BE49-F238E27FC236}">
                    <a16:creationId xmlns:a16="http://schemas.microsoft.com/office/drawing/2014/main" id="{978E26A0-A420-4433-A2C0-42918577C147}"/>
                  </a:ext>
                </a:extLst>
              </p:cNvPr>
              <p:cNvSpPr/>
              <p:nvPr/>
            </p:nvSpPr>
            <p:spPr>
              <a:xfrm rot="2008142">
                <a:off x="5326021" y="3632692"/>
                <a:ext cx="319543" cy="1071380"/>
              </a:xfrm>
              <a:custGeom>
                <a:gdLst>
                  <a:gd fmla="*/ 278285 w 319543" name="connsiteX0"/>
                  <a:gd fmla="*/ 0 h 1071380" name="connsiteY0"/>
                  <a:gd fmla="*/ 319543 w 319543" name="connsiteX1"/>
                  <a:gd fmla="*/ 0 h 1071380" name="connsiteY1"/>
                  <a:gd fmla="*/ 319543 w 319543" name="connsiteX2"/>
                  <a:gd fmla="*/ 601405 h 1071380" name="connsiteY2"/>
                  <a:gd fmla="*/ 0 w 319543" name="connsiteX3"/>
                  <a:gd fmla="*/ 1071380 h 1071380" name="connsiteY3"/>
                  <a:gd fmla="*/ 0 w 319543" name="connsiteX4"/>
                  <a:gd fmla="*/ 409295 h 1071380"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1071380" w="319543">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400"/>
              </a:p>
            </p:txBody>
          </p:sp>
        </p:grpSp>
      </p:grpSp>
    </p:spTree>
    <p:extLst>
      <p:ext uri="{BB962C8B-B14F-4D97-AF65-F5344CB8AC3E}">
        <p14:creationId val="1445148040"/>
      </p:ext>
    </p:extLst>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42" presetSubtype="0">
                                  <p:stCondLst>
                                    <p:cond delay="0"/>
                                  </p:stCondLst>
                                  <p:childTnLst>
                                    <p:set>
                                      <p:cBhvr>
                                        <p:cTn dur="1" fill="hold" id="6">
                                          <p:stCondLst>
                                            <p:cond delay="0"/>
                                          </p:stCondLst>
                                        </p:cTn>
                                        <p:tgtEl>
                                          <p:spTgt spid="7"/>
                                        </p:tgtEl>
                                        <p:attrNameLst>
                                          <p:attrName>style.visibility</p:attrName>
                                        </p:attrNameLst>
                                      </p:cBhvr>
                                      <p:to>
                                        <p:strVal val="visible"/>
                                      </p:to>
                                    </p:set>
                                    <p:animEffect filter="fade" transition="in">
                                      <p:cBhvr>
                                        <p:cTn dur="1000" id="7"/>
                                        <p:tgtEl>
                                          <p:spTgt spid="7"/>
                                        </p:tgtEl>
                                      </p:cBhvr>
                                    </p:animEffect>
                                    <p:anim calcmode="lin" valueType="num">
                                      <p:cBhvr>
                                        <p:cTn dur="1000" fill="hold" id="8"/>
                                        <p:tgtEl>
                                          <p:spTgt spid="7"/>
                                        </p:tgtEl>
                                        <p:attrNameLst>
                                          <p:attrName>ppt_x</p:attrName>
                                        </p:attrNameLst>
                                      </p:cBhvr>
                                      <p:tavLst>
                                        <p:tav tm="0">
                                          <p:val>
                                            <p:strVal val="#ppt_x"/>
                                          </p:val>
                                        </p:tav>
                                        <p:tav tm="100000">
                                          <p:val>
                                            <p:strVal val="#ppt_x"/>
                                          </p:val>
                                        </p:tav>
                                      </p:tavLst>
                                    </p:anim>
                                    <p:anim calcmode="lin" valueType="num">
                                      <p:cBhvr>
                                        <p:cTn dur="1000" fill="hold" id="9"/>
                                        <p:tgtEl>
                                          <p:spTgt spid="7"/>
                                        </p:tgtEl>
                                        <p:attrNameLst>
                                          <p:attrName>ppt_y</p:attrName>
                                        </p:attrNameLst>
                                      </p:cBhvr>
                                      <p:tavLst>
                                        <p:tav tm="0">
                                          <p:val>
                                            <p:strVal val="#ppt_y+.1"/>
                                          </p:val>
                                        </p:tav>
                                        <p:tav tm="100000">
                                          <p:val>
                                            <p:strVal val="#ppt_y"/>
                                          </p:val>
                                        </p:tav>
                                      </p:tavLst>
                                    </p:anim>
                                  </p:childTnLst>
                                </p:cTn>
                              </p:par>
                            </p:childTnLst>
                          </p:cTn>
                        </p:par>
                        <p:par>
                          <p:cTn fill="hold" id="10" nodeType="afterGroup">
                            <p:stCondLst>
                              <p:cond delay="1000"/>
                            </p:stCondLst>
                            <p:childTnLst>
                              <p:par>
                                <p:cTn fill="hold" grpId="0" id="11" nodeType="afterEffect" presetClass="entr" presetID="42" presetSubtype="0">
                                  <p:stCondLst>
                                    <p:cond delay="0"/>
                                  </p:stCondLst>
                                  <p:childTnLst>
                                    <p:set>
                                      <p:cBhvr>
                                        <p:cTn dur="1" fill="hold" id="12">
                                          <p:stCondLst>
                                            <p:cond delay="0"/>
                                          </p:stCondLst>
                                        </p:cTn>
                                        <p:tgtEl>
                                          <p:spTgt spid="8"/>
                                        </p:tgtEl>
                                        <p:attrNameLst>
                                          <p:attrName>style.visibility</p:attrName>
                                        </p:attrNameLst>
                                      </p:cBhvr>
                                      <p:to>
                                        <p:strVal val="visible"/>
                                      </p:to>
                                    </p:set>
                                    <p:animEffect filter="fade" transition="in">
                                      <p:cBhvr>
                                        <p:cTn dur="1000" id="13"/>
                                        <p:tgtEl>
                                          <p:spTgt spid="8"/>
                                        </p:tgtEl>
                                      </p:cBhvr>
                                    </p:animEffect>
                                    <p:anim calcmode="lin" valueType="num">
                                      <p:cBhvr>
                                        <p:cTn dur="1000" fill="hold" id="14"/>
                                        <p:tgtEl>
                                          <p:spTgt spid="8"/>
                                        </p:tgtEl>
                                        <p:attrNameLst>
                                          <p:attrName>ppt_x</p:attrName>
                                        </p:attrNameLst>
                                      </p:cBhvr>
                                      <p:tavLst>
                                        <p:tav tm="0">
                                          <p:val>
                                            <p:strVal val="#ppt_x"/>
                                          </p:val>
                                        </p:tav>
                                        <p:tav tm="100000">
                                          <p:val>
                                            <p:strVal val="#ppt_x"/>
                                          </p:val>
                                        </p:tav>
                                      </p:tavLst>
                                    </p:anim>
                                    <p:anim calcmode="lin" valueType="num">
                                      <p:cBhvr>
                                        <p:cTn dur="1000" fill="hold" id="15"/>
                                        <p:tgtEl>
                                          <p:spTgt spid="8"/>
                                        </p:tgtEl>
                                        <p:attrNameLst>
                                          <p:attrName>ppt_y</p:attrName>
                                        </p:attrNameLst>
                                      </p:cBhvr>
                                      <p:tavLst>
                                        <p:tav tm="0">
                                          <p:val>
                                            <p:strVal val="#ppt_y+.1"/>
                                          </p:val>
                                        </p:tav>
                                        <p:tav tm="100000">
                                          <p:val>
                                            <p:strVal val="#ppt_y"/>
                                          </p:val>
                                        </p:tav>
                                      </p:tavLst>
                                    </p:anim>
                                  </p:childTnLst>
                                </p:cTn>
                              </p:par>
                            </p:childTnLst>
                          </p:cTn>
                        </p:par>
                        <p:par>
                          <p:cTn fill="hold" id="16" nodeType="afterGroup">
                            <p:stCondLst>
                              <p:cond delay="2000"/>
                            </p:stCondLst>
                            <p:childTnLst>
                              <p:par>
                                <p:cTn fill="hold" grpId="0" id="17" nodeType="afterEffect" presetClass="entr" presetID="42" presetSubtype="0">
                                  <p:stCondLst>
                                    <p:cond delay="0"/>
                                  </p:stCondLst>
                                  <p:childTnLst>
                                    <p:set>
                                      <p:cBhvr>
                                        <p:cTn dur="1" fill="hold" id="18">
                                          <p:stCondLst>
                                            <p:cond delay="0"/>
                                          </p:stCondLst>
                                        </p:cTn>
                                        <p:tgtEl>
                                          <p:spTgt spid="9"/>
                                        </p:tgtEl>
                                        <p:attrNameLst>
                                          <p:attrName>style.visibility</p:attrName>
                                        </p:attrNameLst>
                                      </p:cBhvr>
                                      <p:to>
                                        <p:strVal val="visible"/>
                                      </p:to>
                                    </p:set>
                                    <p:animEffect filter="fade" transition="in">
                                      <p:cBhvr>
                                        <p:cTn dur="1000" id="19"/>
                                        <p:tgtEl>
                                          <p:spTgt spid="9"/>
                                        </p:tgtEl>
                                      </p:cBhvr>
                                    </p:animEffect>
                                    <p:anim calcmode="lin" valueType="num">
                                      <p:cBhvr>
                                        <p:cTn dur="1000" fill="hold" id="20"/>
                                        <p:tgtEl>
                                          <p:spTgt spid="9"/>
                                        </p:tgtEl>
                                        <p:attrNameLst>
                                          <p:attrName>ppt_x</p:attrName>
                                        </p:attrNameLst>
                                      </p:cBhvr>
                                      <p:tavLst>
                                        <p:tav tm="0">
                                          <p:val>
                                            <p:strVal val="#ppt_x"/>
                                          </p:val>
                                        </p:tav>
                                        <p:tav tm="100000">
                                          <p:val>
                                            <p:strVal val="#ppt_x"/>
                                          </p:val>
                                        </p:tav>
                                      </p:tavLst>
                                    </p:anim>
                                    <p:anim calcmode="lin" valueType="num">
                                      <p:cBhvr>
                                        <p:cTn dur="1000" fill="hold" id="21"/>
                                        <p:tgtEl>
                                          <p:spTgt spid="9"/>
                                        </p:tgtEl>
                                        <p:attrNameLst>
                                          <p:attrName>ppt_y</p:attrName>
                                        </p:attrNameLst>
                                      </p:cBhvr>
                                      <p:tavLst>
                                        <p:tav tm="0">
                                          <p:val>
                                            <p:strVal val="#ppt_y+.1"/>
                                          </p:val>
                                        </p:tav>
                                        <p:tav tm="100000">
                                          <p:val>
                                            <p:strVal val="#ppt_y"/>
                                          </p:val>
                                        </p:tav>
                                      </p:tavLst>
                                    </p:anim>
                                  </p:childTnLst>
                                </p:cTn>
                              </p:par>
                            </p:childTnLst>
                          </p:cTn>
                        </p:par>
                        <p:par>
                          <p:cTn fill="hold" id="22" nodeType="afterGroup">
                            <p:stCondLst>
                              <p:cond delay="3000"/>
                            </p:stCondLst>
                            <p:childTnLst>
                              <p:par>
                                <p:cTn fill="hold" id="23" nodeType="afterEffect" presetClass="entr" presetID="42" presetSubtype="0">
                                  <p:stCondLst>
                                    <p:cond delay="0"/>
                                  </p:stCondLst>
                                  <p:childTnLst>
                                    <p:set>
                                      <p:cBhvr>
                                        <p:cTn dur="1" fill="hold" id="24">
                                          <p:stCondLst>
                                            <p:cond delay="0"/>
                                          </p:stCondLst>
                                        </p:cTn>
                                        <p:tgtEl>
                                          <p:spTgt spid="5"/>
                                        </p:tgtEl>
                                        <p:attrNameLst>
                                          <p:attrName>style.visibility</p:attrName>
                                        </p:attrNameLst>
                                      </p:cBhvr>
                                      <p:to>
                                        <p:strVal val="visible"/>
                                      </p:to>
                                    </p:set>
                                    <p:animEffect filter="fade" transition="in">
                                      <p:cBhvr>
                                        <p:cTn dur="1000" id="25"/>
                                        <p:tgtEl>
                                          <p:spTgt spid="5"/>
                                        </p:tgtEl>
                                      </p:cBhvr>
                                    </p:animEffect>
                                    <p:anim calcmode="lin" valueType="num">
                                      <p:cBhvr>
                                        <p:cTn dur="1000" fill="hold" id="26"/>
                                        <p:tgtEl>
                                          <p:spTgt spid="5"/>
                                        </p:tgtEl>
                                        <p:attrNameLst>
                                          <p:attrName>ppt_x</p:attrName>
                                        </p:attrNameLst>
                                      </p:cBhvr>
                                      <p:tavLst>
                                        <p:tav tm="0">
                                          <p:val>
                                            <p:strVal val="#ppt_x"/>
                                          </p:val>
                                        </p:tav>
                                        <p:tav tm="100000">
                                          <p:val>
                                            <p:strVal val="#ppt_x"/>
                                          </p:val>
                                        </p:tav>
                                      </p:tavLst>
                                    </p:anim>
                                    <p:anim calcmode="lin" valueType="num">
                                      <p:cBhvr>
                                        <p:cTn dur="1000" fill="hold" id="27"/>
                                        <p:tgtEl>
                                          <p:spTgt spid="5"/>
                                        </p:tgtEl>
                                        <p:attrNameLst>
                                          <p:attrName>ppt_y</p:attrName>
                                        </p:attrNameLst>
                                      </p:cBhvr>
                                      <p:tavLst>
                                        <p:tav tm="0">
                                          <p:val>
                                            <p:strVal val="#ppt_y+.1"/>
                                          </p:val>
                                        </p:tav>
                                        <p:tav tm="100000">
                                          <p:val>
                                            <p:strVal val="#ppt_y"/>
                                          </p:val>
                                        </p:tav>
                                      </p:tavLst>
                                    </p:anim>
                                  </p:childTnLst>
                                </p:cTn>
                              </p:par>
                            </p:childTnLst>
                          </p:cTn>
                        </p:par>
                        <p:par>
                          <p:cTn fill="hold" id="28" nodeType="afterGroup">
                            <p:stCondLst>
                              <p:cond delay="4000"/>
                            </p:stCondLst>
                            <p:childTnLst>
                              <p:par>
                                <p:cTn fill="hold" id="29" nodeType="afterEffect" presetClass="entr" presetID="42" presetSubtype="0">
                                  <p:stCondLst>
                                    <p:cond delay="0"/>
                                  </p:stCondLst>
                                  <p:childTnLst>
                                    <p:set>
                                      <p:cBhvr>
                                        <p:cTn dur="1" fill="hold" id="30">
                                          <p:stCondLst>
                                            <p:cond delay="0"/>
                                          </p:stCondLst>
                                        </p:cTn>
                                        <p:tgtEl>
                                          <p:spTgt spid="2"/>
                                        </p:tgtEl>
                                        <p:attrNameLst>
                                          <p:attrName>style.visibility</p:attrName>
                                        </p:attrNameLst>
                                      </p:cBhvr>
                                      <p:to>
                                        <p:strVal val="visible"/>
                                      </p:to>
                                    </p:set>
                                    <p:animEffect filter="fade" transition="in">
                                      <p:cBhvr>
                                        <p:cTn dur="1000" id="31"/>
                                        <p:tgtEl>
                                          <p:spTgt spid="2"/>
                                        </p:tgtEl>
                                      </p:cBhvr>
                                    </p:animEffect>
                                    <p:anim calcmode="lin" valueType="num">
                                      <p:cBhvr>
                                        <p:cTn dur="1000" fill="hold" id="32"/>
                                        <p:tgtEl>
                                          <p:spTgt spid="2"/>
                                        </p:tgtEl>
                                        <p:attrNameLst>
                                          <p:attrName>ppt_x</p:attrName>
                                        </p:attrNameLst>
                                      </p:cBhvr>
                                      <p:tavLst>
                                        <p:tav tm="0">
                                          <p:val>
                                            <p:strVal val="#ppt_x"/>
                                          </p:val>
                                        </p:tav>
                                        <p:tav tm="100000">
                                          <p:val>
                                            <p:strVal val="#ppt_x"/>
                                          </p:val>
                                        </p:tav>
                                      </p:tavLst>
                                    </p:anim>
                                    <p:anim calcmode="lin" valueType="num">
                                      <p:cBhvr>
                                        <p:cTn dur="1000" fill="hold" id="33"/>
                                        <p:tgtEl>
                                          <p:spTgt spid="2"/>
                                        </p:tgtEl>
                                        <p:attrNameLst>
                                          <p:attrName>ppt_y</p:attrName>
                                        </p:attrNameLst>
                                      </p:cBhvr>
                                      <p:tavLst>
                                        <p:tav tm="0">
                                          <p:val>
                                            <p:strVal val="#ppt_y+.1"/>
                                          </p:val>
                                        </p:tav>
                                        <p:tav tm="100000">
                                          <p:val>
                                            <p:strVal val="#ppt_y"/>
                                          </p:val>
                                        </p:tav>
                                      </p:tavLst>
                                    </p:anim>
                                  </p:childTnLst>
                                </p:cTn>
                              </p:par>
                            </p:childTnLst>
                          </p:cTn>
                        </p:par>
                        <p:par>
                          <p:cTn fill="hold" id="34" nodeType="afterGroup">
                            <p:stCondLst>
                              <p:cond delay="5000"/>
                            </p:stCondLst>
                            <p:childTnLst>
                              <p:par>
                                <p:cTn fill="hold" grpId="0" id="35" nodeType="afterEffect" presetClass="entr" presetID="22" presetSubtype="4">
                                  <p:stCondLst>
                                    <p:cond delay="0"/>
                                  </p:stCondLst>
                                  <p:childTnLst>
                                    <p:set>
                                      <p:cBhvr>
                                        <p:cTn dur="1" fill="hold" id="36">
                                          <p:stCondLst>
                                            <p:cond delay="0"/>
                                          </p:stCondLst>
                                        </p:cTn>
                                        <p:tgtEl>
                                          <p:spTgt spid="6"/>
                                        </p:tgtEl>
                                        <p:attrNameLst>
                                          <p:attrName>style.visibility</p:attrName>
                                        </p:attrNameLst>
                                      </p:cBhvr>
                                      <p:to>
                                        <p:strVal val="visible"/>
                                      </p:to>
                                    </p:set>
                                    <p:animEffect filter="wipe(down)" transition="in">
                                      <p:cBhvr>
                                        <p:cTn dur="500" id="37"/>
                                        <p:tgtEl>
                                          <p:spTgt spid="6"/>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6"/>
      <p:bldP grpId="0" spid="8"/>
      <p:bldP grpId="0" spid="9"/>
    </p:bldLst>
  </p:timing>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A6S0wzOvQ8a50SA42PUNRg"/>
</p:tagLst>
</file>

<file path=ppt/tags/tag3.xml><?xml version="1.0" encoding="utf-8"?>
<p:tagLst xmlns:p="http://schemas.openxmlformats.org/presentationml/2006/main">
  <p:tag name="AS_NET" val="4.0.30319.42000"/>
  <p:tag name="AS_OS" val="Microsoft Windows NT 6.2.9200.0"/>
  <p:tag name="AS_RELEASE_DATE" val="2020.04.14"/>
  <p:tag name="AS_TITLE" val="Aspose.Slides for .NET 4.0 Client Profile"/>
  <p:tag name="AS_VERSION" val="20.4"/>
  <p:tag name="ISPRING_PRESENTATION_TITLE" val="PowerPoint 演示文稿"/>
</p:tagLst>
</file>

<file path=ppt/theme/theme1.xml><?xml version="1.0" encoding="utf-8"?>
<a:theme xmlns:r="http://schemas.openxmlformats.org/officeDocument/2006/relationships" xmlns:a="http://schemas.openxmlformats.org/drawingml/2006/main" name="">
  <a:themeElements>
    <a:clrScheme name="自定义 315">
      <a:dk1>
        <a:sysClr val="windowText" lastClr="000000"/>
      </a:dk1>
      <a:lt1>
        <a:srgbClr val="FFFFFF"/>
      </a:lt1>
      <a:dk2>
        <a:srgbClr val="595959"/>
      </a:dk2>
      <a:lt2>
        <a:srgbClr val="7F7F7F"/>
      </a:lt2>
      <a:accent1>
        <a:srgbClr val="E0B07F"/>
      </a:accent1>
      <a:accent2>
        <a:srgbClr val="7F7F7F"/>
      </a:accent2>
      <a:accent3>
        <a:srgbClr val="A5A5A5"/>
      </a:accent3>
      <a:accent4>
        <a:srgbClr val="595959"/>
      </a:accent4>
      <a:accent5>
        <a:srgbClr val="262626"/>
      </a:accent5>
      <a:accent6>
        <a:srgbClr val="7F7F7F"/>
      </a:accent6>
      <a:hlink>
        <a:srgbClr val="7F7F7F"/>
      </a:hlink>
      <a:folHlink>
        <a:srgbClr val="2C3C4B"/>
      </a:folHlink>
    </a:clrScheme>
    <a:fontScheme name="思源黑体">
      <a:majorFont>
        <a:latin typeface="思源黑体 CN Heavy"/>
        <a:ea typeface="思源黑体"/>
        <a:cs typeface="Arial"/>
      </a:majorFont>
      <a:minorFont>
        <a:latin typeface="思源黑体"/>
        <a:ea typeface="思源黑体"/>
        <a:cs typeface="Arial"/>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r="http://schemas.openxmlformats.org/officeDocument/2006/relationships" xmlns:a="http://schemas.openxmlformats.org/drawingml/2006/main" name="">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panose="020f0302020204030204"/>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r="http://schemas.openxmlformats.org/officeDocument/2006/relationships"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r="http://schemas.openxmlformats.org/officeDocument/2006/relationships"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vt="http://schemas.openxmlformats.org/officeDocument/2006/docPropsVTypes" xmlns="http://schemas.openxmlformats.org/officeDocument/2006/extended-properties">
  <Company/>
  <Paragraphs>157</Paragraphs>
  <Slides>25</Slides>
  <Notes>25</Notes>
  <TotalTime>0</TotalTime>
  <HiddenSlides>0</HiddenSlides>
  <MMClips>0</MMClips>
  <ScaleCrop>0</ScaleCrop>
  <HeadingPairs>
    <vt:vector baseType="variant" size="6">
      <vt:variant>
        <vt:lpstr>Fonts used</vt:lpstr>
      </vt:variant>
      <vt:variant>
        <vt:i4>18</vt:i4>
      </vt:variant>
      <vt:variant>
        <vt:lpstr>Theme</vt:lpstr>
      </vt:variant>
      <vt:variant>
        <vt:i4>1</vt:i4>
      </vt:variant>
      <vt:variant>
        <vt:lpstr>Slide Titles</vt:lpstr>
      </vt:variant>
      <vt:variant>
        <vt:i4>25</vt:i4>
      </vt:variant>
    </vt:vector>
  </HeadingPairs>
  <TitlesOfParts>
    <vt:vector baseType="lpstr" size="44">
      <vt:lpstr>Arial</vt:lpstr>
      <vt:lpstr>思源黑体 CN Heavy</vt:lpstr>
      <vt:lpstr>思源黑体</vt:lpstr>
      <vt:lpstr>Calibri Light</vt:lpstr>
      <vt:lpstr>Calibri</vt:lpstr>
      <vt:lpstr>等线 Light</vt:lpstr>
      <vt:lpstr>等线</vt:lpstr>
      <vt:lpstr>思源黑体 CN Light</vt:lpstr>
      <vt:lpstr>Lato Heavy</vt:lpstr>
      <vt:lpstr>字魂5号-无外润黑体</vt:lpstr>
      <vt:lpstr>字魂54号-贤黑</vt:lpstr>
      <vt:lpstr>微软雅黑</vt:lpstr>
      <vt:lpstr>Lato</vt:lpstr>
      <vt:lpstr>Lato Medium</vt:lpstr>
      <vt:lpstr>Microsoft JhengHei UI Light</vt:lpstr>
      <vt:lpstr>Meiryo</vt:lpstr>
      <vt:lpstr>Arial Narrow</vt:lpstr>
      <vt:lpstr>宋体</vt:lpstr>
      <vt:lpstr>Office Theme</vt:lpstr>
      <vt:lpstr>PowerPoint Presentation</vt:lpstr>
      <vt:lpstr>PowerPoint Presentation</vt:lpstr>
      <vt:lpstr>PART 01</vt:lpstr>
      <vt:lpstr>PowerPoint Presentation</vt:lpstr>
      <vt:lpstr>PowerPoint Presentation</vt:lpstr>
      <vt:lpstr>PowerPoint Presentation</vt:lpstr>
      <vt:lpstr>PowerPoint Presentation</vt:lpstr>
      <vt:lpstr>PowerPoint Presentation</vt:lpstr>
      <vt:lpstr>PowerPoint Presentation</vt:lpstr>
      <vt:lpstr>PART 02</vt:lpstr>
      <vt:lpstr>PowerPoint Presentation</vt:lpstr>
      <vt:lpstr>PowerPoint Presentation</vt:lpstr>
      <vt:lpstr>PowerPoint Presentation</vt:lpstr>
      <vt:lpstr>PowerPoint Presentation</vt:lpstr>
      <vt:lpstr>PART 0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0</LinksUpToDate>
  <SharedDoc>0</SharedDoc>
  <HyperlinksChanged>0</HyperlinksChanged>
  <Application>Aspose.Slides for .NET</Application>
  <AppVersion>20.0400</AppVersion>
</Properties>
</file>

<file path=docProps/core.xml><?xml version="1.0" encoding="utf-8"?>
<cp:coreProperties xmlns:cp="http://schemas.openxmlformats.org/package/2006/metadata/core-properties" xmlns:dc="http://purl.org/dc/elements/1.1/" xmlns:dcterms="http://purl.org/dc/terms/" xmlns:xsi="http://www.w3.org/2001/XMLSchema-instance">
  <dcterms:created xsi:type="dcterms:W3CDTF">2022-03-20T11:23:34Z</dcterms:created>
  <cp:lastPrinted>2022-03-20T11:23:34Z</cp:lastPrinted>
  <dcterms:modified xsi:type="dcterms:W3CDTF">2022-03-20T03:32:54Z</dcterms:modified>
  <cp:revision>1</cp:revision>
</cp:coreProperties>
</file>